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0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1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2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3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4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5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6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17.xml" ContentType="application/vnd.openxmlformats-officedocument.theme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18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9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20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1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2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23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theme/theme24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25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26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heme/theme27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28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theme/theme29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theme/theme30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31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heme/theme32.xml" ContentType="application/vnd.openxmlformats-officedocument.theme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theme/theme33.xml" ContentType="application/vnd.openxmlformats-officedocument.theme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34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35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theme/theme36.xml" ContentType="application/vnd.openxmlformats-officedocument.them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heme/theme37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38.xml" ContentType="application/vnd.openxmlformats-officedocument.them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theme/theme39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theme/theme40.xml" ContentType="application/vnd.openxmlformats-officedocument.them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heme/theme41.xml" ContentType="application/vnd.openxmlformats-officedocument.them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theme/theme42.xml" ContentType="application/vnd.openxmlformats-officedocument.them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theme/theme43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theme/theme44.xml" ContentType="application/vnd.openxmlformats-officedocument.theme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45.xml" ContentType="application/vnd.openxmlformats-officedocument.theme+xml"/>
  <Override PartName="/ppt/tags/tag192.xml" ContentType="application/vnd.openxmlformats-officedocument.presentationml.tags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46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theme/theme47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theme/theme48.xml" ContentType="application/vnd.openxmlformats-officedocument.them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49.xml" ContentType="application/vnd.openxmlformats-officedocument.them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theme/theme50.xml" ContentType="application/vnd.openxmlformats-officedocument.them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theme/theme51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theme/theme52.xml" ContentType="application/vnd.openxmlformats-officedocument.them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53.xml" ContentType="application/vnd.openxmlformats-officedocument.theme+xml"/>
  <Override PartName="/ppt/tags/tag223.xml" ContentType="application/vnd.openxmlformats-officedocument.presentationml.tags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theme/theme54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theme/theme55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theme/theme56.xml" ContentType="application/vnd.openxmlformats-officedocument.theme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theme/theme5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theme/theme58.xml" ContentType="application/vnd.openxmlformats-officedocument.them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theme/theme59.xml" ContentType="application/vnd.openxmlformats-officedocument.theme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theme/theme60.xml" ContentType="application/vnd.openxmlformats-officedocument.them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theme/theme61.xml" ContentType="application/vnd.openxmlformats-officedocument.theme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theme/theme62.xml" ContentType="application/vnd.openxmlformats-officedocument.them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theme/theme63.xml" ContentType="application/vnd.openxmlformats-officedocument.them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theme/theme64.xml" ContentType="application/vnd.openxmlformats-officedocument.them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theme/theme65.xml" ContentType="application/vnd.openxmlformats-officedocument.theme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theme/theme66.xml" ContentType="application/vnd.openxmlformats-officedocument.theme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theme/theme67.xml" ContentType="application/vnd.openxmlformats-officedocument.them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theme/theme68.xml" ContentType="application/vnd.openxmlformats-officedocument.theme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theme/theme69.xml" ContentType="application/vnd.openxmlformats-officedocument.theme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theme/theme70.xml" ContentType="application/vnd.openxmlformats-officedocument.theme+xml"/>
  <Override PartName="/ppt/tags/tag354.xml" ContentType="application/vnd.openxmlformats-officedocument.presentationml.tags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theme/theme71.xml" ContentType="application/vnd.openxmlformats-officedocument.theme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heme/theme72.xml" ContentType="application/vnd.openxmlformats-officedocument.theme+xml"/>
  <Override PartName="/ppt/theme/theme7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36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7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7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7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373.xml" ContentType="application/vnd.openxmlformats-officedocument.presentationml.tags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97" r:id="rId5"/>
    <p:sldMasterId id="2147483761" r:id="rId6"/>
    <p:sldMasterId id="2147483775" r:id="rId7"/>
    <p:sldMasterId id="2147483787" r:id="rId8"/>
    <p:sldMasterId id="2147483799" r:id="rId9"/>
    <p:sldMasterId id="2147483811" r:id="rId10"/>
    <p:sldMasterId id="2147483856" r:id="rId11"/>
    <p:sldMasterId id="2147483892" r:id="rId12"/>
    <p:sldMasterId id="2147483939" r:id="rId13"/>
    <p:sldMasterId id="2147483951" r:id="rId14"/>
    <p:sldMasterId id="2147483984" r:id="rId15"/>
    <p:sldMasterId id="2147483997" r:id="rId16"/>
    <p:sldMasterId id="2147484073" r:id="rId17"/>
    <p:sldMasterId id="2147484195" r:id="rId18"/>
    <p:sldMasterId id="2147484300" r:id="rId19"/>
    <p:sldMasterId id="2147484312" r:id="rId20"/>
    <p:sldMasterId id="2147484326" r:id="rId21"/>
    <p:sldMasterId id="2147485175" r:id="rId22"/>
    <p:sldMasterId id="2147485260" r:id="rId23"/>
    <p:sldMasterId id="2147485292" r:id="rId24"/>
    <p:sldMasterId id="2147485476" r:id="rId25"/>
    <p:sldMasterId id="2147485663" r:id="rId26"/>
    <p:sldMasterId id="2147485750" r:id="rId27"/>
    <p:sldMasterId id="2147485762" r:id="rId28"/>
    <p:sldMasterId id="2147485791" r:id="rId29"/>
    <p:sldMasterId id="2147485803" r:id="rId30"/>
    <p:sldMasterId id="2147485815" r:id="rId31"/>
    <p:sldMasterId id="2147485887" r:id="rId32"/>
    <p:sldMasterId id="2147485874" r:id="rId33"/>
    <p:sldMasterId id="2147485913" r:id="rId34"/>
    <p:sldMasterId id="2147485926" r:id="rId35"/>
    <p:sldMasterId id="2147485939" r:id="rId36"/>
    <p:sldMasterId id="2147485951" r:id="rId37"/>
    <p:sldMasterId id="2147485979" r:id="rId38"/>
    <p:sldMasterId id="2147485991" r:id="rId39"/>
    <p:sldMasterId id="2147486004" r:id="rId40"/>
    <p:sldMasterId id="2147486179" r:id="rId41"/>
    <p:sldMasterId id="2147486194" r:id="rId42"/>
    <p:sldMasterId id="2147486207" r:id="rId43"/>
    <p:sldMasterId id="2147486608" r:id="rId44"/>
    <p:sldMasterId id="2147487707" r:id="rId45"/>
    <p:sldMasterId id="2147487954" r:id="rId46"/>
    <p:sldMasterId id="2147488106" r:id="rId47"/>
    <p:sldMasterId id="2147488118" r:id="rId48"/>
    <p:sldMasterId id="2147488130" r:id="rId49"/>
    <p:sldMasterId id="2147488143" r:id="rId50"/>
    <p:sldMasterId id="2147488157" r:id="rId51"/>
    <p:sldMasterId id="2147488169" r:id="rId52"/>
    <p:sldMasterId id="2147488182" r:id="rId53"/>
    <p:sldMasterId id="2147488206" r:id="rId54"/>
    <p:sldMasterId id="2147488216" r:id="rId55"/>
    <p:sldMasterId id="2147488194" r:id="rId56"/>
    <p:sldMasterId id="2147488232" r:id="rId57"/>
    <p:sldMasterId id="2147488246" r:id="rId58"/>
    <p:sldMasterId id="2147488260" r:id="rId59"/>
    <p:sldMasterId id="2147488378" r:id="rId60"/>
    <p:sldMasterId id="2147488479" r:id="rId61"/>
    <p:sldMasterId id="2147488529" r:id="rId62"/>
    <p:sldMasterId id="2147488574" r:id="rId63"/>
    <p:sldMasterId id="2147488605" r:id="rId64"/>
    <p:sldMasterId id="2147488776" r:id="rId65"/>
    <p:sldMasterId id="2147488790" r:id="rId66"/>
    <p:sldMasterId id="2147488818" r:id="rId67"/>
    <p:sldMasterId id="2147488832" r:id="rId68"/>
    <p:sldMasterId id="2147488851" r:id="rId69"/>
    <p:sldMasterId id="2147488863" r:id="rId70"/>
    <p:sldMasterId id="2147488880" r:id="rId71"/>
    <p:sldMasterId id="2147488892" r:id="rId72"/>
    <p:sldMasterId id="2147488906" r:id="rId73"/>
    <p:sldMasterId id="2147488924" r:id="rId74"/>
  </p:sldMasterIdLst>
  <p:notesMasterIdLst>
    <p:notesMasterId r:id="rId104"/>
  </p:notesMasterIdLst>
  <p:handoutMasterIdLst>
    <p:handoutMasterId r:id="rId105"/>
  </p:handoutMasterIdLst>
  <p:sldIdLst>
    <p:sldId id="1625" r:id="rId75"/>
    <p:sldId id="1593" r:id="rId76"/>
    <p:sldId id="1709" r:id="rId77"/>
    <p:sldId id="1719" r:id="rId78"/>
    <p:sldId id="1716" r:id="rId79"/>
    <p:sldId id="1596" r:id="rId80"/>
    <p:sldId id="1771" r:id="rId81"/>
    <p:sldId id="1772" r:id="rId82"/>
    <p:sldId id="1730" r:id="rId83"/>
    <p:sldId id="1594" r:id="rId84"/>
    <p:sldId id="1747" r:id="rId85"/>
    <p:sldId id="1482" r:id="rId86"/>
    <p:sldId id="1724" r:id="rId87"/>
    <p:sldId id="1769" r:id="rId88"/>
    <p:sldId id="1441" r:id="rId89"/>
    <p:sldId id="1770" r:id="rId90"/>
    <p:sldId id="1665" r:id="rId91"/>
    <p:sldId id="1762" r:id="rId92"/>
    <p:sldId id="1755" r:id="rId93"/>
    <p:sldId id="1674" r:id="rId94"/>
    <p:sldId id="1759" r:id="rId95"/>
    <p:sldId id="1708" r:id="rId96"/>
    <p:sldId id="1422" r:id="rId97"/>
    <p:sldId id="1602" r:id="rId98"/>
    <p:sldId id="1612" r:id="rId99"/>
    <p:sldId id="1671" r:id="rId100"/>
    <p:sldId id="1767" r:id="rId101"/>
    <p:sldId id="1608" r:id="rId102"/>
    <p:sldId id="1695" r:id="rId103"/>
  </p:sldIdLst>
  <p:sldSz cx="24382413" cy="13716000"/>
  <p:notesSz cx="6867525" cy="9994900"/>
  <p:custDataLst>
    <p:tags r:id="rId106"/>
  </p:custDataLst>
  <p:defaultTextStyle>
    <a:defPPr>
      <a:defRPr lang="nb-NO"/>
    </a:defPPr>
    <a:lvl1pPr marL="0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170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349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519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689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0859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030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200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370" algn="l" defTabSz="182834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97" userDrawn="1">
          <p15:clr>
            <a:srgbClr val="A4A3A4"/>
          </p15:clr>
        </p15:guide>
        <p15:guide id="2" pos="7679">
          <p15:clr>
            <a:srgbClr val="A4A3A4"/>
          </p15:clr>
        </p15:guide>
        <p15:guide id="3" pos="76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ls Gullhaug" initials="N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E6C2FE"/>
    <a:srgbClr val="F4E5FF"/>
    <a:srgbClr val="D8A0FE"/>
    <a:srgbClr val="A524FC"/>
    <a:srgbClr val="FF6B6B"/>
    <a:srgbClr val="E7ECEE"/>
    <a:srgbClr val="8F03EF"/>
    <a:srgbClr val="CA7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86" autoAdjust="0"/>
    <p:restoredTop sz="90465" autoAdjust="0"/>
  </p:normalViewPr>
  <p:slideViewPr>
    <p:cSldViewPr snapToGrid="0">
      <p:cViewPr varScale="1">
        <p:scale>
          <a:sx n="60" d="100"/>
          <a:sy n="60" d="100"/>
        </p:scale>
        <p:origin x="312" y="96"/>
      </p:cViewPr>
      <p:guideLst>
        <p:guide orient="horz" pos="4297"/>
        <p:guide pos="7679"/>
        <p:guide pos="76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3.xml"/><Relationship Id="rId21" Type="http://schemas.openxmlformats.org/officeDocument/2006/relationships/slideMaster" Target="slideMasters/slideMaster18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63" Type="http://schemas.openxmlformats.org/officeDocument/2006/relationships/slideMaster" Target="slideMasters/slideMaster60.xml"/><Relationship Id="rId68" Type="http://schemas.openxmlformats.org/officeDocument/2006/relationships/slideMaster" Target="slideMasters/slideMaster65.xml"/><Relationship Id="rId84" Type="http://schemas.openxmlformats.org/officeDocument/2006/relationships/slide" Target="slides/slide10.xml"/><Relationship Id="rId89" Type="http://schemas.openxmlformats.org/officeDocument/2006/relationships/slide" Target="slides/slide15.xml"/><Relationship Id="rId16" Type="http://schemas.openxmlformats.org/officeDocument/2006/relationships/slideMaster" Target="slideMasters/slideMaster13.xml"/><Relationship Id="rId107" Type="http://schemas.openxmlformats.org/officeDocument/2006/relationships/commentAuthors" Target="commentAuthors.xml"/><Relationship Id="rId11" Type="http://schemas.openxmlformats.org/officeDocument/2006/relationships/slideMaster" Target="slideMasters/slideMaster8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74" Type="http://schemas.openxmlformats.org/officeDocument/2006/relationships/slideMaster" Target="slideMasters/slideMaster71.xml"/><Relationship Id="rId79" Type="http://schemas.openxmlformats.org/officeDocument/2006/relationships/slide" Target="slides/slide5.xml"/><Relationship Id="rId102" Type="http://schemas.openxmlformats.org/officeDocument/2006/relationships/slide" Target="slides/slide28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16.xml"/><Relationship Id="rId95" Type="http://schemas.openxmlformats.org/officeDocument/2006/relationships/slide" Target="slides/slide2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64" Type="http://schemas.openxmlformats.org/officeDocument/2006/relationships/slideMaster" Target="slideMasters/slideMaster61.xml"/><Relationship Id="rId69" Type="http://schemas.openxmlformats.org/officeDocument/2006/relationships/slideMaster" Target="slideMasters/slideMaster66.xml"/><Relationship Id="rId80" Type="http://schemas.openxmlformats.org/officeDocument/2006/relationships/slide" Target="slides/slide6.xml"/><Relationship Id="rId85" Type="http://schemas.openxmlformats.org/officeDocument/2006/relationships/slide" Target="slides/slide11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59" Type="http://schemas.openxmlformats.org/officeDocument/2006/relationships/slideMaster" Target="slideMasters/slideMaster56.xml"/><Relationship Id="rId103" Type="http://schemas.openxmlformats.org/officeDocument/2006/relationships/slide" Target="slides/slide29.xml"/><Relationship Id="rId108" Type="http://schemas.openxmlformats.org/officeDocument/2006/relationships/presProps" Target="presProps.xml"/><Relationship Id="rId54" Type="http://schemas.openxmlformats.org/officeDocument/2006/relationships/slideMaster" Target="slideMasters/slideMaster51.xml"/><Relationship Id="rId70" Type="http://schemas.openxmlformats.org/officeDocument/2006/relationships/slideMaster" Target="slideMasters/slideMaster67.xml"/><Relationship Id="rId75" Type="http://schemas.openxmlformats.org/officeDocument/2006/relationships/slide" Target="slides/slide1.xml"/><Relationship Id="rId91" Type="http://schemas.openxmlformats.org/officeDocument/2006/relationships/slide" Target="slides/slide17.xml"/><Relationship Id="rId96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10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Master" Target="slideMasters/slideMaster62.xml"/><Relationship Id="rId73" Type="http://schemas.openxmlformats.org/officeDocument/2006/relationships/slideMaster" Target="slideMasters/slideMaster70.xml"/><Relationship Id="rId78" Type="http://schemas.openxmlformats.org/officeDocument/2006/relationships/slide" Target="slides/slide4.xml"/><Relationship Id="rId81" Type="http://schemas.openxmlformats.org/officeDocument/2006/relationships/slide" Target="slides/slide7.xml"/><Relationship Id="rId86" Type="http://schemas.openxmlformats.org/officeDocument/2006/relationships/slide" Target="slides/slide12.xml"/><Relationship Id="rId94" Type="http://schemas.openxmlformats.org/officeDocument/2006/relationships/slide" Target="slides/slide20.xml"/><Relationship Id="rId99" Type="http://schemas.openxmlformats.org/officeDocument/2006/relationships/slide" Target="slides/slide25.xml"/><Relationship Id="rId10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9" Type="http://schemas.openxmlformats.org/officeDocument/2006/relationships/slideMaster" Target="slideMasters/slideMaster36.xml"/><Relationship Id="rId109" Type="http://schemas.openxmlformats.org/officeDocument/2006/relationships/viewProps" Target="viewProps.xml"/><Relationship Id="rId34" Type="http://schemas.openxmlformats.org/officeDocument/2006/relationships/slideMaster" Target="slideMasters/slideMaster31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76" Type="http://schemas.openxmlformats.org/officeDocument/2006/relationships/slide" Target="slides/slide2.xml"/><Relationship Id="rId97" Type="http://schemas.openxmlformats.org/officeDocument/2006/relationships/slide" Target="slides/slide23.xml"/><Relationship Id="rId10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71" Type="http://schemas.openxmlformats.org/officeDocument/2006/relationships/slideMaster" Target="slideMasters/slideMaster68.xml"/><Relationship Id="rId92" Type="http://schemas.openxmlformats.org/officeDocument/2006/relationships/slide" Target="slides/slide18.xml"/><Relationship Id="rId2" Type="http://schemas.openxmlformats.org/officeDocument/2006/relationships/customXml" Target="../customXml/item2.xml"/><Relationship Id="rId29" Type="http://schemas.openxmlformats.org/officeDocument/2006/relationships/slideMaster" Target="slideMasters/slideMaster26.xml"/><Relationship Id="rId24" Type="http://schemas.openxmlformats.org/officeDocument/2006/relationships/slideMaster" Target="slideMasters/slideMaster21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66" Type="http://schemas.openxmlformats.org/officeDocument/2006/relationships/slideMaster" Target="slideMasters/slideMaster63.xml"/><Relationship Id="rId87" Type="http://schemas.openxmlformats.org/officeDocument/2006/relationships/slide" Target="slides/slide13.xml"/><Relationship Id="rId110" Type="http://schemas.openxmlformats.org/officeDocument/2006/relationships/theme" Target="theme/theme1.xml"/><Relationship Id="rId61" Type="http://schemas.openxmlformats.org/officeDocument/2006/relationships/slideMaster" Target="slideMasters/slideMaster58.xml"/><Relationship Id="rId82" Type="http://schemas.openxmlformats.org/officeDocument/2006/relationships/slide" Target="slides/slide8.xml"/><Relationship Id="rId19" Type="http://schemas.openxmlformats.org/officeDocument/2006/relationships/slideMaster" Target="slideMasters/slideMaster16.xml"/><Relationship Id="rId14" Type="http://schemas.openxmlformats.org/officeDocument/2006/relationships/slideMaster" Target="slideMasters/slideMaster11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56" Type="http://schemas.openxmlformats.org/officeDocument/2006/relationships/slideMaster" Target="slideMasters/slideMaster53.xml"/><Relationship Id="rId77" Type="http://schemas.openxmlformats.org/officeDocument/2006/relationships/slide" Target="slides/slide3.xml"/><Relationship Id="rId100" Type="http://schemas.openxmlformats.org/officeDocument/2006/relationships/slide" Target="slides/slide26.xml"/><Relationship Id="rId10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slideMaster" Target="slideMasters/slideMaster69.xml"/><Relationship Id="rId93" Type="http://schemas.openxmlformats.org/officeDocument/2006/relationships/slide" Target="slides/slide19.xml"/><Relationship Id="rId98" Type="http://schemas.openxmlformats.org/officeDocument/2006/relationships/slide" Target="slides/slide24.xml"/><Relationship Id="rId3" Type="http://schemas.openxmlformats.org/officeDocument/2006/relationships/customXml" Target="../customXml/item3.xml"/><Relationship Id="rId25" Type="http://schemas.openxmlformats.org/officeDocument/2006/relationships/slideMaster" Target="slideMasters/slideMaster22.xml"/><Relationship Id="rId46" Type="http://schemas.openxmlformats.org/officeDocument/2006/relationships/slideMaster" Target="slideMasters/slideMaster43.xml"/><Relationship Id="rId67" Type="http://schemas.openxmlformats.org/officeDocument/2006/relationships/slideMaster" Target="slideMasters/slideMaster64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62" Type="http://schemas.openxmlformats.org/officeDocument/2006/relationships/slideMaster" Target="slideMasters/slideMaster59.xml"/><Relationship Id="rId83" Type="http://schemas.openxmlformats.org/officeDocument/2006/relationships/slide" Target="slides/slide9.xml"/><Relationship Id="rId88" Type="http://schemas.openxmlformats.org/officeDocument/2006/relationships/slide" Target="slides/slide14.xml"/><Relationship Id="rId11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regneark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O007180\Documents\5%20-%20Direktoratet%20for%20e-helse\Samfunns&#248;konomisk%20analyse\R&#229;data%20sp&#248;rreunders&#248;kelse%20om%20bruk%20av%20helse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Data inn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invertIfNegative val="0"/>
          <c:cat>
            <c:strRef>
              <c:f>'Ark1'!$A$2:$A$15</c:f>
              <c:strCache>
                <c:ptCount val="14"/>
                <c:pt idx="0">
                  <c:v>Abortregisteret</c:v>
                </c:pt>
                <c:pt idx="1">
                  <c:v>DÅR</c:v>
                </c:pt>
                <c:pt idx="2">
                  <c:v>Forsvarets helseregister</c:v>
                </c:pt>
                <c:pt idx="3">
                  <c:v>Hjerte- og karregisteret</c:v>
                </c:pt>
                <c:pt idx="4">
                  <c:v>IPLOS</c:v>
                </c:pt>
                <c:pt idx="5">
                  <c:v>Kreftregisteret</c:v>
                </c:pt>
                <c:pt idx="6">
                  <c:v>MFR</c:v>
                </c:pt>
                <c:pt idx="7">
                  <c:v>MSIS</c:v>
                </c:pt>
                <c:pt idx="8">
                  <c:v>NOIS</c:v>
                </c:pt>
                <c:pt idx="9">
                  <c:v>NORM</c:v>
                </c:pt>
                <c:pt idx="10">
                  <c:v>NPR</c:v>
                </c:pt>
                <c:pt idx="11">
                  <c:v>RAVN</c:v>
                </c:pt>
                <c:pt idx="12">
                  <c:v>Reseptregisteret</c:v>
                </c:pt>
                <c:pt idx="13">
                  <c:v>SYSVAK</c:v>
                </c:pt>
              </c:strCache>
            </c:strRef>
          </c:cat>
          <c:val>
            <c:numRef>
              <c:f>'Ark1'!$B$2:$B$15</c:f>
              <c:numCache>
                <c:formatCode>#,##0</c:formatCode>
                <c:ptCount val="14"/>
                <c:pt idx="0">
                  <c:v>1.5</c:v>
                </c:pt>
                <c:pt idx="1">
                  <c:v>1.5</c:v>
                </c:pt>
                <c:pt idx="2">
                  <c:v>0.5</c:v>
                </c:pt>
                <c:pt idx="3">
                  <c:v>0.5</c:v>
                </c:pt>
                <c:pt idx="4">
                  <c:v>9</c:v>
                </c:pt>
                <c:pt idx="5">
                  <c:v>45</c:v>
                </c:pt>
                <c:pt idx="6">
                  <c:v>4.2</c:v>
                </c:pt>
                <c:pt idx="7">
                  <c:v>2.2000000000000002</c:v>
                </c:pt>
                <c:pt idx="8">
                  <c:v>0.5</c:v>
                </c:pt>
                <c:pt idx="9">
                  <c:v>0.5</c:v>
                </c:pt>
                <c:pt idx="10">
                  <c:v>3.9</c:v>
                </c:pt>
                <c:pt idx="12">
                  <c:v>1.5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2E-4195-85CF-FD22B205412C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Data i hus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cat>
            <c:strRef>
              <c:f>'Ark1'!$A$2:$A$15</c:f>
              <c:strCache>
                <c:ptCount val="14"/>
                <c:pt idx="0">
                  <c:v>Abortregisteret</c:v>
                </c:pt>
                <c:pt idx="1">
                  <c:v>DÅR</c:v>
                </c:pt>
                <c:pt idx="2">
                  <c:v>Forsvarets helseregister</c:v>
                </c:pt>
                <c:pt idx="3">
                  <c:v>Hjerte- og karregisteret</c:v>
                </c:pt>
                <c:pt idx="4">
                  <c:v>IPLOS</c:v>
                </c:pt>
                <c:pt idx="5">
                  <c:v>Kreftregisteret</c:v>
                </c:pt>
                <c:pt idx="6">
                  <c:v>MFR</c:v>
                </c:pt>
                <c:pt idx="7">
                  <c:v>MSIS</c:v>
                </c:pt>
                <c:pt idx="8">
                  <c:v>NOIS</c:v>
                </c:pt>
                <c:pt idx="9">
                  <c:v>NORM</c:v>
                </c:pt>
                <c:pt idx="10">
                  <c:v>NPR</c:v>
                </c:pt>
                <c:pt idx="11">
                  <c:v>RAVN</c:v>
                </c:pt>
                <c:pt idx="12">
                  <c:v>Reseptregisteret</c:v>
                </c:pt>
                <c:pt idx="13">
                  <c:v>SYSVAK</c:v>
                </c:pt>
              </c:strCache>
            </c:strRef>
          </c:cat>
          <c:val>
            <c:numRef>
              <c:f>'Ark1'!$C$2:$C$15</c:f>
              <c:numCache>
                <c:formatCode>#,##0</c:formatCode>
                <c:ptCount val="14"/>
                <c:pt idx="0">
                  <c:v>2.2000000000000002</c:v>
                </c:pt>
                <c:pt idx="1">
                  <c:v>5.3</c:v>
                </c:pt>
                <c:pt idx="2">
                  <c:v>0.5</c:v>
                </c:pt>
                <c:pt idx="3">
                  <c:v>4</c:v>
                </c:pt>
                <c:pt idx="5">
                  <c:v>11</c:v>
                </c:pt>
                <c:pt idx="6">
                  <c:v>8</c:v>
                </c:pt>
                <c:pt idx="7">
                  <c:v>4.25</c:v>
                </c:pt>
                <c:pt idx="8">
                  <c:v>1.5</c:v>
                </c:pt>
                <c:pt idx="9">
                  <c:v>0.5</c:v>
                </c:pt>
                <c:pt idx="10">
                  <c:v>12.8</c:v>
                </c:pt>
                <c:pt idx="12">
                  <c:v>3.5</c:v>
                </c:pt>
                <c:pt idx="1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2E-4195-85CF-FD22B205412C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Data ut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strRef>
              <c:f>'Ark1'!$A$2:$A$15</c:f>
              <c:strCache>
                <c:ptCount val="14"/>
                <c:pt idx="0">
                  <c:v>Abortregisteret</c:v>
                </c:pt>
                <c:pt idx="1">
                  <c:v>DÅR</c:v>
                </c:pt>
                <c:pt idx="2">
                  <c:v>Forsvarets helseregister</c:v>
                </c:pt>
                <c:pt idx="3">
                  <c:v>Hjerte- og karregisteret</c:v>
                </c:pt>
                <c:pt idx="4">
                  <c:v>IPLOS</c:v>
                </c:pt>
                <c:pt idx="5">
                  <c:v>Kreftregisteret</c:v>
                </c:pt>
                <c:pt idx="6">
                  <c:v>MFR</c:v>
                </c:pt>
                <c:pt idx="7">
                  <c:v>MSIS</c:v>
                </c:pt>
                <c:pt idx="8">
                  <c:v>NOIS</c:v>
                </c:pt>
                <c:pt idx="9">
                  <c:v>NORM</c:v>
                </c:pt>
                <c:pt idx="10">
                  <c:v>NPR</c:v>
                </c:pt>
                <c:pt idx="11">
                  <c:v>RAVN</c:v>
                </c:pt>
                <c:pt idx="12">
                  <c:v>Reseptregisteret</c:v>
                </c:pt>
                <c:pt idx="13">
                  <c:v>SYSVAK</c:v>
                </c:pt>
              </c:strCache>
            </c:strRef>
          </c:cat>
          <c:val>
            <c:numRef>
              <c:f>'Ark1'!$D$2:$D$15</c:f>
              <c:numCache>
                <c:formatCode>#,##0</c:formatCode>
                <c:ptCount val="14"/>
                <c:pt idx="0">
                  <c:v>0.3</c:v>
                </c:pt>
                <c:pt idx="1">
                  <c:v>1.7</c:v>
                </c:pt>
                <c:pt idx="2">
                  <c:v>1</c:v>
                </c:pt>
                <c:pt idx="3">
                  <c:v>1</c:v>
                </c:pt>
                <c:pt idx="5">
                  <c:v>5</c:v>
                </c:pt>
                <c:pt idx="6">
                  <c:v>2.8</c:v>
                </c:pt>
                <c:pt idx="7">
                  <c:v>4.5</c:v>
                </c:pt>
                <c:pt idx="8">
                  <c:v>2</c:v>
                </c:pt>
                <c:pt idx="9">
                  <c:v>1</c:v>
                </c:pt>
                <c:pt idx="10">
                  <c:v>18.5</c:v>
                </c:pt>
                <c:pt idx="12">
                  <c:v>1</c:v>
                </c:pt>
                <c:pt idx="13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2E-4195-85CF-FD22B2054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12102656"/>
        <c:axId val="412099392"/>
      </c:barChart>
      <c:lineChart>
        <c:grouping val="standard"/>
        <c:varyColors val="0"/>
        <c:ser>
          <c:idx val="3"/>
          <c:order val="3"/>
          <c:tx>
            <c:strRef>
              <c:f>'Ark1'!$E$1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Ark1'!$A$2:$A$15</c:f>
              <c:strCache>
                <c:ptCount val="14"/>
                <c:pt idx="0">
                  <c:v>Abortregisteret</c:v>
                </c:pt>
                <c:pt idx="1">
                  <c:v>DÅR</c:v>
                </c:pt>
                <c:pt idx="2">
                  <c:v>Forsvarets helseregister</c:v>
                </c:pt>
                <c:pt idx="3">
                  <c:v>Hjerte- og karregisteret</c:v>
                </c:pt>
                <c:pt idx="4">
                  <c:v>IPLOS</c:v>
                </c:pt>
                <c:pt idx="5">
                  <c:v>Kreftregisteret</c:v>
                </c:pt>
                <c:pt idx="6">
                  <c:v>MFR</c:v>
                </c:pt>
                <c:pt idx="7">
                  <c:v>MSIS</c:v>
                </c:pt>
                <c:pt idx="8">
                  <c:v>NOIS</c:v>
                </c:pt>
                <c:pt idx="9">
                  <c:v>NORM</c:v>
                </c:pt>
                <c:pt idx="10">
                  <c:v>NPR</c:v>
                </c:pt>
                <c:pt idx="11">
                  <c:v>RAVN</c:v>
                </c:pt>
                <c:pt idx="12">
                  <c:v>Reseptregisteret</c:v>
                </c:pt>
                <c:pt idx="13">
                  <c:v>SYSVAK</c:v>
                </c:pt>
              </c:strCache>
            </c:strRef>
          </c:cat>
          <c:val>
            <c:numRef>
              <c:f>'Ark1'!$E$2:$E$15</c:f>
              <c:numCache>
                <c:formatCode>0</c:formatCode>
                <c:ptCount val="14"/>
                <c:pt idx="0">
                  <c:v>4</c:v>
                </c:pt>
                <c:pt idx="1">
                  <c:v>8.5</c:v>
                </c:pt>
                <c:pt idx="2">
                  <c:v>2</c:v>
                </c:pt>
                <c:pt idx="3">
                  <c:v>5.5</c:v>
                </c:pt>
                <c:pt idx="4">
                  <c:v>9</c:v>
                </c:pt>
                <c:pt idx="5">
                  <c:v>61</c:v>
                </c:pt>
                <c:pt idx="6">
                  <c:v>15</c:v>
                </c:pt>
                <c:pt idx="7">
                  <c:v>10.95</c:v>
                </c:pt>
                <c:pt idx="8">
                  <c:v>4</c:v>
                </c:pt>
                <c:pt idx="9">
                  <c:v>2</c:v>
                </c:pt>
                <c:pt idx="10">
                  <c:v>35.200000000000003</c:v>
                </c:pt>
                <c:pt idx="11">
                  <c:v>0</c:v>
                </c:pt>
                <c:pt idx="12">
                  <c:v>6</c:v>
                </c:pt>
                <c:pt idx="13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D2E-4195-85CF-FD22B2054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2098304"/>
        <c:axId val="412104288"/>
      </c:lineChart>
      <c:catAx>
        <c:axId val="4121026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12099392"/>
        <c:crosses val="autoZero"/>
        <c:auto val="1"/>
        <c:lblAlgn val="ctr"/>
        <c:lblOffset val="100"/>
        <c:noMultiLvlLbl val="0"/>
      </c:catAx>
      <c:valAx>
        <c:axId val="412099392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>
                <a:noFill/>
              </a:defRPr>
            </a:pPr>
            <a:endParaRPr lang="nb-NO"/>
          </a:p>
        </c:txPr>
        <c:crossAx val="412102656"/>
        <c:crosses val="autoZero"/>
        <c:crossBetween val="between"/>
      </c:valAx>
      <c:valAx>
        <c:axId val="412104288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nb-NO"/>
          </a:p>
        </c:txPr>
        <c:crossAx val="412098304"/>
        <c:crosses val="max"/>
        <c:crossBetween val="between"/>
      </c:valAx>
      <c:catAx>
        <c:axId val="412098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12104288"/>
        <c:crosses val="autoZero"/>
        <c:auto val="1"/>
        <c:lblAlgn val="ctr"/>
        <c:lblOffset val="100"/>
        <c:noMultiLvlLbl val="0"/>
      </c:catAx>
    </c:plotArea>
    <c:legend>
      <c:legendPos val="b"/>
      <c:legendEntry>
        <c:idx val="3"/>
        <c:delete val="1"/>
      </c:legendEntry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Databehandlingsansvarlig</c:v>
                </c:pt>
              </c:strCache>
            </c:strRef>
          </c:tx>
          <c:spPr>
            <a:ln>
              <a:noFill/>
            </a:ln>
          </c:spPr>
          <c:explosion val="2"/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098-440E-BE1B-645A6CA00EE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098-440E-BE1B-645A6CA00EEE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098-440E-BE1B-645A6CA00EEE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2098-440E-BE1B-645A6CA00EEE}"/>
              </c:ext>
            </c:extLst>
          </c:dPt>
          <c:dPt>
            <c:idx val="4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098-440E-BE1B-645A6CA00EEE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2098-440E-BE1B-645A6CA00EE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098-440E-BE1B-645A6CA00EE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098-440E-BE1B-645A6CA00E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nb-NO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5</c:f>
              <c:strCache>
                <c:ptCount val="4"/>
                <c:pt idx="0">
                  <c:v>Utlevering av data og offentliggjøring av analyser</c:v>
                </c:pt>
                <c:pt idx="1">
                  <c:v>Kun utlevering av data</c:v>
                </c:pt>
                <c:pt idx="2">
                  <c:v>Kun offentliggjøring av analyser</c:v>
                </c:pt>
                <c:pt idx="3">
                  <c:v>Ingen utlevering eller offentliggjøring av analyser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1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98-440E-BE1B-645A6CA00EE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376339235907105"/>
          <c:y val="0.21725319230036211"/>
          <c:w val="0.36518865299981657"/>
          <c:h val="0.6018000762340385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explosion val="2"/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F4A-4FC9-8255-656173C2CACB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F4A-4FC9-8255-656173C2CACB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F4A-4FC9-8255-656173C2CACB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F4A-4FC9-8255-656173C2CACB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F4A-4FC9-8255-656173C2CACB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F4A-4FC9-8255-656173C2CAC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F4A-4FC9-8255-656173C2CAC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F4A-4FC9-8255-656173C2CA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nb-NO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6</c:f>
              <c:strCache>
                <c:ptCount val="5"/>
                <c:pt idx="0">
                  <c:v>Umiddelbar</c:v>
                </c:pt>
                <c:pt idx="1">
                  <c:v>Under 6 mnd</c:v>
                </c:pt>
                <c:pt idx="2">
                  <c:v>Fra 6 mnd til 1 år</c:v>
                </c:pt>
                <c:pt idx="3">
                  <c:v>Over 1 år</c:v>
                </c:pt>
                <c:pt idx="4">
                  <c:v>Ikke oppgitt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F4A-4FC9-8255-656173C2CAC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explosion val="2"/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700-45E8-88A9-EABF34F61CAE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700-45E8-88A9-EABF34F61CAE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700-45E8-88A9-EABF34F61CAE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2700-45E8-88A9-EABF34F61CAE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2700-45E8-88A9-EABF34F61CAE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2700-45E8-88A9-EABF34F61CA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700-45E8-88A9-EABF34F61CA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700-45E8-88A9-EABF34F61C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nb-NO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6</c:f>
              <c:strCache>
                <c:ptCount val="5"/>
                <c:pt idx="0">
                  <c:v>Umiddelbar</c:v>
                </c:pt>
                <c:pt idx="1">
                  <c:v>Under 6 mnd</c:v>
                </c:pt>
                <c:pt idx="2">
                  <c:v>Fra 6 mnd til 1 år</c:v>
                </c:pt>
                <c:pt idx="3">
                  <c:v>Over 1 år</c:v>
                </c:pt>
                <c:pt idx="4">
                  <c:v>Ikke oppgitt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21</c:v>
                </c:pt>
                <c:pt idx="1">
                  <c:v>3</c:v>
                </c:pt>
                <c:pt idx="2">
                  <c:v>11</c:v>
                </c:pt>
                <c:pt idx="3">
                  <c:v>1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700-45E8-88A9-EABF34F61C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2"/>
          <c:order val="0"/>
          <c:tx>
            <c:strRef>
              <c:f>'Ark1'!$D$1</c:f>
              <c:strCache>
                <c:ptCount val="1"/>
                <c:pt idx="0">
                  <c:v>Driftsbudsjett per register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Ark1'!$A$2:$A$5</c:f>
              <c:strCache>
                <c:ptCount val="4"/>
                <c:pt idx="0">
                  <c:v>Helse Midt-Norge</c:v>
                </c:pt>
                <c:pt idx="1">
                  <c:v>Helse Nord</c:v>
                </c:pt>
                <c:pt idx="2">
                  <c:v>Helse Sør-Øst</c:v>
                </c:pt>
                <c:pt idx="3">
                  <c:v>Helse Vest</c:v>
                </c:pt>
              </c:strCache>
            </c:strRef>
          </c:cat>
          <c:val>
            <c:numRef>
              <c:f>'Ark1'!$D$2:$D$5</c:f>
              <c:numCache>
                <c:formatCode>_ * #\ ##0.0_ ;_ * \-#\ ##0.0_ ;_ * "-"??_ ;_ @_ </c:formatCode>
                <c:ptCount val="4"/>
                <c:pt idx="0">
                  <c:v>2.2166666666666668</c:v>
                </c:pt>
                <c:pt idx="1">
                  <c:v>1.2124999999999999</c:v>
                </c:pt>
                <c:pt idx="2">
                  <c:v>1.4545454545454546</c:v>
                </c:pt>
                <c:pt idx="3">
                  <c:v>1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9CA-4426-9C1B-197343987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878960"/>
        <c:axId val="434884944"/>
      </c:barChart>
      <c:catAx>
        <c:axId val="4348789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34884944"/>
        <c:crosses val="autoZero"/>
        <c:auto val="1"/>
        <c:lblAlgn val="ctr"/>
        <c:lblOffset val="100"/>
        <c:noMultiLvlLbl val="0"/>
      </c:catAx>
      <c:valAx>
        <c:axId val="434884944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low"/>
        <c:crossAx val="434878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000"/>
      </a:pPr>
      <a:endParaRPr lang="nb-NO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Databehandlingsansvarlig</c:v>
                </c:pt>
              </c:strCache>
            </c:strRef>
          </c:tx>
          <c:spPr>
            <a:ln>
              <a:noFill/>
            </a:ln>
          </c:spPr>
          <c:explosion val="2"/>
          <c:dPt>
            <c:idx val="0"/>
            <c:bubble3D val="0"/>
            <c:spPr>
              <a:solidFill>
                <a:schemeClr val="tx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B7A-4545-BA67-4ACFF412D76F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B7A-4545-BA67-4ACFF412D76F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B7A-4545-BA67-4ACFF412D76F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B7A-4545-BA67-4ACFF412D76F}"/>
              </c:ext>
            </c:extLst>
          </c:dPt>
          <c:dPt>
            <c:idx val="4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B7A-4545-BA67-4ACFF412D76F}"/>
              </c:ext>
            </c:extLst>
          </c:dPt>
          <c:dPt>
            <c:idx val="5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B7A-4545-BA67-4ACFF412D76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7A-4545-BA67-4ACFF412D76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>
                      <a:solidFill>
                        <a:schemeClr val="bg1"/>
                      </a:solidFill>
                    </a:defRPr>
                  </a:pPr>
                  <a:endParaRPr lang="nb-NO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7A-4545-BA67-4ACFF412D7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nb-NO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5</c:f>
              <c:strCache>
                <c:ptCount val="4"/>
                <c:pt idx="0">
                  <c:v>Utlevering av data og offentliggjøring av analyser</c:v>
                </c:pt>
                <c:pt idx="1">
                  <c:v>Kun utlevering av data</c:v>
                </c:pt>
                <c:pt idx="2">
                  <c:v>Kun offentliggjøring av analyser</c:v>
                </c:pt>
                <c:pt idx="3">
                  <c:v>Ingen utlevering eller offentliggjøring av analyser</c:v>
                </c:pt>
              </c:strCache>
            </c:strRef>
          </c:cat>
          <c:val>
            <c:numRef>
              <c:f>'Ark1'!$B$2:$B$5</c:f>
              <c:numCache>
                <c:formatCode>General</c:formatCode>
                <c:ptCount val="4"/>
                <c:pt idx="0">
                  <c:v>13</c:v>
                </c:pt>
                <c:pt idx="1">
                  <c:v>17</c:v>
                </c:pt>
                <c:pt idx="2">
                  <c:v>7</c:v>
                </c:pt>
                <c:pt idx="3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B7A-4545-BA67-4ACFF412D76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9376339235907105"/>
          <c:y val="0.21725319230036211"/>
          <c:w val="0.36518865299981657"/>
          <c:h val="0.60180007623403853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 sz="4000" b="1" dirty="0" err="1">
                <a:solidFill>
                  <a:schemeClr val="tx1"/>
                </a:solidFill>
              </a:rPr>
              <a:t>Gjennomsnittlig</a:t>
            </a: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utleveringstid</a:t>
            </a:r>
            <a:r>
              <a:rPr lang="en-US" sz="4000" b="1" dirty="0">
                <a:solidFill>
                  <a:schemeClr val="tx1"/>
                </a:solidFill>
              </a:rPr>
              <a:t> for</a:t>
            </a:r>
            <a:r>
              <a:rPr lang="en-US" sz="4000" b="1" baseline="0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helseregisterdata</a:t>
            </a: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til</a:t>
            </a: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forskning</a:t>
            </a:r>
            <a:endParaRPr lang="en-US" sz="40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0" i="0" u="none" strike="noStrike" kern="1200" cap="none" spc="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Analyse!$C$50</c:f>
              <c:strCache>
                <c:ptCount val="1"/>
                <c:pt idx="0">
                  <c:v>Gjennomsnittlig utleveringstid</c:v>
                </c:pt>
              </c:strCache>
            </c:strRef>
          </c:tx>
          <c:spPr>
            <a:ln w="857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Analyse!$C$51:$C$59</c:f>
              <c:numCache>
                <c:formatCode>0</c:formatCode>
                <c:ptCount val="9"/>
                <c:pt idx="0">
                  <c:v>5.375</c:v>
                </c:pt>
                <c:pt idx="1">
                  <c:v>12.571428571428571</c:v>
                </c:pt>
                <c:pt idx="2">
                  <c:v>14.5</c:v>
                </c:pt>
                <c:pt idx="3">
                  <c:v>17.5</c:v>
                </c:pt>
                <c:pt idx="4">
                  <c:v>19.5</c:v>
                </c:pt>
                <c:pt idx="5">
                  <c:v>30</c:v>
                </c:pt>
                <c:pt idx="6">
                  <c:v>33</c:v>
                </c:pt>
                <c:pt idx="7">
                  <c:v>36</c:v>
                </c:pt>
                <c:pt idx="8">
                  <c:v>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1EB-43CF-ABD5-56B3990503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6259600"/>
        <c:axId val="456266672"/>
      </c:lineChart>
      <c:catAx>
        <c:axId val="456259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32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3200" dirty="0" err="1">
                    <a:solidFill>
                      <a:schemeClr val="tx1"/>
                    </a:solidFill>
                  </a:rPr>
                  <a:t>Antall</a:t>
                </a:r>
                <a:r>
                  <a:rPr lang="en-US" sz="3200" dirty="0">
                    <a:solidFill>
                      <a:schemeClr val="tx1"/>
                    </a:solidFill>
                  </a:rPr>
                  <a:t> DATAKILDE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32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56266672"/>
        <c:crosses val="autoZero"/>
        <c:auto val="1"/>
        <c:lblAlgn val="ctr"/>
        <c:lblOffset val="100"/>
        <c:noMultiLvlLbl val="0"/>
      </c:catAx>
      <c:valAx>
        <c:axId val="456266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3200" b="0" i="0" u="none" strike="noStrike" kern="1200" cap="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3200" dirty="0" err="1">
                    <a:solidFill>
                      <a:schemeClr val="tx1"/>
                    </a:solidFill>
                  </a:rPr>
                  <a:t>Utleveringstid</a:t>
                </a:r>
                <a:r>
                  <a:rPr lang="en-US" sz="3200" dirty="0">
                    <a:solidFill>
                      <a:schemeClr val="tx1"/>
                    </a:solidFill>
                  </a:rPr>
                  <a:t> (</a:t>
                </a:r>
                <a:r>
                  <a:rPr lang="en-US" sz="3200" dirty="0" err="1">
                    <a:solidFill>
                      <a:schemeClr val="tx1"/>
                    </a:solidFill>
                  </a:rPr>
                  <a:t>Måneder</a:t>
                </a:r>
                <a:r>
                  <a:rPr lang="en-US" sz="3200" dirty="0">
                    <a:solidFill>
                      <a:schemeClr val="tx1"/>
                    </a:solidFill>
                  </a:rPr>
                  <a:t>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3200" b="0" i="0" u="none" strike="noStrike" kern="1200" cap="all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562596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05B606F6-51B3-49A3-B6F7-E2C11CE1FDB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890555" cy="498224"/>
          </a:xfrm>
          <a:prstGeom prst="rect">
            <a:avLst/>
          </a:prstGeom>
        </p:spPr>
        <p:txBody>
          <a:bodyPr vert="horz" lIns="89986" tIns="44993" rIns="89986" bIns="44993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7205AD9-9B0F-4C55-B933-E87B121E143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6992" y="0"/>
            <a:ext cx="2890555" cy="498224"/>
          </a:xfrm>
          <a:prstGeom prst="rect">
            <a:avLst/>
          </a:prstGeom>
        </p:spPr>
        <p:txBody>
          <a:bodyPr vert="horz" lIns="89986" tIns="44993" rIns="89986" bIns="44993" rtlCol="0"/>
          <a:lstStyle>
            <a:lvl1pPr algn="r">
              <a:defRPr sz="1200"/>
            </a:lvl1pPr>
          </a:lstStyle>
          <a:p>
            <a:fld id="{DFF4BCC4-A802-46E6-BC1E-819822A7D920}" type="datetimeFigureOut">
              <a:rPr lang="nb-NO" smtClean="0"/>
              <a:t>05.11.2018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4FA0CDF-D351-4ED1-B27C-3E2379BCE4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414"/>
            <a:ext cx="2890555" cy="498224"/>
          </a:xfrm>
          <a:prstGeom prst="rect">
            <a:avLst/>
          </a:prstGeom>
        </p:spPr>
        <p:txBody>
          <a:bodyPr vert="horz" lIns="89986" tIns="44993" rIns="89986" bIns="44993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7E9A493-65DB-4D1E-B7F3-BFF3554095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6992" y="9428414"/>
            <a:ext cx="2890555" cy="498224"/>
          </a:xfrm>
          <a:prstGeom prst="rect">
            <a:avLst/>
          </a:prstGeom>
        </p:spPr>
        <p:txBody>
          <a:bodyPr vert="horz" lIns="89986" tIns="44993" rIns="89986" bIns="44993" rtlCol="0" anchor="b"/>
          <a:lstStyle>
            <a:lvl1pPr algn="r">
              <a:defRPr sz="1200"/>
            </a:lvl1pPr>
          </a:lstStyle>
          <a:p>
            <a:fld id="{22F9E235-48C2-43CE-A764-D6F3E4B18EA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0693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928" cy="501481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90008" y="0"/>
            <a:ext cx="2975928" cy="501481"/>
          </a:xfrm>
          <a:prstGeom prst="rect">
            <a:avLst/>
          </a:prstGeom>
        </p:spPr>
        <p:txBody>
          <a:bodyPr vert="horz" lIns="92866" tIns="46433" rIns="92866" bIns="46433" rtlCol="0"/>
          <a:lstStyle>
            <a:lvl1pPr algn="r">
              <a:defRPr sz="1200"/>
            </a:lvl1pPr>
          </a:lstStyle>
          <a:p>
            <a:fld id="{42B253DE-7D71-4444-B83E-23771FDD0C33}" type="datetimeFigureOut">
              <a:rPr lang="en-GB" smtClean="0"/>
              <a:t>05/11/2018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49363"/>
            <a:ext cx="5994400" cy="3371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66" tIns="46433" rIns="92866" bIns="46433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6753" y="4810046"/>
            <a:ext cx="5494020" cy="3935492"/>
          </a:xfrm>
          <a:prstGeom prst="rect">
            <a:avLst/>
          </a:prstGeom>
        </p:spPr>
        <p:txBody>
          <a:bodyPr vert="horz" lIns="92866" tIns="46433" rIns="92866" bIns="46433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93421"/>
            <a:ext cx="2975928" cy="501480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90008" y="9493421"/>
            <a:ext cx="2975928" cy="501480"/>
          </a:xfrm>
          <a:prstGeom prst="rect">
            <a:avLst/>
          </a:prstGeom>
        </p:spPr>
        <p:txBody>
          <a:bodyPr vert="horz" lIns="92866" tIns="46433" rIns="92866" bIns="46433" rtlCol="0" anchor="b"/>
          <a:lstStyle>
            <a:lvl1pPr algn="r">
              <a:defRPr sz="1200"/>
            </a:lvl1pPr>
          </a:lstStyle>
          <a:p>
            <a:fld id="{371F1791-49DA-4A11-A71B-4DEDB48C96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8657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1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16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27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39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44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55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71" algn="l" defTabSz="91421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orce11.org/node/6062/#Annex6-9" TargetMode="External"/><Relationship Id="rId13" Type="http://schemas.openxmlformats.org/officeDocument/2006/relationships/hyperlink" Target="https://www.force11.org/datacitation/#JDCP1" TargetMode="External"/><Relationship Id="rId3" Type="http://schemas.openxmlformats.org/officeDocument/2006/relationships/hyperlink" Target="https://www.force11.org/node/6062/#Annex1" TargetMode="External"/><Relationship Id="rId7" Type="http://schemas.openxmlformats.org/officeDocument/2006/relationships/hyperlink" Target="https://www.force11.org/datacitation/#JDCP4" TargetMode="External"/><Relationship Id="rId12" Type="http://schemas.openxmlformats.org/officeDocument/2006/relationships/hyperlink" Target="https://www.force11.org/datacitation/#JDCP8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force11.org/datacitation/#JDCP5" TargetMode="External"/><Relationship Id="rId11" Type="http://schemas.openxmlformats.org/officeDocument/2006/relationships/hyperlink" Target="https://www.force11.org/datacitation/#JDCP7" TargetMode="External"/><Relationship Id="rId5" Type="http://schemas.openxmlformats.org/officeDocument/2006/relationships/hyperlink" Target="https://www.force11.org/datacitation/#JDCP6" TargetMode="External"/><Relationship Id="rId10" Type="http://schemas.openxmlformats.org/officeDocument/2006/relationships/hyperlink" Target="https://www.force11.org/node/6062/#Principles1-3" TargetMode="External"/><Relationship Id="rId4" Type="http://schemas.openxmlformats.org/officeDocument/2006/relationships/hyperlink" Target="https://www.force11.org/datacitation/#JDDCP" TargetMode="External"/><Relationship Id="rId9" Type="http://schemas.openxmlformats.org/officeDocument/2006/relationships/hyperlink" Target="https://www.force11.org/node/6062/#Annex10-11" TargetMode="External"/><Relationship Id="rId14" Type="http://schemas.openxmlformats.org/officeDocument/2006/relationships/hyperlink" Target="https://www.force11.org/datacitation/JDCP1" TargetMode="Externa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184AB6-7D0E-4BEA-86F2-21F48EFDE9B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3711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057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4965" indent="-224965">
              <a:buAutoNum type="arabicPeriod"/>
            </a:pPr>
            <a:endParaRPr lang="nb-NO" dirty="0" smtClean="0"/>
          </a:p>
          <a:p>
            <a:pPr marL="224965" indent="-224965">
              <a:buAutoNum type="arabicPeriod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68290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773A84-FC95-4064-B83F-81CB4A0C49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33926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5535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1036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00836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rinn 1 er allerede realisert, og flere av leveransene på trinn 2.</a:t>
            </a:r>
          </a:p>
          <a:p>
            <a:r>
              <a:rPr lang="nb-NO" dirty="0"/>
              <a:t>Trinn 3 blir realisert i 2019.</a:t>
            </a:r>
          </a:p>
          <a:p>
            <a:r>
              <a:rPr lang="nb-NO" dirty="0"/>
              <a:t>Trinn 4 og 5 planlegges gjennomført i 2020, men er avhengig av økning i finansiering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5485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reftforeningen: hvordan fungerer finansieringen til kreftregisteret? Må de søke? Er det øremerkede midler? Hvor mye er det snakk om?</a:t>
            </a:r>
          </a:p>
          <a:p>
            <a:r>
              <a:rPr lang="nb-NO" dirty="0"/>
              <a:t>Ta med HRR (finansiert av Forskningsrådet)</a:t>
            </a:r>
          </a:p>
          <a:p>
            <a:r>
              <a:rPr lang="nb-NO" dirty="0" err="1"/>
              <a:t>BigMed?f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Legge inn pengebeløp: (2017)</a:t>
            </a:r>
            <a:br>
              <a:rPr lang="nb-NO" dirty="0"/>
            </a:br>
            <a:r>
              <a:rPr lang="nb-NO" dirty="0"/>
              <a:t>FMK-NIKT 6,5milllioner</a:t>
            </a:r>
          </a:p>
          <a:p>
            <a:r>
              <a:rPr lang="nb-NO" dirty="0"/>
              <a:t>SKDE ?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26697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6697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36238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ilsvarende som ved overføring av data fra EPJ til helseregister. Hvis man ikke planlegger </a:t>
            </a:r>
            <a:r>
              <a:rPr lang="nb-NO"/>
              <a:t>og styrer </a:t>
            </a:r>
            <a:r>
              <a:rPr lang="nb-NO" dirty="0"/>
              <a:t>arkitekturen vil den ikke </a:t>
            </a:r>
            <a:r>
              <a:rPr lang="nb-NO"/>
              <a:t>henge sammen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nb-NO" smtClean="0"/>
              <a:t>2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1913335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Not just for research output!</a:t>
            </a:r>
            <a:r>
              <a:rPr lang="en-US" dirty="0"/>
              <a:t> </a:t>
            </a:r>
          </a:p>
          <a:p>
            <a:endParaRPr lang="en-US" dirty="0"/>
          </a:p>
          <a:p>
            <a:r>
              <a:rPr lang="en-US" dirty="0"/>
              <a:t>1. To be </a:t>
            </a:r>
            <a:r>
              <a:rPr lang="en-US" b="1" dirty="0"/>
              <a:t>Findable</a:t>
            </a:r>
            <a:r>
              <a:rPr lang="en-US" dirty="0"/>
              <a:t> any Data Object should be uniquely and persistently identifiable </a:t>
            </a:r>
            <a:r>
              <a:rPr lang="en-US" b="1" dirty="0">
                <a:hlinkClick r:id="rId3"/>
              </a:rPr>
              <a:t>[4]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1.1. The same Data Object should be re-findable at any point in time, thus Data Objects should be </a:t>
            </a:r>
            <a:r>
              <a:rPr lang="en-US" b="1" dirty="0"/>
              <a:t>persistent</a:t>
            </a:r>
            <a:r>
              <a:rPr lang="en-US" dirty="0"/>
              <a:t>, with emphasis on their metadata, [</a:t>
            </a:r>
            <a:r>
              <a:rPr lang="en-US" b="1" dirty="0">
                <a:hlinkClick r:id="rId3"/>
              </a:rPr>
              <a:t>4</a:t>
            </a:r>
            <a:r>
              <a:rPr lang="en-US" dirty="0"/>
              <a:t>and </a:t>
            </a:r>
            <a:r>
              <a:rPr lang="en-US" b="1" dirty="0">
                <a:hlinkClick r:id="rId4"/>
              </a:rPr>
              <a:t>JDDCP 4 </a:t>
            </a:r>
            <a:r>
              <a:rPr lang="en-US" dirty="0"/>
              <a:t>and </a:t>
            </a:r>
            <a:r>
              <a:rPr lang="en-US" b="1" dirty="0">
                <a:hlinkClick r:id="rId5"/>
              </a:rPr>
              <a:t>JDDCP 6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1.2. A Data Object should minimally contain basic machine actionable metadata that allows it to be distinguished from other Data Objects [see </a:t>
            </a:r>
            <a:r>
              <a:rPr lang="en-US" b="1" dirty="0">
                <a:hlinkClick r:id="rId6"/>
              </a:rPr>
              <a:t>JDDCP 5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1.3. Identifiers for any concept used in Data Objects should therefore be </a:t>
            </a:r>
            <a:r>
              <a:rPr lang="en-US" b="1" dirty="0"/>
              <a:t>Unique</a:t>
            </a:r>
            <a:r>
              <a:rPr lang="en-US" dirty="0"/>
              <a:t> and </a:t>
            </a:r>
            <a:r>
              <a:rPr lang="en-US" b="1" dirty="0"/>
              <a:t>Persistent</a:t>
            </a:r>
            <a:r>
              <a:rPr lang="en-US" dirty="0"/>
              <a:t> [</a:t>
            </a:r>
            <a:r>
              <a:rPr lang="en-US" b="1" dirty="0">
                <a:hlinkClick r:id="rId3"/>
              </a:rPr>
              <a:t>5</a:t>
            </a:r>
            <a:r>
              <a:rPr lang="en-US" dirty="0"/>
              <a:t> and </a:t>
            </a:r>
            <a:r>
              <a:rPr lang="en-US" b="1" dirty="0">
                <a:hlinkClick r:id="rId7"/>
              </a:rPr>
              <a:t>JDDCP 4 </a:t>
            </a:r>
            <a:r>
              <a:rPr lang="en-US" dirty="0"/>
              <a:t>and </a:t>
            </a:r>
            <a:r>
              <a:rPr lang="en-US" b="1" dirty="0">
                <a:hlinkClick r:id="rId5"/>
              </a:rPr>
              <a:t>JDDCP 6</a:t>
            </a:r>
            <a:r>
              <a:rPr lang="en-US" dirty="0"/>
              <a:t>].</a:t>
            </a:r>
          </a:p>
          <a:p>
            <a:endParaRPr lang="en-US" dirty="0"/>
          </a:p>
          <a:p>
            <a:r>
              <a:rPr lang="en-US" dirty="0"/>
              <a:t>2. Data is </a:t>
            </a:r>
            <a:r>
              <a:rPr lang="en-US" b="1" dirty="0"/>
              <a:t>Accessible</a:t>
            </a:r>
            <a:r>
              <a:rPr lang="en-US" dirty="0"/>
              <a:t> in that it can be always obtained by machines and humans</a:t>
            </a:r>
            <a:br>
              <a:rPr lang="en-US" dirty="0"/>
            </a:br>
            <a:r>
              <a:rPr lang="en-US" dirty="0"/>
              <a:t>2.1 Upon appropriate authorization </a:t>
            </a:r>
            <a:r>
              <a:rPr lang="en-US" b="1" dirty="0">
                <a:hlinkClick r:id="rId8"/>
              </a:rPr>
              <a:t>[6]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2.2 Through a well-defined protocol </a:t>
            </a:r>
            <a:r>
              <a:rPr lang="en-US" b="1" dirty="0">
                <a:hlinkClick r:id="rId8"/>
              </a:rPr>
              <a:t>[7 </a:t>
            </a:r>
            <a:r>
              <a:rPr lang="en-US" dirty="0"/>
              <a:t>and </a:t>
            </a:r>
            <a:r>
              <a:rPr lang="en-US" b="1" dirty="0">
                <a:hlinkClick r:id="rId6"/>
              </a:rPr>
              <a:t>JDDCP 5]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2.3 Thus, machines and humans alike will be able to judge the actual </a:t>
            </a:r>
            <a:r>
              <a:rPr lang="en-US" dirty="0" err="1"/>
              <a:t>accessibilty</a:t>
            </a:r>
            <a:r>
              <a:rPr lang="en-US" dirty="0"/>
              <a:t> of each Data Object.</a:t>
            </a:r>
          </a:p>
          <a:p>
            <a:endParaRPr lang="en-US" dirty="0"/>
          </a:p>
          <a:p>
            <a:r>
              <a:rPr lang="en-US" dirty="0"/>
              <a:t>3. Data Objects can be </a:t>
            </a:r>
            <a:r>
              <a:rPr lang="en-US" b="1" dirty="0"/>
              <a:t>Interoperable </a:t>
            </a:r>
            <a:r>
              <a:rPr lang="en-US" dirty="0"/>
              <a:t>only if:</a:t>
            </a:r>
            <a:br>
              <a:rPr lang="en-US" dirty="0"/>
            </a:br>
            <a:r>
              <a:rPr lang="en-US" dirty="0"/>
              <a:t>3.1. (Meta) data is machine-actionable</a:t>
            </a:r>
            <a:r>
              <a:rPr lang="en-US" b="1" dirty="0">
                <a:hlinkClick r:id="rId8"/>
              </a:rPr>
              <a:t> [8]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3.2. (Meta) data formats utilize shared vocabularies and/or ontologies </a:t>
            </a:r>
            <a:r>
              <a:rPr lang="en-US" b="1" dirty="0">
                <a:hlinkClick r:id="rId8"/>
              </a:rPr>
              <a:t>[9]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3.3  (Meta) data within the Data Object should thus be both syntactically </a:t>
            </a:r>
            <a:r>
              <a:rPr lang="en-US" dirty="0" err="1"/>
              <a:t>parseable</a:t>
            </a:r>
            <a:r>
              <a:rPr lang="en-US" dirty="0"/>
              <a:t> and semantically machine-accessible </a:t>
            </a:r>
            <a:r>
              <a:rPr lang="en-US" b="1" dirty="0">
                <a:hlinkClick r:id="rId9"/>
              </a:rPr>
              <a:t>[10]</a:t>
            </a:r>
            <a:endParaRPr lang="en-US" dirty="0"/>
          </a:p>
          <a:p>
            <a:endParaRPr lang="en-US" dirty="0"/>
          </a:p>
          <a:p>
            <a:r>
              <a:rPr lang="en-US" dirty="0"/>
              <a:t>4. For Data Objects to be </a:t>
            </a:r>
            <a:r>
              <a:rPr lang="en-US" b="1" dirty="0"/>
              <a:t>Re-usable</a:t>
            </a:r>
            <a:r>
              <a:rPr lang="en-US" dirty="0"/>
              <a:t> additional criteria are:</a:t>
            </a:r>
            <a:br>
              <a:rPr lang="en-US" dirty="0"/>
            </a:br>
            <a:r>
              <a:rPr lang="en-US" dirty="0"/>
              <a:t>4.1 Data Objects should be compliant with </a:t>
            </a:r>
            <a:r>
              <a:rPr lang="en-US" b="1" dirty="0">
                <a:hlinkClick r:id="rId10"/>
              </a:rPr>
              <a:t>principles 1-3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4.2 (Meta) data should be sufficiently well-described and rich that it can be automatically (or with minimal human effort) linked or integrated, like-with-like, with other data sources [</a:t>
            </a:r>
            <a:r>
              <a:rPr lang="en-US" b="1" dirty="0">
                <a:hlinkClick r:id="rId9"/>
              </a:rPr>
              <a:t>11 </a:t>
            </a:r>
            <a:r>
              <a:rPr lang="en-US" dirty="0"/>
              <a:t>and </a:t>
            </a:r>
            <a:r>
              <a:rPr lang="en-US" b="1" dirty="0">
                <a:hlinkClick r:id="rId11"/>
              </a:rPr>
              <a:t>JDDCP 7 </a:t>
            </a:r>
            <a:r>
              <a:rPr lang="en-US" dirty="0"/>
              <a:t>and </a:t>
            </a:r>
            <a:r>
              <a:rPr lang="en-US" b="1" dirty="0">
                <a:hlinkClick r:id="rId12"/>
              </a:rPr>
              <a:t>JDDCP 8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4.3 Published Data Objects should refer to their sources with rich enough metadata and provenance to enable proper citation (ref to </a:t>
            </a:r>
            <a:r>
              <a:rPr lang="en-US" b="1" dirty="0">
                <a:hlinkClick r:id="rId13"/>
              </a:rPr>
              <a:t>JDDCP</a:t>
            </a:r>
            <a:r>
              <a:rPr lang="en-US" b="1" dirty="0">
                <a:hlinkClick r:id="rId14"/>
              </a:rPr>
              <a:t> 1-3</a:t>
            </a:r>
            <a:r>
              <a:rPr lang="en-US" dirty="0"/>
              <a:t>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305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4816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5429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/>
            </a:r>
            <a:br>
              <a:rPr lang="nb-NO" dirty="0"/>
            </a:br>
            <a:endParaRPr lang="nb-NO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218183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16180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AEE47C-F053-4E44-9610-3D9D2268A54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9553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4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4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003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45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7373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303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02341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1F1791-49DA-4A11-A71B-4DEDB48C96EA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26022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78162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1F1791-49DA-4A11-A71B-4DEDB48C96E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52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slideMaster" Target="../slideMasters/slideMaster9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image" Target="../media/image1.emf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oleObject" Target="../embeddings/oleObject21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7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slideMaster" Target="../slideMasters/slideMaster1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6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image" Target="../media/image1.emf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oleObject" Target="../embeddings/oleObject46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7.bin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7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slideMaster" Target="../slideMasters/slideMaster12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51.v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image" Target="../media/image1.emf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oleObject" Target="../embeddings/oleObject51.bin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7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7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7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9.bin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7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7.pn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7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7.pn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Relationship Id="rId4" Type="http://schemas.openxmlformats.org/officeDocument/2006/relationships/image" Target="../media/image7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slideMaster" Target="../slideMasters/slideMaster19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67.v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5" Type="http://schemas.openxmlformats.org/officeDocument/2006/relationships/image" Target="../media/image1.emf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oleObject" Target="../embeddings/oleObject67.bin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7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7.pn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7.pn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7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9.bin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4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4.xml"/><Relationship Id="rId4" Type="http://schemas.openxmlformats.org/officeDocument/2006/relationships/image" Target="../media/image7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14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4.bin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7.pn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7.xml"/><Relationship Id="rId4" Type="http://schemas.openxmlformats.org/officeDocument/2006/relationships/image" Target="../media/image7.png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7.pn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0.bin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1.bin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9.xml"/><Relationship Id="rId4" Type="http://schemas.openxmlformats.org/officeDocument/2006/relationships/image" Target="../media/image7.pn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3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0.xml"/><Relationship Id="rId4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6.bin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7.bin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1.xml"/><Relationship Id="rId4" Type="http://schemas.openxmlformats.org/officeDocument/2006/relationships/image" Target="../media/image7.png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1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1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slideMaster" Target="../slideMasters/slideMaster31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5" Type="http://schemas.openxmlformats.org/officeDocument/2006/relationships/tags" Target="../tags/tag155.xml"/><Relationship Id="rId15" Type="http://schemas.openxmlformats.org/officeDocument/2006/relationships/image" Target="../media/image1.emf"/><Relationship Id="rId10" Type="http://schemas.openxmlformats.org/officeDocument/2006/relationships/tags" Target="../tags/tag160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oleObject" Target="../embeddings/oleObject101.bin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2.xml"/><Relationship Id="rId4" Type="http://schemas.openxmlformats.org/officeDocument/2006/relationships/image" Target="../media/image7.png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2.xml"/></Relationships>
</file>

<file path=ppt/slideLayouts/_rels/slideLayout3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3.xml"/><Relationship Id="rId4" Type="http://schemas.openxmlformats.org/officeDocument/2006/relationships/image" Target="../media/image7.png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4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4.xml"/><Relationship Id="rId4" Type="http://schemas.openxmlformats.org/officeDocument/2006/relationships/image" Target="../media/image7.pn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4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5.xml"/><Relationship Id="rId4" Type="http://schemas.openxmlformats.org/officeDocument/2006/relationships/image" Target="../media/image7.pn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5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7.png"/></Relationships>
</file>

<file path=ppt/slideLayouts/_rels/slideLayout4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6.xml"/><Relationship Id="rId4" Type="http://schemas.openxmlformats.org/officeDocument/2006/relationships/image" Target="../media/image7.png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8.bin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6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9.bin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7.xml"/><Relationship Id="rId4" Type="http://schemas.openxmlformats.org/officeDocument/2006/relationships/image" Target="../media/image7.pn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7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4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8.xml"/><Relationship Id="rId4" Type="http://schemas.openxmlformats.org/officeDocument/2006/relationships/image" Target="../media/image7.png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4.bin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5.bin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9.xml"/><Relationship Id="rId4" Type="http://schemas.openxmlformats.org/officeDocument/2006/relationships/image" Target="../media/image7.png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4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0.xml"/><Relationship Id="rId4" Type="http://schemas.openxmlformats.org/officeDocument/2006/relationships/image" Target="../media/image7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0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0.xml"/></Relationships>
</file>

<file path=ppt/slideLayouts/_rels/slideLayout4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1.xml"/><Relationship Id="rId4" Type="http://schemas.openxmlformats.org/officeDocument/2006/relationships/image" Target="../media/image7.png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1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5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2.xml"/><Relationship Id="rId4" Type="http://schemas.openxmlformats.org/officeDocument/2006/relationships/image" Target="../media/image7.png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2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5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3.xml"/><Relationship Id="rId4" Type="http://schemas.openxmlformats.org/officeDocument/2006/relationships/image" Target="../media/image7.png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3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4.png"/><Relationship Id="rId7" Type="http://schemas.openxmlformats.org/officeDocument/2006/relationships/image" Target="../media/image1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4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4.xml"/><Relationship Id="rId5" Type="http://schemas.openxmlformats.org/officeDocument/2006/relationships/image" Target="../media/image18.png"/><Relationship Id="rId4" Type="http://schemas.openxmlformats.org/officeDocument/2006/relationships/image" Target="../media/image5.png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5.xml"/><Relationship Id="rId4" Type="http://schemas.openxmlformats.org/officeDocument/2006/relationships/image" Target="../media/image7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6.xml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4.bin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7.xml"/><Relationship Id="rId4" Type="http://schemas.openxmlformats.org/officeDocument/2006/relationships/image" Target="../media/image7.png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7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8.xml"/><Relationship Id="rId4" Type="http://schemas.openxmlformats.org/officeDocument/2006/relationships/image" Target="../media/image7.png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1.bin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9.xml"/><Relationship Id="rId4" Type="http://schemas.openxmlformats.org/officeDocument/2006/relationships/image" Target="../media/image7.png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4.bin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9.xml"/></Relationships>
</file>

<file path=ppt/slideLayouts/_rels/slideLayout5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0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0.xml"/><Relationship Id="rId4" Type="http://schemas.openxmlformats.org/officeDocument/2006/relationships/image" Target="../media/image7.pn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1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1.xml"/><Relationship Id="rId4" Type="http://schemas.openxmlformats.org/officeDocument/2006/relationships/image" Target="../media/image7.png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2.xml"/><Relationship Id="rId4" Type="http://schemas.openxmlformats.org/officeDocument/2006/relationships/image" Target="../media/image19.png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5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13" Type="http://schemas.openxmlformats.org/officeDocument/2006/relationships/slideMaster" Target="../slideMasters/slideMaster52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12" Type="http://schemas.openxmlformats.org/officeDocument/2006/relationships/tags" Target="../tags/tag222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151.vml"/><Relationship Id="rId6" Type="http://schemas.openxmlformats.org/officeDocument/2006/relationships/tags" Target="../tags/tag216.xml"/><Relationship Id="rId11" Type="http://schemas.openxmlformats.org/officeDocument/2006/relationships/tags" Target="../tags/tag221.xml"/><Relationship Id="rId5" Type="http://schemas.openxmlformats.org/officeDocument/2006/relationships/tags" Target="../tags/tag215.xml"/><Relationship Id="rId15" Type="http://schemas.openxmlformats.org/officeDocument/2006/relationships/image" Target="../media/image1.emf"/><Relationship Id="rId10" Type="http://schemas.openxmlformats.org/officeDocument/2006/relationships/tags" Target="../tags/tag220.xml"/><Relationship Id="rId4" Type="http://schemas.openxmlformats.org/officeDocument/2006/relationships/tags" Target="../tags/tag214.xml"/><Relationship Id="rId9" Type="http://schemas.openxmlformats.org/officeDocument/2006/relationships/tags" Target="../tags/tag219.xml"/><Relationship Id="rId14" Type="http://schemas.openxmlformats.org/officeDocument/2006/relationships/oleObject" Target="../embeddings/oleObject151.bin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2.xml"/></Relationships>
</file>

<file path=ppt/slideLayouts/_rels/slideLayout6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3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3.xml"/><Relationship Id="rId4" Type="http://schemas.openxmlformats.org/officeDocument/2006/relationships/image" Target="../media/image7.png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4.xml"/><Relationship Id="rId6" Type="http://schemas.openxmlformats.org/officeDocument/2006/relationships/image" Target="../media/image19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4.xml"/><Relationship Id="rId4" Type="http://schemas.openxmlformats.org/officeDocument/2006/relationships/image" Target="../media/image19.png"/></Relationships>
</file>

<file path=ppt/slideLayouts/_rels/slideLayout6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4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5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13" Type="http://schemas.openxmlformats.org/officeDocument/2006/relationships/slideMaster" Target="../slideMasters/slideMaster54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tags" Target="../tags/tag237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156.v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5" Type="http://schemas.openxmlformats.org/officeDocument/2006/relationships/image" Target="../media/image1.emf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4" Type="http://schemas.openxmlformats.org/officeDocument/2006/relationships/oleObject" Target="../embeddings/oleObject156.bin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4.xml"/></Relationships>
</file>

<file path=ppt/slideLayouts/_rels/slideLayout6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1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5.xml"/><Relationship Id="rId4" Type="http://schemas.openxmlformats.org/officeDocument/2006/relationships/image" Target="../media/image19.png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5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58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slideMaster" Target="../slideMasters/slideMaster55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tags" Target="../tags/tag251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160.vml"/><Relationship Id="rId6" Type="http://schemas.openxmlformats.org/officeDocument/2006/relationships/tags" Target="../tags/tag245.xml"/><Relationship Id="rId11" Type="http://schemas.openxmlformats.org/officeDocument/2006/relationships/tags" Target="../tags/tag250.xml"/><Relationship Id="rId5" Type="http://schemas.openxmlformats.org/officeDocument/2006/relationships/tags" Target="../tags/tag244.xml"/><Relationship Id="rId15" Type="http://schemas.openxmlformats.org/officeDocument/2006/relationships/image" Target="../media/image1.emf"/><Relationship Id="rId10" Type="http://schemas.openxmlformats.org/officeDocument/2006/relationships/tags" Target="../tags/tag249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oleObject" Target="../embeddings/oleObject160.bin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6.xml"/><Relationship Id="rId4" Type="http://schemas.openxmlformats.org/officeDocument/2006/relationships/image" Target="../media/image7.png"/></Relationships>
</file>

<file path=ppt/slideLayouts/_rels/slideLayout6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7.xml"/><Relationship Id="rId4" Type="http://schemas.openxmlformats.org/officeDocument/2006/relationships/image" Target="../media/image7.png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56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5.bin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7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7.xml"/></Relationships>
</file>

<file path=ppt/slideLayouts/_rels/slideLayout685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slideMaster" Target="../slideMasters/slideMaster57.xml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tags" Target="../tags/tag268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167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5" Type="http://schemas.openxmlformats.org/officeDocument/2006/relationships/tags" Target="../tags/tag261.xml"/><Relationship Id="rId15" Type="http://schemas.openxmlformats.org/officeDocument/2006/relationships/image" Target="../media/image1.emf"/><Relationship Id="rId10" Type="http://schemas.openxmlformats.org/officeDocument/2006/relationships/tags" Target="../tags/tag266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oleObject" Target="../embeddings/oleObject167.bin"/></Relationships>
</file>

<file path=ppt/slideLayouts/_rels/slideLayout6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8.xml"/><Relationship Id="rId4" Type="http://schemas.openxmlformats.org/officeDocument/2006/relationships/image" Target="../media/image7.png"/></Relationships>
</file>

<file path=ppt/slideLayouts/_rels/slideLayout6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8.xml"/><Relationship Id="rId2" Type="http://schemas.openxmlformats.org/officeDocument/2006/relationships/tags" Target="../tags/tag270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9.xml"/><Relationship Id="rId4" Type="http://schemas.openxmlformats.org/officeDocument/2006/relationships/image" Target="../media/image7.png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72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2.bin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9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3.bin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9.xml"/></Relationships>
</file>

<file path=ppt/slideLayouts/_rels/slideLayout711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13" Type="http://schemas.openxmlformats.org/officeDocument/2006/relationships/slideMaster" Target="../slideMasters/slideMaster59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2" Type="http://schemas.openxmlformats.org/officeDocument/2006/relationships/tags" Target="../tags/tag275.xml"/><Relationship Id="rId1" Type="http://schemas.openxmlformats.org/officeDocument/2006/relationships/vmlDrawing" Target="../drawings/vmlDrawing174.v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5" Type="http://schemas.openxmlformats.org/officeDocument/2006/relationships/tags" Target="../tags/tag278.xml"/><Relationship Id="rId15" Type="http://schemas.openxmlformats.org/officeDocument/2006/relationships/image" Target="../media/image1.emf"/><Relationship Id="rId10" Type="http://schemas.openxmlformats.org/officeDocument/2006/relationships/tags" Target="../tags/tag283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oleObject" Target="../embeddings/oleObject174.bin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0.xml"/><Relationship Id="rId6" Type="http://schemas.openxmlformats.org/officeDocument/2006/relationships/image" Target="../media/image19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0.xml"/><Relationship Id="rId4" Type="http://schemas.openxmlformats.org/officeDocument/2006/relationships/image" Target="../media/image19.png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0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23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13" Type="http://schemas.openxmlformats.org/officeDocument/2006/relationships/slideMaster" Target="../slideMasters/slideMaster60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12" Type="http://schemas.openxmlformats.org/officeDocument/2006/relationships/tags" Target="../tags/tag299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178.vml"/><Relationship Id="rId6" Type="http://schemas.openxmlformats.org/officeDocument/2006/relationships/tags" Target="../tags/tag293.xml"/><Relationship Id="rId11" Type="http://schemas.openxmlformats.org/officeDocument/2006/relationships/tags" Target="../tags/tag298.xml"/><Relationship Id="rId5" Type="http://schemas.openxmlformats.org/officeDocument/2006/relationships/tags" Target="../tags/tag292.xml"/><Relationship Id="rId15" Type="http://schemas.openxmlformats.org/officeDocument/2006/relationships/image" Target="../media/image1.emf"/><Relationship Id="rId10" Type="http://schemas.openxmlformats.org/officeDocument/2006/relationships/tags" Target="../tags/tag297.xml"/><Relationship Id="rId4" Type="http://schemas.openxmlformats.org/officeDocument/2006/relationships/tags" Target="../tags/tag291.xml"/><Relationship Id="rId9" Type="http://schemas.openxmlformats.org/officeDocument/2006/relationships/tags" Target="../tags/tag296.xml"/><Relationship Id="rId14" Type="http://schemas.openxmlformats.org/officeDocument/2006/relationships/oleObject" Target="../embeddings/oleObject178.bin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0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1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1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302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1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2.bin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2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2.xml"/><Relationship Id="rId4" Type="http://schemas.openxmlformats.org/officeDocument/2006/relationships/image" Target="../media/image7.png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4.bin"/></Relationships>
</file>

<file path=ppt/slideLayouts/_rels/slideLayout7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2.xml"/><Relationship Id="rId2" Type="http://schemas.openxmlformats.org/officeDocument/2006/relationships/tags" Target="../tags/tag30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7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3.xml"/><Relationship Id="rId4" Type="http://schemas.openxmlformats.org/officeDocument/2006/relationships/image" Target="../media/image7.png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30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7.bin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.png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8.bin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3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9.bin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4.xml"/><Relationship Id="rId4" Type="http://schemas.openxmlformats.org/officeDocument/2006/relationships/image" Target="../media/image7.png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1.bin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4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2.bin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5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5.xml"/><Relationship Id="rId4" Type="http://schemas.openxmlformats.org/officeDocument/2006/relationships/image" Target="../media/image7.png"/></Relationships>
</file>

<file path=ppt/slideLayouts/_rels/slideLayout7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7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316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5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317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6.bin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7.bin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5.xml"/><Relationship Id="rId2" Type="http://schemas.openxmlformats.org/officeDocument/2006/relationships/tags" Target="../tags/tag319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98.bin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0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slideMaster" Target="../slideMasters/slideMaster65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199.v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5" Type="http://schemas.openxmlformats.org/officeDocument/2006/relationships/tags" Target="../tags/tag323.xml"/><Relationship Id="rId15" Type="http://schemas.openxmlformats.org/officeDocument/2006/relationships/image" Target="../media/image1.emf"/><Relationship Id="rId10" Type="http://schemas.openxmlformats.org/officeDocument/2006/relationships/tags" Target="../tags/tag328.xml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oleObject" Target="../embeddings/oleObject199.bin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5.xml"/></Relationships>
</file>

<file path=ppt/slideLayouts/_rels/slideLayout7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1.bin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6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02.bin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6.xml"/></Relationships>
</file>

<file path=ppt/slideLayouts/_rels/slideLayout801.xml.rels><?xml version="1.0" encoding="UTF-8" standalone="yes"?>
<Relationships xmlns="http://schemas.openxmlformats.org/package/2006/relationships"><Relationship Id="rId8" Type="http://schemas.openxmlformats.org/officeDocument/2006/relationships/tags" Target="../tags/tag340.xml"/><Relationship Id="rId13" Type="http://schemas.openxmlformats.org/officeDocument/2006/relationships/slideMaster" Target="../slideMasters/slideMaster66.xml"/><Relationship Id="rId3" Type="http://schemas.openxmlformats.org/officeDocument/2006/relationships/tags" Target="../tags/tag335.xml"/><Relationship Id="rId7" Type="http://schemas.openxmlformats.org/officeDocument/2006/relationships/tags" Target="../tags/tag339.xml"/><Relationship Id="rId12" Type="http://schemas.openxmlformats.org/officeDocument/2006/relationships/tags" Target="../tags/tag344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203.vml"/><Relationship Id="rId6" Type="http://schemas.openxmlformats.org/officeDocument/2006/relationships/tags" Target="../tags/tag338.xml"/><Relationship Id="rId11" Type="http://schemas.openxmlformats.org/officeDocument/2006/relationships/tags" Target="../tags/tag343.xml"/><Relationship Id="rId5" Type="http://schemas.openxmlformats.org/officeDocument/2006/relationships/tags" Target="../tags/tag337.xml"/><Relationship Id="rId15" Type="http://schemas.openxmlformats.org/officeDocument/2006/relationships/image" Target="../media/image1.emf"/><Relationship Id="rId10" Type="http://schemas.openxmlformats.org/officeDocument/2006/relationships/tags" Target="../tags/tag342.xml"/><Relationship Id="rId4" Type="http://schemas.openxmlformats.org/officeDocument/2006/relationships/tags" Target="../tags/tag336.xml"/><Relationship Id="rId9" Type="http://schemas.openxmlformats.org/officeDocument/2006/relationships/tags" Target="../tags/tag341.xml"/><Relationship Id="rId14" Type="http://schemas.openxmlformats.org/officeDocument/2006/relationships/oleObject" Target="../embeddings/oleObject203.bin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6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7.xml"/><Relationship Id="rId4" Type="http://schemas.openxmlformats.org/officeDocument/2006/relationships/image" Target="../media/image7.png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5.bin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7.xml"/><Relationship Id="rId2" Type="http://schemas.openxmlformats.org/officeDocument/2006/relationships/tags" Target="../tags/tag34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6.bin"/></Relationships>
</file>

<file path=ppt/slideLayouts/_rels/slideLayout8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8.xml"/><Relationship Id="rId4" Type="http://schemas.openxmlformats.org/officeDocument/2006/relationships/image" Target="../media/image7.png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8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8.bin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9.xml"/><Relationship Id="rId4" Type="http://schemas.openxmlformats.org/officeDocument/2006/relationships/image" Target="../media/image7.png"/></Relationships>
</file>

<file path=ppt/slideLayouts/_rels/slideLayout8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2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0.bin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352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1.bin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9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0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0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0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1.xml"/><Relationship Id="rId2" Type="http://schemas.openxmlformats.org/officeDocument/2006/relationships/tags" Target="../tags/tag356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1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16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4.png"/><Relationship Id="rId7" Type="http://schemas.openxmlformats.org/officeDocument/2006/relationships/image" Target="../media/image1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1.xml"/></Relationships>
</file>

<file path=ppt/slideLayouts/_rels/slideLayout862.xml.rels><?xml version="1.0" encoding="UTF-8" standalone="yes"?>
<Relationships xmlns="http://schemas.openxmlformats.org/package/2006/relationships"><Relationship Id="rId8" Type="http://schemas.openxmlformats.org/officeDocument/2006/relationships/tags" Target="../tags/tag364.xml"/><Relationship Id="rId13" Type="http://schemas.openxmlformats.org/officeDocument/2006/relationships/slideMaster" Target="../slideMasters/slideMaster71.xml"/><Relationship Id="rId3" Type="http://schemas.openxmlformats.org/officeDocument/2006/relationships/tags" Target="../tags/tag359.xml"/><Relationship Id="rId7" Type="http://schemas.openxmlformats.org/officeDocument/2006/relationships/tags" Target="../tags/tag363.xml"/><Relationship Id="rId12" Type="http://schemas.openxmlformats.org/officeDocument/2006/relationships/tags" Target="../tags/tag368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217.vml"/><Relationship Id="rId6" Type="http://schemas.openxmlformats.org/officeDocument/2006/relationships/tags" Target="../tags/tag362.xml"/><Relationship Id="rId11" Type="http://schemas.openxmlformats.org/officeDocument/2006/relationships/tags" Target="../tags/tag367.xml"/><Relationship Id="rId5" Type="http://schemas.openxmlformats.org/officeDocument/2006/relationships/tags" Target="../tags/tag361.xml"/><Relationship Id="rId15" Type="http://schemas.openxmlformats.org/officeDocument/2006/relationships/image" Target="../media/image1.emf"/><Relationship Id="rId10" Type="http://schemas.openxmlformats.org/officeDocument/2006/relationships/tags" Target="../tags/tag366.xml"/><Relationship Id="rId4" Type="http://schemas.openxmlformats.org/officeDocument/2006/relationships/tags" Target="../tags/tag360.xml"/><Relationship Id="rId9" Type="http://schemas.openxmlformats.org/officeDocument/2006/relationships/tags" Target="../tags/tag365.xml"/><Relationship Id="rId14" Type="http://schemas.openxmlformats.org/officeDocument/2006/relationships/oleObject" Target="../embeddings/oleObject217.bin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4.png"/><Relationship Id="rId4" Type="http://schemas.openxmlformats.org/officeDocument/2006/relationships/image" Target="../media/image5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7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520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1520584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84671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491094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35651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588769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465754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099947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8175375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 userDrawn="1"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256466699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068655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642750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111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042404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963697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310744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0948796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825861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52655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341865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8568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76077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59786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1843686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73754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206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95150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2569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95480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68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365085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080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6308832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3876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8318405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2078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604849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89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151311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93061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026273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107834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771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8644662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399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478176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7802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6444388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9262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591100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622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849685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337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120752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90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7123188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922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34756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114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93460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999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550277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29912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835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54617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141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50024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086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99659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2969663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06817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4818576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4325408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5835789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795324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14657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9445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7" y="2647"/>
          <a:ext cx="2645" cy="26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7" y="2647"/>
                        <a:ext cx="2645" cy="26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8" y="3905028"/>
            <a:ext cx="21811177" cy="7793915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7"/>
            <a:ext cx="775805" cy="1877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813">
              <a:lnSpc>
                <a:spcPts val="1765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6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813">
              <a:lnSpc>
                <a:spcPts val="1765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5" y="12602585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64" algn="r" defTabSz="1797813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4" y="12594230"/>
            <a:ext cx="10706096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4" y="12841148"/>
            <a:ext cx="7868869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7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2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813">
              <a:lnSpc>
                <a:spcPts val="2823"/>
              </a:lnSpc>
            </a:pPr>
            <a:endParaRPr lang="nb-NO" sz="2823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79" y="1420011"/>
            <a:ext cx="75342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813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8" y="1500692"/>
            <a:ext cx="13299498" cy="2420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7" y="1882589"/>
            <a:ext cx="22165836" cy="306593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0"/>
            <a:ext cx="15072764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813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31107138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ule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451965"/>
              </p:ext>
            </p:ext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54079" y="1085857"/>
            <a:ext cx="20696253" cy="1695450"/>
          </a:xfrm>
        </p:spPr>
        <p:txBody>
          <a:bodyPr>
            <a:noAutofit/>
          </a:bodyPr>
          <a:lstStyle>
            <a:lvl1pPr algn="l">
              <a:defRPr sz="6400" b="0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"/>
          </p:nvPr>
        </p:nvSpPr>
        <p:spPr>
          <a:xfrm>
            <a:off x="1151397" y="3092455"/>
            <a:ext cx="21944172" cy="8128002"/>
          </a:xfrm>
        </p:spPr>
        <p:txBody>
          <a:bodyPr>
            <a:noAutofit/>
          </a:bodyPr>
          <a:lstStyle>
            <a:lvl1pPr marL="539723" indent="-539723">
              <a:lnSpc>
                <a:spcPts val="5600"/>
              </a:lnSpc>
              <a:defRPr sz="4800"/>
            </a:lvl1pPr>
            <a:lvl2pPr marL="1088972" indent="-371457">
              <a:defRPr sz="4000"/>
            </a:lvl2pPr>
            <a:lvl3pPr marL="1603296" indent="-346059" defTabSz="1609646">
              <a:defRPr sz="3600"/>
            </a:lvl3pPr>
            <a:lvl4pPr marL="1974751" indent="-365108">
              <a:defRPr sz="3200"/>
            </a:lvl4pPr>
            <a:lvl5pPr marL="2330333" indent="-355582">
              <a:defRPr sz="32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12495990" y="12830407"/>
            <a:ext cx="5147399" cy="730250"/>
          </a:xfrm>
        </p:spPr>
        <p:txBody>
          <a:bodyPr/>
          <a:lstStyle/>
          <a:p>
            <a:r>
              <a:rPr lang="nb-NO"/>
              <a:t>05.09.2016</a:t>
            </a:r>
            <a:endParaRPr lang="en-US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35978" y="12830407"/>
            <a:ext cx="1516701" cy="730250"/>
          </a:xfrm>
        </p:spPr>
        <p:txBody>
          <a:bodyPr/>
          <a:lstStyle/>
          <a:p>
            <a:fld id="{D18C150F-A5D9-F14D-8D9F-58EAC69E41C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3467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780675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54408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436040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5752750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9156033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1527381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500788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00238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794586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8492022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6041069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10463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7" y="2647"/>
          <a:ext cx="2645" cy="26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7" y="2647"/>
                        <a:ext cx="2645" cy="26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8" y="3905028"/>
            <a:ext cx="21811177" cy="7793915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7"/>
            <a:ext cx="775805" cy="1877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813">
              <a:lnSpc>
                <a:spcPts val="1765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6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813">
              <a:lnSpc>
                <a:spcPts val="1765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5" y="12602585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64" algn="r" defTabSz="1797813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4" y="12594230"/>
            <a:ext cx="10706096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4" y="12841148"/>
            <a:ext cx="7868869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7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2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813">
              <a:lnSpc>
                <a:spcPts val="2823"/>
              </a:lnSpc>
            </a:pPr>
            <a:endParaRPr lang="nb-NO" sz="2823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79" y="1420011"/>
            <a:ext cx="75342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813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8" y="1500692"/>
            <a:ext cx="13299498" cy="2420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7" y="1882589"/>
            <a:ext cx="22165836" cy="306593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0"/>
            <a:ext cx="15072764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813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146095187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2868400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43981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7652033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2599765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8438795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848127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900673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6316259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03163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5099731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3676622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5367755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896" indent="0" algn="ctr">
              <a:buNone/>
              <a:defRPr sz="4000"/>
            </a:lvl2pPr>
            <a:lvl3pPr marL="1827799" indent="0" algn="ctr">
              <a:buNone/>
              <a:defRPr sz="3800"/>
            </a:lvl3pPr>
            <a:lvl4pPr marL="2741695" indent="0" algn="ctr">
              <a:buNone/>
              <a:defRPr sz="3200"/>
            </a:lvl4pPr>
            <a:lvl5pPr marL="3655593" indent="0" algn="ctr">
              <a:buNone/>
              <a:defRPr sz="3200"/>
            </a:lvl5pPr>
            <a:lvl6pPr marL="4569488" indent="0" algn="ctr">
              <a:buNone/>
              <a:defRPr sz="3200"/>
            </a:lvl6pPr>
            <a:lvl7pPr marL="5483386" indent="0" algn="ctr">
              <a:buNone/>
              <a:defRPr sz="3200"/>
            </a:lvl7pPr>
            <a:lvl8pPr marL="6397280" indent="0" algn="ctr">
              <a:buNone/>
              <a:defRPr sz="3200"/>
            </a:lvl8pPr>
            <a:lvl9pPr marL="7311176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2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9130081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896" indent="0" algn="ctr">
              <a:buNone/>
              <a:defRPr sz="4000"/>
            </a:lvl2pPr>
            <a:lvl3pPr marL="1827799" indent="0" algn="ctr">
              <a:buNone/>
              <a:defRPr sz="3800"/>
            </a:lvl3pPr>
            <a:lvl4pPr marL="2741695" indent="0" algn="ctr">
              <a:buNone/>
              <a:defRPr sz="3200"/>
            </a:lvl4pPr>
            <a:lvl5pPr marL="3655593" indent="0" algn="ctr">
              <a:buNone/>
              <a:defRPr sz="3200"/>
            </a:lvl5pPr>
            <a:lvl6pPr marL="4569488" indent="0" algn="ctr">
              <a:buNone/>
              <a:defRPr sz="3200"/>
            </a:lvl6pPr>
            <a:lvl7pPr marL="5483386" indent="0" algn="ctr">
              <a:buNone/>
              <a:defRPr sz="3200"/>
            </a:lvl7pPr>
            <a:lvl8pPr marL="6397280" indent="0" algn="ctr">
              <a:buNone/>
              <a:defRPr sz="3200"/>
            </a:lvl8pPr>
            <a:lvl9pPr marL="7311176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8729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580509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55992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824707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1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12185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90618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9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1296784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1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66700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198972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2" y="0"/>
            <a:ext cx="24385849" cy="12832004"/>
          </a:xfrm>
          <a:solidFill>
            <a:schemeClr val="bg2"/>
          </a:solidFill>
        </p:spPr>
        <p:txBody>
          <a:bodyPr tIns="4317842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8241534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60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896" indent="0">
              <a:buNone/>
              <a:defRPr sz="4000" b="1"/>
            </a:lvl2pPr>
            <a:lvl3pPr marL="1827799" indent="0">
              <a:buNone/>
              <a:defRPr sz="3800" b="1"/>
            </a:lvl3pPr>
            <a:lvl4pPr marL="2741695" indent="0">
              <a:buNone/>
              <a:defRPr sz="3200" b="1"/>
            </a:lvl4pPr>
            <a:lvl5pPr marL="3655593" indent="0">
              <a:buNone/>
              <a:defRPr sz="3200" b="1"/>
            </a:lvl5pPr>
            <a:lvl6pPr marL="4569488" indent="0">
              <a:buNone/>
              <a:defRPr sz="3200" b="1"/>
            </a:lvl6pPr>
            <a:lvl7pPr marL="5483386" indent="0">
              <a:buNone/>
              <a:defRPr sz="3200" b="1"/>
            </a:lvl7pPr>
            <a:lvl8pPr marL="6397280" indent="0">
              <a:buNone/>
              <a:defRPr sz="3200" b="1"/>
            </a:lvl8pPr>
            <a:lvl9pPr marL="7311176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1" y="363360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896" indent="0">
              <a:buNone/>
              <a:defRPr sz="4000" b="1"/>
            </a:lvl2pPr>
            <a:lvl3pPr marL="1827799" indent="0">
              <a:buNone/>
              <a:defRPr sz="3800" b="1"/>
            </a:lvl3pPr>
            <a:lvl4pPr marL="2741695" indent="0">
              <a:buNone/>
              <a:defRPr sz="3200" b="1"/>
            </a:lvl4pPr>
            <a:lvl5pPr marL="3655593" indent="0">
              <a:buNone/>
              <a:defRPr sz="3200" b="1"/>
            </a:lvl5pPr>
            <a:lvl6pPr marL="4569488" indent="0">
              <a:buNone/>
              <a:defRPr sz="3200" b="1"/>
            </a:lvl6pPr>
            <a:lvl7pPr marL="5483386" indent="0">
              <a:buNone/>
              <a:defRPr sz="3200" b="1"/>
            </a:lvl7pPr>
            <a:lvl8pPr marL="6397280" indent="0">
              <a:buNone/>
              <a:defRPr sz="3200" b="1"/>
            </a:lvl8pPr>
            <a:lvl9pPr marL="7311176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4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1" y="4713734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2509165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063706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0670527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85097080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460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2993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8062299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641763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451597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7377776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4279520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5858318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260952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7852601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2634201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836462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3"/>
            <a:ext cx="17138141" cy="828677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9" indent="0" algn="ctr">
              <a:buNone/>
              <a:defRPr sz="4000"/>
            </a:lvl2pPr>
            <a:lvl3pPr marL="1828159" indent="0" algn="ctr">
              <a:buNone/>
              <a:defRPr sz="3700"/>
            </a:lvl3pPr>
            <a:lvl4pPr marL="2742239" indent="0" algn="ctr">
              <a:buNone/>
              <a:defRPr sz="3200"/>
            </a:lvl4pPr>
            <a:lvl5pPr marL="3656321" indent="0" algn="ctr">
              <a:buNone/>
              <a:defRPr sz="3200"/>
            </a:lvl5pPr>
            <a:lvl6pPr marL="4570400" indent="0" algn="ctr">
              <a:buNone/>
              <a:defRPr sz="3200"/>
            </a:lvl6pPr>
            <a:lvl7pPr marL="5484481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9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1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1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317388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3"/>
            <a:ext cx="17138141" cy="828677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9" indent="0" algn="ctr">
              <a:buNone/>
              <a:defRPr sz="4000"/>
            </a:lvl2pPr>
            <a:lvl3pPr marL="1828159" indent="0" algn="ctr">
              <a:buNone/>
              <a:defRPr sz="3700"/>
            </a:lvl3pPr>
            <a:lvl4pPr marL="2742239" indent="0" algn="ctr">
              <a:buNone/>
              <a:defRPr sz="3200"/>
            </a:lvl4pPr>
            <a:lvl5pPr marL="3656321" indent="0" algn="ctr">
              <a:buNone/>
              <a:defRPr sz="3200"/>
            </a:lvl5pPr>
            <a:lvl6pPr marL="4570400" indent="0" algn="ctr">
              <a:buNone/>
              <a:defRPr sz="3200"/>
            </a:lvl6pPr>
            <a:lvl7pPr marL="5484481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9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80042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7597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788476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139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6028898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2" y="2559920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7084951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0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405393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2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8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6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951759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79946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2" y="2667000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9615824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2" y="0"/>
            <a:ext cx="24385848" cy="12832003"/>
          </a:xfrm>
          <a:solidFill>
            <a:schemeClr val="bg2"/>
          </a:solidFill>
        </p:spPr>
        <p:txBody>
          <a:bodyPr tIns="4318705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8431861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603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079" indent="0">
              <a:buNone/>
              <a:defRPr sz="4000" b="1"/>
            </a:lvl2pPr>
            <a:lvl3pPr marL="1828159" indent="0">
              <a:buNone/>
              <a:defRPr sz="3700" b="1"/>
            </a:lvl3pPr>
            <a:lvl4pPr marL="2742239" indent="0">
              <a:buNone/>
              <a:defRPr sz="3200" b="1"/>
            </a:lvl4pPr>
            <a:lvl5pPr marL="3656321" indent="0">
              <a:buNone/>
              <a:defRPr sz="3200" b="1"/>
            </a:lvl5pPr>
            <a:lvl6pPr marL="4570400" indent="0">
              <a:buNone/>
              <a:defRPr sz="3200" b="1"/>
            </a:lvl6pPr>
            <a:lvl7pPr marL="5484481" indent="0">
              <a:buNone/>
              <a:defRPr sz="3200" b="1"/>
            </a:lvl7pPr>
            <a:lvl8pPr marL="6398560" indent="0">
              <a:buNone/>
              <a:defRPr sz="3200" b="1"/>
            </a:lvl8pPr>
            <a:lvl9pPr marL="7312639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0" y="3633603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079" indent="0">
              <a:buNone/>
              <a:defRPr sz="4000" b="1"/>
            </a:lvl2pPr>
            <a:lvl3pPr marL="1828159" indent="0">
              <a:buNone/>
              <a:defRPr sz="3700" b="1"/>
            </a:lvl3pPr>
            <a:lvl4pPr marL="2742239" indent="0">
              <a:buNone/>
              <a:defRPr sz="3200" b="1"/>
            </a:lvl4pPr>
            <a:lvl5pPr marL="3656321" indent="0">
              <a:buNone/>
              <a:defRPr sz="3200" b="1"/>
            </a:lvl5pPr>
            <a:lvl6pPr marL="4570400" indent="0">
              <a:buNone/>
              <a:defRPr sz="3200" b="1"/>
            </a:lvl6pPr>
            <a:lvl7pPr marL="5484481" indent="0">
              <a:buNone/>
              <a:defRPr sz="3200" b="1"/>
            </a:lvl7pPr>
            <a:lvl8pPr marL="6398560" indent="0">
              <a:buNone/>
              <a:defRPr sz="3200" b="1"/>
            </a:lvl8pPr>
            <a:lvl9pPr marL="7312639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3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0" y="4713733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2277594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3192454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9891249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2"/>
            <a:ext cx="17138141" cy="828677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62" indent="0" algn="ctr">
              <a:buNone/>
              <a:defRPr sz="4000"/>
            </a:lvl2pPr>
            <a:lvl3pPr marL="1828525" indent="0" algn="ctr">
              <a:buNone/>
              <a:defRPr sz="3700"/>
            </a:lvl3pPr>
            <a:lvl4pPr marL="2742789" indent="0" algn="ctr">
              <a:buNone/>
              <a:defRPr sz="3200"/>
            </a:lvl4pPr>
            <a:lvl5pPr marL="3657051" indent="0" algn="ctr">
              <a:buNone/>
              <a:defRPr sz="3200"/>
            </a:lvl5pPr>
            <a:lvl6pPr marL="4571314" indent="0" algn="ctr">
              <a:buNone/>
              <a:defRPr sz="3200"/>
            </a:lvl6pPr>
            <a:lvl7pPr marL="5485578" indent="0" algn="ctr">
              <a:buNone/>
              <a:defRPr sz="3200"/>
            </a:lvl7pPr>
            <a:lvl8pPr marL="6399840" indent="0" algn="ctr">
              <a:buNone/>
              <a:defRPr sz="3200"/>
            </a:lvl8pPr>
            <a:lvl9pPr marL="731410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8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06839223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1" cy="828677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62" indent="0" algn="ctr">
              <a:buNone/>
              <a:defRPr sz="4000"/>
            </a:lvl2pPr>
            <a:lvl3pPr marL="1828525" indent="0" algn="ctr">
              <a:buNone/>
              <a:defRPr sz="3700"/>
            </a:lvl3pPr>
            <a:lvl4pPr marL="2742789" indent="0" algn="ctr">
              <a:buNone/>
              <a:defRPr sz="3200"/>
            </a:lvl4pPr>
            <a:lvl5pPr marL="3657051" indent="0" algn="ctr">
              <a:buNone/>
              <a:defRPr sz="3200"/>
            </a:lvl5pPr>
            <a:lvl6pPr marL="4571314" indent="0" algn="ctr">
              <a:buNone/>
              <a:defRPr sz="3200"/>
            </a:lvl6pPr>
            <a:lvl7pPr marL="5485578" indent="0" algn="ctr">
              <a:buNone/>
              <a:defRPr sz="3200"/>
            </a:lvl7pPr>
            <a:lvl8pPr marL="6399840" indent="0" algn="ctr">
              <a:buNone/>
              <a:defRPr sz="3200"/>
            </a:lvl8pPr>
            <a:lvl9pPr marL="731410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95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1947722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Kapittel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1" cy="828677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62" indent="0" algn="ctr">
              <a:buNone/>
              <a:defRPr sz="4000"/>
            </a:lvl2pPr>
            <a:lvl3pPr marL="1828525" indent="0" algn="ctr">
              <a:buNone/>
              <a:defRPr sz="3700"/>
            </a:lvl3pPr>
            <a:lvl4pPr marL="2742789" indent="0" algn="ctr">
              <a:buNone/>
              <a:defRPr sz="3200"/>
            </a:lvl4pPr>
            <a:lvl5pPr marL="3657051" indent="0" algn="ctr">
              <a:buNone/>
              <a:defRPr sz="3200"/>
            </a:lvl5pPr>
            <a:lvl6pPr marL="4571314" indent="0" algn="ctr">
              <a:buNone/>
              <a:defRPr sz="3200"/>
            </a:lvl6pPr>
            <a:lvl7pPr marL="5485578" indent="0" algn="ctr">
              <a:buNone/>
              <a:defRPr sz="3200"/>
            </a:lvl7pPr>
            <a:lvl8pPr marL="6399840" indent="0" algn="ctr">
              <a:buNone/>
              <a:defRPr sz="3200"/>
            </a:lvl8pPr>
            <a:lvl9pPr marL="731410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7532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Kapittel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1" cy="828677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62" indent="0" algn="ctr">
              <a:buNone/>
              <a:defRPr sz="4000"/>
            </a:lvl2pPr>
            <a:lvl3pPr marL="1828525" indent="0" algn="ctr">
              <a:buNone/>
              <a:defRPr sz="3700"/>
            </a:lvl3pPr>
            <a:lvl4pPr marL="2742789" indent="0" algn="ctr">
              <a:buNone/>
              <a:defRPr sz="3200"/>
            </a:lvl4pPr>
            <a:lvl5pPr marL="3657051" indent="0" algn="ctr">
              <a:buNone/>
              <a:defRPr sz="3200"/>
            </a:lvl5pPr>
            <a:lvl6pPr marL="4571314" indent="0" algn="ctr">
              <a:buNone/>
              <a:defRPr sz="3200"/>
            </a:lvl6pPr>
            <a:lvl7pPr marL="5485578" indent="0" algn="ctr">
              <a:buNone/>
              <a:defRPr sz="3200"/>
            </a:lvl7pPr>
            <a:lvl8pPr marL="6399840" indent="0" algn="ctr">
              <a:buNone/>
              <a:defRPr sz="3200"/>
            </a:lvl8pPr>
            <a:lvl9pPr marL="731410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89489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0363379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559920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547951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9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1096982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1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8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788531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79982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667000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5555516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1" y="0"/>
            <a:ext cx="24385848" cy="12832003"/>
          </a:xfrm>
          <a:solidFill>
            <a:schemeClr val="bg2"/>
          </a:solidFill>
        </p:spPr>
        <p:txBody>
          <a:bodyPr tIns="4319568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4156355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9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262" indent="0">
              <a:buNone/>
              <a:defRPr sz="4000" b="1"/>
            </a:lvl2pPr>
            <a:lvl3pPr marL="1828525" indent="0">
              <a:buNone/>
              <a:defRPr sz="3700" b="1"/>
            </a:lvl3pPr>
            <a:lvl4pPr marL="2742789" indent="0">
              <a:buNone/>
              <a:defRPr sz="3200" b="1"/>
            </a:lvl4pPr>
            <a:lvl5pPr marL="3657051" indent="0">
              <a:buNone/>
              <a:defRPr sz="3200" b="1"/>
            </a:lvl5pPr>
            <a:lvl6pPr marL="4571314" indent="0">
              <a:buNone/>
              <a:defRPr sz="3200" b="1"/>
            </a:lvl6pPr>
            <a:lvl7pPr marL="5485578" indent="0">
              <a:buNone/>
              <a:defRPr sz="3200" b="1"/>
            </a:lvl7pPr>
            <a:lvl8pPr marL="6399840" indent="0">
              <a:buNone/>
              <a:defRPr sz="3200" b="1"/>
            </a:lvl8pPr>
            <a:lvl9pPr marL="7314102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9" y="3633599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262" indent="0">
              <a:buNone/>
              <a:defRPr sz="4000" b="1"/>
            </a:lvl2pPr>
            <a:lvl3pPr marL="1828525" indent="0">
              <a:buNone/>
              <a:defRPr sz="3700" b="1"/>
            </a:lvl3pPr>
            <a:lvl4pPr marL="2742789" indent="0">
              <a:buNone/>
              <a:defRPr sz="3200" b="1"/>
            </a:lvl4pPr>
            <a:lvl5pPr marL="3657051" indent="0">
              <a:buNone/>
              <a:defRPr sz="3200" b="1"/>
            </a:lvl5pPr>
            <a:lvl6pPr marL="4571314" indent="0">
              <a:buNone/>
              <a:defRPr sz="3200" b="1"/>
            </a:lvl6pPr>
            <a:lvl7pPr marL="5485578" indent="0">
              <a:buNone/>
              <a:defRPr sz="3200" b="1"/>
            </a:lvl7pPr>
            <a:lvl8pPr marL="6399840" indent="0">
              <a:buNone/>
              <a:defRPr sz="3200" b="1"/>
            </a:lvl8pPr>
            <a:lvl9pPr marL="7314102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3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9" y="4713733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3343629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120103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299856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4717660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8018170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2055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494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3078383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297744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704330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4770715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674467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482685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08436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259382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1817850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5751108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7806758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5440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67774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436040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5752750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9156033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1527381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500788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0023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39242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8492022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6041069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10463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7" y="2647"/>
          <a:ext cx="2645" cy="26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7" y="2647"/>
                        <a:ext cx="2645" cy="26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8" y="3905028"/>
            <a:ext cx="21811177" cy="7793915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7"/>
            <a:ext cx="775805" cy="1877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813">
              <a:lnSpc>
                <a:spcPts val="1765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6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813">
              <a:lnSpc>
                <a:spcPts val="1765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5" y="12602585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64" algn="r" defTabSz="1797813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4" y="12594230"/>
            <a:ext cx="10706096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4" y="12841148"/>
            <a:ext cx="7868869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7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2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813">
              <a:lnSpc>
                <a:spcPts val="2823"/>
              </a:lnSpc>
            </a:pPr>
            <a:endParaRPr lang="nb-NO" sz="2823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79" y="1420011"/>
            <a:ext cx="75342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813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8" y="1500692"/>
            <a:ext cx="13299498" cy="2420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7" y="1882589"/>
            <a:ext cx="22165836" cy="306593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0"/>
            <a:ext cx="15072764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813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146095187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214313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2940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0837158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61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299925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647277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640561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04743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415179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2814652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01842764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146935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0227195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0402186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83765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96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597141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538548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094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00949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4588315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342591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121629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0971919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8841118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7593020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62143133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2940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042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0837158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61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29992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2132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647277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6405611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415179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281465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0184276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146935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0227195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1391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536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59008560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992072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62081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360203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756120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4070323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220674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79"/>
            <a:ext cx="17138141" cy="828678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8" indent="0" algn="ctr">
              <a:buNone/>
              <a:defRPr sz="4000"/>
            </a:lvl2pPr>
            <a:lvl3pPr marL="1828165" indent="0" algn="ctr">
              <a:buNone/>
              <a:defRPr sz="3800"/>
            </a:lvl3pPr>
            <a:lvl4pPr marL="2742245" indent="0" algn="ctr">
              <a:buNone/>
              <a:defRPr sz="3200"/>
            </a:lvl4pPr>
            <a:lvl5pPr marL="3656323" indent="0" algn="ctr">
              <a:buNone/>
              <a:defRPr sz="3200"/>
            </a:lvl5pPr>
            <a:lvl6pPr marL="4570401" indent="0" algn="ctr">
              <a:buNone/>
              <a:defRPr sz="3200"/>
            </a:lvl6pPr>
            <a:lvl7pPr marL="5484482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8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10119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5976747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40098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05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6431753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4973598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3381813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8618303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0191471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622227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6584182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71180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536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79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8" indent="0" algn="ctr">
              <a:buNone/>
              <a:defRPr sz="4000"/>
            </a:lvl2pPr>
            <a:lvl3pPr marL="1828165" indent="0" algn="ctr">
              <a:buNone/>
              <a:defRPr sz="3800"/>
            </a:lvl3pPr>
            <a:lvl4pPr marL="2742245" indent="0" algn="ctr">
              <a:buNone/>
              <a:defRPr sz="3200"/>
            </a:lvl4pPr>
            <a:lvl5pPr marL="3656323" indent="0" algn="ctr">
              <a:buNone/>
              <a:defRPr sz="3200"/>
            </a:lvl5pPr>
            <a:lvl6pPr marL="4570401" indent="0" algn="ctr">
              <a:buNone/>
              <a:defRPr sz="3200"/>
            </a:lvl6pPr>
            <a:lvl7pPr marL="5484482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82611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8991147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4" y="5106372"/>
            <a:ext cx="17138143" cy="828677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33" indent="0" algn="ctr">
              <a:buNone/>
              <a:defRPr sz="4000"/>
            </a:lvl2pPr>
            <a:lvl3pPr marL="1828275" indent="0" algn="ctr">
              <a:buNone/>
              <a:defRPr sz="3600"/>
            </a:lvl3pPr>
            <a:lvl4pPr marL="2742409" indent="0" algn="ctr">
              <a:buNone/>
              <a:defRPr sz="3200"/>
            </a:lvl4pPr>
            <a:lvl5pPr marL="3656542" indent="0" algn="ctr">
              <a:buNone/>
              <a:defRPr sz="3200"/>
            </a:lvl5pPr>
            <a:lvl6pPr marL="4570675" indent="0" algn="ctr">
              <a:buNone/>
              <a:defRPr sz="3200"/>
            </a:lvl6pPr>
            <a:lvl7pPr marL="5484811" indent="0" algn="ctr">
              <a:buNone/>
              <a:defRPr sz="3200"/>
            </a:lvl7pPr>
            <a:lvl8pPr marL="6398944" indent="0" algn="ctr">
              <a:buNone/>
              <a:defRPr sz="3200"/>
            </a:lvl8pPr>
            <a:lvl9pPr marL="7313077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5" y="2376000"/>
            <a:ext cx="2289888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2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2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4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87426072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9" y="5106372"/>
            <a:ext cx="17138143" cy="828677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33" indent="0" algn="ctr">
              <a:buNone/>
              <a:defRPr sz="4000"/>
            </a:lvl2pPr>
            <a:lvl3pPr marL="1828275" indent="0" algn="ctr">
              <a:buNone/>
              <a:defRPr sz="3600"/>
            </a:lvl3pPr>
            <a:lvl4pPr marL="2742409" indent="0" algn="ctr">
              <a:buNone/>
              <a:defRPr sz="3200"/>
            </a:lvl4pPr>
            <a:lvl5pPr marL="3656542" indent="0" algn="ctr">
              <a:buNone/>
              <a:defRPr sz="3200"/>
            </a:lvl5pPr>
            <a:lvl6pPr marL="4570675" indent="0" algn="ctr">
              <a:buNone/>
              <a:defRPr sz="3200"/>
            </a:lvl6pPr>
            <a:lvl7pPr marL="5484811" indent="0" algn="ctr">
              <a:buNone/>
              <a:defRPr sz="3200"/>
            </a:lvl7pPr>
            <a:lvl8pPr marL="6398944" indent="0" algn="ctr">
              <a:buNone/>
              <a:defRPr sz="3200"/>
            </a:lvl8pPr>
            <a:lvl9pPr marL="7313077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2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2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0259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8880413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647" y="2647"/>
          <a:ext cx="2645" cy="26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47" y="2647"/>
                        <a:ext cx="2645" cy="26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624729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8928023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9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286880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831807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3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5138948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7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33" indent="0">
              <a:buNone/>
              <a:defRPr sz="4000" b="1"/>
            </a:lvl2pPr>
            <a:lvl3pPr marL="1828275" indent="0">
              <a:buNone/>
              <a:defRPr sz="3600" b="1"/>
            </a:lvl3pPr>
            <a:lvl4pPr marL="2742409" indent="0">
              <a:buNone/>
              <a:defRPr sz="3200" b="1"/>
            </a:lvl4pPr>
            <a:lvl5pPr marL="3656542" indent="0">
              <a:buNone/>
              <a:defRPr sz="3200" b="1"/>
            </a:lvl5pPr>
            <a:lvl6pPr marL="4570675" indent="0">
              <a:buNone/>
              <a:defRPr sz="3200" b="1"/>
            </a:lvl6pPr>
            <a:lvl7pPr marL="5484811" indent="0">
              <a:buNone/>
              <a:defRPr sz="3200" b="1"/>
            </a:lvl7pPr>
            <a:lvl8pPr marL="6398944" indent="0">
              <a:buNone/>
              <a:defRPr sz="3200" b="1"/>
            </a:lvl8pPr>
            <a:lvl9pPr marL="7313077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7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33" indent="0">
              <a:buNone/>
              <a:defRPr sz="4000" b="1"/>
            </a:lvl2pPr>
            <a:lvl3pPr marL="1828275" indent="0">
              <a:buNone/>
              <a:defRPr sz="3600" b="1"/>
            </a:lvl3pPr>
            <a:lvl4pPr marL="2742409" indent="0">
              <a:buNone/>
              <a:defRPr sz="3200" b="1"/>
            </a:lvl4pPr>
            <a:lvl5pPr marL="3656542" indent="0">
              <a:buNone/>
              <a:defRPr sz="3200" b="1"/>
            </a:lvl5pPr>
            <a:lvl6pPr marL="4570675" indent="0">
              <a:buNone/>
              <a:defRPr sz="3200" b="1"/>
            </a:lvl6pPr>
            <a:lvl7pPr marL="5484811" indent="0">
              <a:buNone/>
              <a:defRPr sz="3200" b="1"/>
            </a:lvl7pPr>
            <a:lvl8pPr marL="6398944" indent="0">
              <a:buNone/>
              <a:defRPr sz="3200" b="1"/>
            </a:lvl8pPr>
            <a:lvl9pPr marL="7313077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3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3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74977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tel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79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8" indent="0" algn="ctr">
              <a:buNone/>
              <a:defRPr sz="4000"/>
            </a:lvl2pPr>
            <a:lvl3pPr marL="1828165" indent="0" algn="ctr">
              <a:buNone/>
              <a:defRPr sz="3800"/>
            </a:lvl3pPr>
            <a:lvl4pPr marL="2742245" indent="0" algn="ctr">
              <a:buNone/>
              <a:defRPr sz="3200"/>
            </a:lvl4pPr>
            <a:lvl5pPr marL="3656323" indent="0" algn="ctr">
              <a:buNone/>
              <a:defRPr sz="3200"/>
            </a:lvl5pPr>
            <a:lvl6pPr marL="4570401" indent="0" algn="ctr">
              <a:buNone/>
              <a:defRPr sz="3200"/>
            </a:lvl6pPr>
            <a:lvl7pPr marL="5484482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56794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505717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820659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59819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79708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06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747305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6842342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5199099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701349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458151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829624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apittel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79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8" indent="0" algn="ctr">
              <a:buNone/>
              <a:defRPr sz="4000"/>
            </a:lvl2pPr>
            <a:lvl3pPr marL="1828165" indent="0" algn="ctr">
              <a:buNone/>
              <a:defRPr sz="3800"/>
            </a:lvl3pPr>
            <a:lvl4pPr marL="2742245" indent="0" algn="ctr">
              <a:buNone/>
              <a:defRPr sz="3200"/>
            </a:lvl4pPr>
            <a:lvl5pPr marL="3656323" indent="0" algn="ctr">
              <a:buNone/>
              <a:defRPr sz="3200"/>
            </a:lvl5pPr>
            <a:lvl6pPr marL="4570401" indent="0" algn="ctr">
              <a:buNone/>
              <a:defRPr sz="3200"/>
            </a:lvl6pPr>
            <a:lvl7pPr marL="5484482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82955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3301873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2824337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8114953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9434109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65321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16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131792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499058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2040598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51493585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36986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831888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260341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9942058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0896420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5424093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7346593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84912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728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794309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601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462174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7303863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44407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55992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5779392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0271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5276957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1509806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6069289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3425552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47919" y="1910468"/>
            <a:ext cx="21886575" cy="1072776"/>
          </a:xfrm>
        </p:spPr>
        <p:txBody>
          <a:bodyPr/>
          <a:lstStyle>
            <a:lvl1pPr>
              <a:defRPr sz="53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7951471" y="13314679"/>
            <a:ext cx="2880133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r>
              <a:rPr lang="nb-NO"/>
              <a:t>20-21.11 2014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7951472" y="12738615"/>
            <a:ext cx="5760265" cy="432045"/>
          </a:xfrm>
          <a:prstGeom prst="rect">
            <a:avLst/>
          </a:prstGeom>
        </p:spPr>
        <p:txBody>
          <a:bodyPr anchor="ctr" anchorCtr="0"/>
          <a:lstStyle>
            <a:lvl1pPr algn="l">
              <a:defRPr sz="2700" b="1">
                <a:solidFill>
                  <a:srgbClr val="039BAF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023613" y="13314679"/>
            <a:ext cx="1728080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3916719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8663020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16028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118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853138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1974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9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0752752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071467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3465941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1338004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953420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555213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7963546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319175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677297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373851872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544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756790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570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8220907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6780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3823686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8971355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39065096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7500587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6194171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8873011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6127703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2898245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47919" y="1910468"/>
            <a:ext cx="21886575" cy="1072776"/>
          </a:xfrm>
        </p:spPr>
        <p:txBody>
          <a:bodyPr/>
          <a:lstStyle>
            <a:lvl1pPr>
              <a:defRPr sz="53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7951471" y="13314679"/>
            <a:ext cx="2880133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r>
              <a:rPr lang="nb-NO"/>
              <a:t>20-21.11 2014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7951472" y="12738615"/>
            <a:ext cx="5760265" cy="432045"/>
          </a:xfrm>
          <a:prstGeom prst="rect">
            <a:avLst/>
          </a:prstGeom>
        </p:spPr>
        <p:txBody>
          <a:bodyPr anchor="ctr" anchorCtr="0"/>
          <a:lstStyle>
            <a:lvl1pPr algn="l">
              <a:defRPr sz="2700" b="1">
                <a:solidFill>
                  <a:srgbClr val="039BAF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023613" y="13314679"/>
            <a:ext cx="1728080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5747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46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66700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294442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083754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9801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3088660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1087474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275855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74425868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2090178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0569312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201383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997595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8704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47760541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8630325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7" y="2647"/>
          <a:ext cx="2645" cy="26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7" y="2647"/>
                        <a:ext cx="2645" cy="26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8" y="3905028"/>
            <a:ext cx="21811177" cy="7793915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7"/>
            <a:ext cx="775805" cy="1877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813">
              <a:lnSpc>
                <a:spcPts val="1765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6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813">
              <a:lnSpc>
                <a:spcPts val="1765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5" y="12602585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64" algn="r" defTabSz="1797813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4" y="12594230"/>
            <a:ext cx="10706096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4" y="12841148"/>
            <a:ext cx="7868869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7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2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813">
              <a:lnSpc>
                <a:spcPts val="2823"/>
              </a:lnSpc>
            </a:pPr>
            <a:endParaRPr lang="nb-NO" sz="2823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79" y="1420011"/>
            <a:ext cx="75342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813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8" y="1500692"/>
            <a:ext cx="13299498" cy="2420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813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7" y="1882589"/>
            <a:ext cx="22165836" cy="306593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0"/>
            <a:ext cx="15072764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813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354695228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5025860"/>
      </p:ext>
    </p:extLst>
  </p:cSld>
  <p:clrMapOvr>
    <a:masterClrMapping/>
  </p:clrMapOvr>
  <p:transition spd="med"/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unktte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rødtekst nivå én…"/>
          <p:cNvSpPr txBox="1">
            <a:spLocks noGrp="1"/>
          </p:cNvSpPr>
          <p:nvPr>
            <p:ph type="body" idx="1"/>
          </p:nvPr>
        </p:nvSpPr>
        <p:spPr>
          <a:xfrm>
            <a:off x="1785822" y="1785938"/>
            <a:ext cx="20810770" cy="10144125"/>
          </a:xfrm>
          <a:prstGeom prst="rect">
            <a:avLst/>
          </a:prstGeom>
        </p:spPr>
        <p:txBody>
          <a:bodyPr/>
          <a:lstStyle/>
          <a:p>
            <a:r>
              <a:t>Brødtekst nivå én</a:t>
            </a:r>
          </a:p>
          <a:p>
            <a:pPr lvl="1"/>
            <a:r>
              <a:t>Brødtekst nivå to</a:t>
            </a:r>
          </a:p>
          <a:p>
            <a:pPr lvl="2"/>
            <a:r>
              <a:t>Brødtekst nivå tre</a:t>
            </a:r>
          </a:p>
          <a:p>
            <a:pPr lvl="3"/>
            <a:r>
              <a:t>Brødtekst nivå fire</a:t>
            </a:r>
          </a:p>
          <a:p>
            <a:pPr lvl="4"/>
            <a:r>
              <a:t>Brødtekst nivå fem</a:t>
            </a:r>
          </a:p>
        </p:txBody>
      </p:sp>
      <p:sp>
        <p:nvSpPr>
          <p:cNvPr id="76" name="Lysbilde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7803592"/>
      </p:ext>
    </p:extLst>
  </p:cSld>
  <p:clrMapOvr>
    <a:masterClrMapping/>
  </p:clrMapOvr>
  <p:transition spd="med"/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289695562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81251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966918" cy="167362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2823411"/>
            <a:ext cx="21966918" cy="990000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>
          <a:xfrm>
            <a:off x="21971000" y="13069633"/>
            <a:ext cx="1436097" cy="369332"/>
          </a:xfrm>
        </p:spPr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1089054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966309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99977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72067034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2823411"/>
            <a:ext cx="10728000" cy="990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679097" y="2823411"/>
            <a:ext cx="10728000" cy="990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6395948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2823411"/>
            <a:ext cx="7200000" cy="990000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823639" y="2823411"/>
            <a:ext cx="7200000" cy="990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6207097" y="2823411"/>
            <a:ext cx="7200000" cy="9900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26702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600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078" indent="0">
              <a:buNone/>
              <a:defRPr sz="4000" b="1"/>
            </a:lvl2pPr>
            <a:lvl3pPr marL="1828165" indent="0">
              <a:buNone/>
              <a:defRPr sz="3800" b="1"/>
            </a:lvl3pPr>
            <a:lvl4pPr marL="2742245" indent="0">
              <a:buNone/>
              <a:defRPr sz="3200" b="1"/>
            </a:lvl4pPr>
            <a:lvl5pPr marL="3656323" indent="0">
              <a:buNone/>
              <a:defRPr sz="3200" b="1"/>
            </a:lvl5pPr>
            <a:lvl6pPr marL="4570401" indent="0">
              <a:buNone/>
              <a:defRPr sz="3200" b="1"/>
            </a:lvl6pPr>
            <a:lvl7pPr marL="5484482" indent="0">
              <a:buNone/>
              <a:defRPr sz="3200" b="1"/>
            </a:lvl7pPr>
            <a:lvl8pPr marL="6398560" indent="0">
              <a:buNone/>
              <a:defRPr sz="3200" b="1"/>
            </a:lvl8pPr>
            <a:lvl9pPr marL="731263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9" y="3633600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078" indent="0">
              <a:buNone/>
              <a:defRPr sz="4000" b="1"/>
            </a:lvl2pPr>
            <a:lvl3pPr marL="1828165" indent="0">
              <a:buNone/>
              <a:defRPr sz="3800" b="1"/>
            </a:lvl3pPr>
            <a:lvl4pPr marL="2742245" indent="0">
              <a:buNone/>
              <a:defRPr sz="3200" b="1"/>
            </a:lvl4pPr>
            <a:lvl5pPr marL="3656323" indent="0">
              <a:buNone/>
              <a:defRPr sz="3200" b="1"/>
            </a:lvl5pPr>
            <a:lvl6pPr marL="4570401" indent="0">
              <a:buNone/>
              <a:defRPr sz="3200" b="1"/>
            </a:lvl6pPr>
            <a:lvl7pPr marL="5484482" indent="0">
              <a:buNone/>
              <a:defRPr sz="3200" b="1"/>
            </a:lvl7pPr>
            <a:lvl8pPr marL="6398560" indent="0">
              <a:buNone/>
              <a:defRPr sz="3200" b="1"/>
            </a:lvl8pPr>
            <a:lvl9pPr marL="731263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4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9" y="4713734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7781968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999777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014907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548832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2823411"/>
            <a:ext cx="10728000" cy="1080135"/>
          </a:xfrm>
        </p:spPr>
        <p:txBody>
          <a:bodyPr anchor="t">
            <a:normAutofit/>
          </a:bodyPr>
          <a:lstStyle>
            <a:lvl1pPr marL="0" indent="0">
              <a:buNone/>
              <a:defRPr sz="32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679097" y="2823411"/>
            <a:ext cx="10728000" cy="1080135"/>
          </a:xfrm>
        </p:spPr>
        <p:txBody>
          <a:bodyPr anchor="t">
            <a:normAutofit/>
          </a:bodyPr>
          <a:lstStyle>
            <a:lvl1pPr marL="0" indent="0">
              <a:buNone/>
              <a:defRPr sz="32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  <a:endParaRPr lang="en-GB" dirty="0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3903546"/>
            <a:ext cx="10728000" cy="8819865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679097" y="3903546"/>
            <a:ext cx="10728000" cy="881986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89571074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9986543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7716576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47808" y="5464488"/>
            <a:ext cx="18961136" cy="1546407"/>
          </a:xfrm>
        </p:spPr>
        <p:txBody>
          <a:bodyPr anchor="ctr" anchorCtr="0">
            <a:normAutofit/>
          </a:bodyPr>
          <a:lstStyle>
            <a:lvl1pPr algn="ctr">
              <a:defRPr sz="83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047808" y="11032902"/>
            <a:ext cx="18961136" cy="1598677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4000">
                <a:solidFill>
                  <a:schemeClr val="accent3"/>
                </a:solidFill>
              </a:defRPr>
            </a:lvl1pPr>
            <a:lvl2pPr marL="914082" indent="0" algn="ctr">
              <a:buNone/>
              <a:defRPr sz="4000"/>
            </a:lvl2pPr>
            <a:lvl3pPr marL="1828162" indent="0" algn="ctr">
              <a:buNone/>
              <a:defRPr sz="3500"/>
            </a:lvl3pPr>
            <a:lvl4pPr marL="2742241" indent="0" algn="ctr">
              <a:buNone/>
              <a:defRPr sz="3200"/>
            </a:lvl4pPr>
            <a:lvl5pPr marL="3656318" indent="0" algn="ctr">
              <a:buNone/>
              <a:defRPr sz="3200"/>
            </a:lvl5pPr>
            <a:lvl6pPr marL="4570400" indent="0" algn="ctr">
              <a:buNone/>
              <a:defRPr sz="3200"/>
            </a:lvl6pPr>
            <a:lvl7pPr marL="5484481" indent="0" algn="ctr">
              <a:buNone/>
              <a:defRPr sz="3200"/>
            </a:lvl7pPr>
            <a:lvl8pPr marL="6398563" indent="0" algn="ctr">
              <a:buNone/>
              <a:defRPr sz="3200"/>
            </a:lvl8pPr>
            <a:lvl9pPr marL="7312639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074" y="1080135"/>
            <a:ext cx="2549999" cy="174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16419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60060167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59673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7005375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68971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9920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042283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3482386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2262337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154463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5990207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2418958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0019623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6981743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93057035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79671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411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826284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3335992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8935889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41262126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9451459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8222514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4671879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8590235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718076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0387858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073128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616251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896" indent="0" algn="ctr">
              <a:buNone/>
              <a:defRPr sz="4000"/>
            </a:lvl2pPr>
            <a:lvl3pPr marL="1827799" indent="0" algn="ctr">
              <a:buNone/>
              <a:defRPr sz="3800"/>
            </a:lvl3pPr>
            <a:lvl4pPr marL="2741695" indent="0" algn="ctr">
              <a:buNone/>
              <a:defRPr sz="3200"/>
            </a:lvl4pPr>
            <a:lvl5pPr marL="3655593" indent="0" algn="ctr">
              <a:buNone/>
              <a:defRPr sz="3200"/>
            </a:lvl5pPr>
            <a:lvl6pPr marL="4569488" indent="0" algn="ctr">
              <a:buNone/>
              <a:defRPr sz="3200"/>
            </a:lvl6pPr>
            <a:lvl7pPr marL="5483386" indent="0" algn="ctr">
              <a:buNone/>
              <a:defRPr sz="3200"/>
            </a:lvl7pPr>
            <a:lvl8pPr marL="6397280" indent="0" algn="ctr">
              <a:buNone/>
              <a:defRPr sz="3200"/>
            </a:lvl8pPr>
            <a:lvl9pPr marL="7311176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2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437562805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19189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835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019433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2101595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430062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6064283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74734138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809498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469851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36160006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362164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896" indent="0" algn="ctr">
              <a:buNone/>
              <a:defRPr sz="4000"/>
            </a:lvl2pPr>
            <a:lvl3pPr marL="1827799" indent="0" algn="ctr">
              <a:buNone/>
              <a:defRPr sz="3800"/>
            </a:lvl3pPr>
            <a:lvl4pPr marL="2741695" indent="0" algn="ctr">
              <a:buNone/>
              <a:defRPr sz="3200"/>
            </a:lvl4pPr>
            <a:lvl5pPr marL="3655593" indent="0" algn="ctr">
              <a:buNone/>
              <a:defRPr sz="3200"/>
            </a:lvl5pPr>
            <a:lvl6pPr marL="4569488" indent="0" algn="ctr">
              <a:buNone/>
              <a:defRPr sz="3200"/>
            </a:lvl6pPr>
            <a:lvl7pPr marL="5483386" indent="0" algn="ctr">
              <a:buNone/>
              <a:defRPr sz="3200"/>
            </a:lvl7pPr>
            <a:lvl8pPr marL="6397280" indent="0" algn="ctr">
              <a:buNone/>
              <a:defRPr sz="3200"/>
            </a:lvl8pPr>
            <a:lvl9pPr marL="7311176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358156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0168501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33599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55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4032282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7443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59217421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32843686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27643446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796785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01875735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9685239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75719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8536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21075411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085306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47919" y="1910468"/>
            <a:ext cx="21886575" cy="1072776"/>
          </a:xfrm>
        </p:spPr>
        <p:txBody>
          <a:bodyPr/>
          <a:lstStyle>
            <a:lvl1pPr>
              <a:defRPr sz="53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7951471" y="13314679"/>
            <a:ext cx="2880133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r>
              <a:rPr lang="nb-NO"/>
              <a:t>20-21.11 2014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7951472" y="12738615"/>
            <a:ext cx="5760265" cy="432045"/>
          </a:xfrm>
          <a:prstGeom prst="rect">
            <a:avLst/>
          </a:prstGeom>
        </p:spPr>
        <p:txBody>
          <a:bodyPr anchor="ctr" anchorCtr="0"/>
          <a:lstStyle>
            <a:lvl1pPr algn="l">
              <a:defRPr sz="2700" b="1">
                <a:solidFill>
                  <a:srgbClr val="039BAF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023613" y="13314679"/>
            <a:ext cx="1728080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605346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631508450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30843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668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274218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03175877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38165116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44216019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736281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418775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55992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3037552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16960703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22826934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093913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42820257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42823380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00673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518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711016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50750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825225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1156219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215710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1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675136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8028038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6274038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666061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9475633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809353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47919" y="1910468"/>
            <a:ext cx="21886575" cy="1072776"/>
          </a:xfrm>
        </p:spPr>
        <p:txBody>
          <a:bodyPr/>
          <a:lstStyle>
            <a:lvl1pPr>
              <a:defRPr sz="53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7951471" y="13314679"/>
            <a:ext cx="2880133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r>
              <a:rPr lang="nb-NO"/>
              <a:t>20-21.11 2014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7951472" y="12738615"/>
            <a:ext cx="5760265" cy="432045"/>
          </a:xfrm>
          <a:prstGeom prst="rect">
            <a:avLst/>
          </a:prstGeom>
        </p:spPr>
        <p:txBody>
          <a:bodyPr anchor="ctr" anchorCtr="0"/>
          <a:lstStyle>
            <a:lvl1pPr algn="l">
              <a:defRPr sz="2700" b="1">
                <a:solidFill>
                  <a:srgbClr val="039BAF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023613" y="13314679"/>
            <a:ext cx="1728080" cy="288029"/>
          </a:xfrm>
          <a:prstGeom prst="rect">
            <a:avLst/>
          </a:prstGeom>
        </p:spPr>
        <p:txBody>
          <a:bodyPr anchor="ctr" anchorCtr="0"/>
          <a:lstStyle>
            <a:lvl1pPr>
              <a:defRPr sz="21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845064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88339995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339246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6498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1469588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31088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9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19491422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5177002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5461808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293572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3875958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4131399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752077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860971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5638981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23917643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807204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1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66700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202916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260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5888833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51653810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1371420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55839332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0364700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42516906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34708979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30359958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1393682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034962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2" y="0"/>
            <a:ext cx="24385849" cy="12832004"/>
          </a:xfrm>
          <a:solidFill>
            <a:schemeClr val="bg2"/>
          </a:solidFill>
        </p:spPr>
        <p:txBody>
          <a:bodyPr tIns="4317842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0067746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24790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9198544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685614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79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1845224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0484886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59183833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065655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40658043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1745706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18614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60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896" indent="0">
              <a:buNone/>
              <a:defRPr sz="4000" b="1"/>
            </a:lvl2pPr>
            <a:lvl3pPr marL="1827799" indent="0">
              <a:buNone/>
              <a:defRPr sz="3800" b="1"/>
            </a:lvl3pPr>
            <a:lvl4pPr marL="2741695" indent="0">
              <a:buNone/>
              <a:defRPr sz="3200" b="1"/>
            </a:lvl4pPr>
            <a:lvl5pPr marL="3655593" indent="0">
              <a:buNone/>
              <a:defRPr sz="3200" b="1"/>
            </a:lvl5pPr>
            <a:lvl6pPr marL="4569488" indent="0">
              <a:buNone/>
              <a:defRPr sz="3200" b="1"/>
            </a:lvl6pPr>
            <a:lvl7pPr marL="5483386" indent="0">
              <a:buNone/>
              <a:defRPr sz="3200" b="1"/>
            </a:lvl7pPr>
            <a:lvl8pPr marL="6397280" indent="0">
              <a:buNone/>
              <a:defRPr sz="3200" b="1"/>
            </a:lvl8pPr>
            <a:lvl9pPr marL="7311176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1" y="363360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896" indent="0">
              <a:buNone/>
              <a:defRPr sz="4000" b="1"/>
            </a:lvl2pPr>
            <a:lvl3pPr marL="1827799" indent="0">
              <a:buNone/>
              <a:defRPr sz="3800" b="1"/>
            </a:lvl3pPr>
            <a:lvl4pPr marL="2741695" indent="0">
              <a:buNone/>
              <a:defRPr sz="3200" b="1"/>
            </a:lvl4pPr>
            <a:lvl5pPr marL="3655593" indent="0">
              <a:buNone/>
              <a:defRPr sz="3200" b="1"/>
            </a:lvl5pPr>
            <a:lvl6pPr marL="4569488" indent="0">
              <a:buNone/>
              <a:defRPr sz="3200" b="1"/>
            </a:lvl6pPr>
            <a:lvl7pPr marL="5483386" indent="0">
              <a:buNone/>
              <a:defRPr sz="3200" b="1"/>
            </a:lvl7pPr>
            <a:lvl8pPr marL="6397280" indent="0">
              <a:buNone/>
              <a:defRPr sz="3200" b="1"/>
            </a:lvl8pPr>
            <a:lvl9pPr marL="7311176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4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1" y="4713734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94568721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9699416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5571493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3195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01466171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492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7701645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5506212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922701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4959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79992435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6057139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019723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845847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772748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655233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8897269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1089794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21261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7779505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17266514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13911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6479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9920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2196661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620812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3602037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7561204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2"/>
            <a:ext cx="17138141" cy="828677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62" indent="0" algn="ctr">
              <a:buNone/>
              <a:defRPr sz="4000"/>
            </a:lvl2pPr>
            <a:lvl3pPr marL="1828525" indent="0" algn="ctr">
              <a:buNone/>
              <a:defRPr sz="3700"/>
            </a:lvl3pPr>
            <a:lvl4pPr marL="2742789" indent="0" algn="ctr">
              <a:buNone/>
              <a:defRPr sz="3200"/>
            </a:lvl4pPr>
            <a:lvl5pPr marL="3657051" indent="0" algn="ctr">
              <a:buNone/>
              <a:defRPr sz="3200"/>
            </a:lvl5pPr>
            <a:lvl6pPr marL="4571314" indent="0" algn="ctr">
              <a:buNone/>
              <a:defRPr sz="3200"/>
            </a:lvl6pPr>
            <a:lvl7pPr marL="5485578" indent="0" algn="ctr">
              <a:buNone/>
              <a:defRPr sz="3200"/>
            </a:lvl7pPr>
            <a:lvl8pPr marL="6399840" indent="0" algn="ctr">
              <a:buNone/>
              <a:defRPr sz="3200"/>
            </a:lvl8pPr>
            <a:lvl9pPr marL="731410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8" y="2376000"/>
            <a:ext cx="2289599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855423751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1" cy="828677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3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262" indent="0" algn="ctr">
              <a:buNone/>
              <a:defRPr sz="4000"/>
            </a:lvl2pPr>
            <a:lvl3pPr marL="1828525" indent="0" algn="ctr">
              <a:buNone/>
              <a:defRPr sz="3700"/>
            </a:lvl3pPr>
            <a:lvl4pPr marL="2742789" indent="0" algn="ctr">
              <a:buNone/>
              <a:defRPr sz="3200"/>
            </a:lvl4pPr>
            <a:lvl5pPr marL="3657051" indent="0" algn="ctr">
              <a:buNone/>
              <a:defRPr sz="3200"/>
            </a:lvl5pPr>
            <a:lvl6pPr marL="4571314" indent="0" algn="ctr">
              <a:buNone/>
              <a:defRPr sz="3200"/>
            </a:lvl6pPr>
            <a:lvl7pPr marL="5485578" indent="0" algn="ctr">
              <a:buNone/>
              <a:defRPr sz="3200"/>
            </a:lvl7pPr>
            <a:lvl8pPr marL="6399840" indent="0" algn="ctr">
              <a:buNone/>
              <a:defRPr sz="3200"/>
            </a:lvl8pPr>
            <a:lvl9pPr marL="731410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6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1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380325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959125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896" indent="0" algn="ctr">
              <a:buNone/>
              <a:defRPr sz="4000"/>
            </a:lvl2pPr>
            <a:lvl3pPr marL="1827799" indent="0" algn="ctr">
              <a:buNone/>
              <a:defRPr sz="3800"/>
            </a:lvl3pPr>
            <a:lvl4pPr marL="2741695" indent="0" algn="ctr">
              <a:buNone/>
              <a:defRPr sz="3200"/>
            </a:lvl4pPr>
            <a:lvl5pPr marL="3655593" indent="0" algn="ctr">
              <a:buNone/>
              <a:defRPr sz="3200"/>
            </a:lvl5pPr>
            <a:lvl6pPr marL="4569488" indent="0" algn="ctr">
              <a:buNone/>
              <a:defRPr sz="3200"/>
            </a:lvl6pPr>
            <a:lvl7pPr marL="5483386" indent="0" algn="ctr">
              <a:buNone/>
              <a:defRPr sz="3200"/>
            </a:lvl7pPr>
            <a:lvl8pPr marL="6397280" indent="0" algn="ctr">
              <a:buNone/>
              <a:defRPr sz="3200"/>
            </a:lvl8pPr>
            <a:lvl9pPr marL="7311176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2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9100370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559920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5598688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9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05316866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1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8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60806519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79982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667000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5079144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1" y="0"/>
            <a:ext cx="24385848" cy="12832003"/>
          </a:xfrm>
          <a:solidFill>
            <a:schemeClr val="bg2"/>
          </a:solidFill>
        </p:spPr>
        <p:txBody>
          <a:bodyPr tIns="4319568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36157308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9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262" indent="0">
              <a:buNone/>
              <a:defRPr sz="4000" b="1"/>
            </a:lvl2pPr>
            <a:lvl3pPr marL="1828525" indent="0">
              <a:buNone/>
              <a:defRPr sz="3700" b="1"/>
            </a:lvl3pPr>
            <a:lvl4pPr marL="2742789" indent="0">
              <a:buNone/>
              <a:defRPr sz="3200" b="1"/>
            </a:lvl4pPr>
            <a:lvl5pPr marL="3657051" indent="0">
              <a:buNone/>
              <a:defRPr sz="3200" b="1"/>
            </a:lvl5pPr>
            <a:lvl6pPr marL="4571314" indent="0">
              <a:buNone/>
              <a:defRPr sz="3200" b="1"/>
            </a:lvl6pPr>
            <a:lvl7pPr marL="5485578" indent="0">
              <a:buNone/>
              <a:defRPr sz="3200" b="1"/>
            </a:lvl7pPr>
            <a:lvl8pPr marL="6399840" indent="0">
              <a:buNone/>
              <a:defRPr sz="3200" b="1"/>
            </a:lvl8pPr>
            <a:lvl9pPr marL="7314102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9" y="3633599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300" b="1"/>
            </a:lvl1pPr>
            <a:lvl2pPr marL="914262" indent="0">
              <a:buNone/>
              <a:defRPr sz="4000" b="1"/>
            </a:lvl2pPr>
            <a:lvl3pPr marL="1828525" indent="0">
              <a:buNone/>
              <a:defRPr sz="3700" b="1"/>
            </a:lvl3pPr>
            <a:lvl4pPr marL="2742789" indent="0">
              <a:buNone/>
              <a:defRPr sz="3200" b="1"/>
            </a:lvl4pPr>
            <a:lvl5pPr marL="3657051" indent="0">
              <a:buNone/>
              <a:defRPr sz="3200" b="1"/>
            </a:lvl5pPr>
            <a:lvl6pPr marL="4571314" indent="0">
              <a:buNone/>
              <a:defRPr sz="3200" b="1"/>
            </a:lvl6pPr>
            <a:lvl7pPr marL="5485578" indent="0">
              <a:buNone/>
              <a:defRPr sz="3200" b="1"/>
            </a:lvl7pPr>
            <a:lvl8pPr marL="6399840" indent="0">
              <a:buNone/>
              <a:defRPr sz="3200" b="1"/>
            </a:lvl8pPr>
            <a:lvl9pPr marL="7314102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3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9" y="4713733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98379452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67761374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5264888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01550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238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896" indent="0" algn="ctr">
              <a:buNone/>
              <a:defRPr sz="4000"/>
            </a:lvl2pPr>
            <a:lvl3pPr marL="1827799" indent="0" algn="ctr">
              <a:buNone/>
              <a:defRPr sz="3800"/>
            </a:lvl3pPr>
            <a:lvl4pPr marL="2741695" indent="0" algn="ctr">
              <a:buNone/>
              <a:defRPr sz="3200"/>
            </a:lvl4pPr>
            <a:lvl5pPr marL="3655593" indent="0" algn="ctr">
              <a:buNone/>
              <a:defRPr sz="3200"/>
            </a:lvl5pPr>
            <a:lvl6pPr marL="4569488" indent="0" algn="ctr">
              <a:buNone/>
              <a:defRPr sz="3200"/>
            </a:lvl6pPr>
            <a:lvl7pPr marL="5483386" indent="0" algn="ctr">
              <a:buNone/>
              <a:defRPr sz="3200"/>
            </a:lvl7pPr>
            <a:lvl8pPr marL="6397280" indent="0" algn="ctr">
              <a:buNone/>
              <a:defRPr sz="3200"/>
            </a:lvl8pPr>
            <a:lvl9pPr marL="7311176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509171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64603350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797172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3377628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8320890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0192708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0459909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77694541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9082897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220336835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7262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447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8762852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53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4810083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9625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6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0361020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8710084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36041146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256275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709296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5288162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58856065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3304445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234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04838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55992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501778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46681500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439920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89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74481208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5613419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07415365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7254779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164073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2511534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44207221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863819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1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8184238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5601113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8535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72118706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505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7826964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5" y="5106372"/>
            <a:ext cx="17138142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1"/>
            <a:ext cx="11215401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7" y="2376000"/>
            <a:ext cx="2289886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0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99627421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2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1"/>
            <a:ext cx="11215401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1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0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0" y="1440000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099112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832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41738205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9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77739507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7" y="3636000"/>
            <a:ext cx="10549318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8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8932779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0" y="3636000"/>
            <a:ext cx="7056882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4" y="3636000"/>
            <a:ext cx="7056882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91957125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7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0"/>
            <a:ext cx="21599555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628289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9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23915319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8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772217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8" cy="1080135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54" indent="0">
              <a:buNone/>
              <a:defRPr sz="4000" b="1"/>
            </a:lvl2pPr>
            <a:lvl3pPr marL="1828709" indent="0">
              <a:buNone/>
              <a:defRPr sz="3600" b="1"/>
            </a:lvl3pPr>
            <a:lvl4pPr marL="2743063" indent="0">
              <a:buNone/>
              <a:defRPr sz="3200" b="1"/>
            </a:lvl4pPr>
            <a:lvl5pPr marL="3657417" indent="0">
              <a:buNone/>
              <a:defRPr sz="3200" b="1"/>
            </a:lvl5pPr>
            <a:lvl6pPr marL="4571771" indent="0">
              <a:buNone/>
              <a:defRPr sz="3200" b="1"/>
            </a:lvl6pPr>
            <a:lvl7pPr marL="5486126" indent="0">
              <a:buNone/>
              <a:defRPr sz="3200" b="1"/>
            </a:lvl7pPr>
            <a:lvl8pPr marL="6400480" indent="0">
              <a:buNone/>
              <a:defRPr sz="3200" b="1"/>
            </a:lvl8pPr>
            <a:lvl9pPr marL="731483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7" y="4713732"/>
            <a:ext cx="10549318" cy="758026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8" cy="758026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30908951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93615766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55112863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1355609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441249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76550788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53656775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0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7491350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0157310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1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66700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4400296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3825590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32362147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84278106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27914533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09350348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898733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9870180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649275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6215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8908657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97612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6208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2" y="0"/>
            <a:ext cx="24385849" cy="12832004"/>
          </a:xfrm>
          <a:solidFill>
            <a:schemeClr val="bg2"/>
          </a:solidFill>
        </p:spPr>
        <p:txBody>
          <a:bodyPr tIns="4317842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8689596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8206495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4849486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8369440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11047591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3854394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5515401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98701807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649275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10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8908657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885329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60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896" indent="0">
              <a:buNone/>
              <a:defRPr sz="4000" b="1"/>
            </a:lvl2pPr>
            <a:lvl3pPr marL="1827799" indent="0">
              <a:buNone/>
              <a:defRPr sz="3800" b="1"/>
            </a:lvl3pPr>
            <a:lvl4pPr marL="2741695" indent="0">
              <a:buNone/>
              <a:defRPr sz="3200" b="1"/>
            </a:lvl4pPr>
            <a:lvl5pPr marL="3655593" indent="0">
              <a:buNone/>
              <a:defRPr sz="3200" b="1"/>
            </a:lvl5pPr>
            <a:lvl6pPr marL="4569488" indent="0">
              <a:buNone/>
              <a:defRPr sz="3200" b="1"/>
            </a:lvl6pPr>
            <a:lvl7pPr marL="5483386" indent="0">
              <a:buNone/>
              <a:defRPr sz="3200" b="1"/>
            </a:lvl7pPr>
            <a:lvl8pPr marL="6397280" indent="0">
              <a:buNone/>
              <a:defRPr sz="3200" b="1"/>
            </a:lvl8pPr>
            <a:lvl9pPr marL="7311176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1" y="363360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896" indent="0">
              <a:buNone/>
              <a:defRPr sz="4000" b="1"/>
            </a:lvl2pPr>
            <a:lvl3pPr marL="1827799" indent="0">
              <a:buNone/>
              <a:defRPr sz="3800" b="1"/>
            </a:lvl3pPr>
            <a:lvl4pPr marL="2741695" indent="0">
              <a:buNone/>
              <a:defRPr sz="3200" b="1"/>
            </a:lvl4pPr>
            <a:lvl5pPr marL="3655593" indent="0">
              <a:buNone/>
              <a:defRPr sz="3200" b="1"/>
            </a:lvl5pPr>
            <a:lvl6pPr marL="4569488" indent="0">
              <a:buNone/>
              <a:defRPr sz="3200" b="1"/>
            </a:lvl6pPr>
            <a:lvl7pPr marL="5483386" indent="0">
              <a:buNone/>
              <a:defRPr sz="3200" b="1"/>
            </a:lvl7pPr>
            <a:lvl8pPr marL="6397280" indent="0">
              <a:buNone/>
              <a:defRPr sz="3200" b="1"/>
            </a:lvl8pPr>
            <a:lvl9pPr marL="7311176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4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1" y="4713734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51350535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8206495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484948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8369440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11047591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5515401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8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90163322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91435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9424945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60842299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1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1019483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79249704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945911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8967284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98258941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9976927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8111914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49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7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9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22295141" y="12860769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724">
              <a:lnSpc>
                <a:spcPts val="1764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 userDrawn="1"/>
        </p:nvSpPr>
        <p:spPr>
          <a:xfrm>
            <a:off x="1303858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724">
              <a:lnSpc>
                <a:spcPts val="1764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21608956" y="12602586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40" algn="r" defTabSz="1797724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1302935" y="12594232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12368536" y="12841150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1302934" y="12359868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1285613" y="12231447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724">
              <a:lnSpc>
                <a:spcPts val="2824"/>
              </a:lnSpc>
            </a:pPr>
            <a:endParaRPr lang="nb-NO" sz="2824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22986580" y="1420013"/>
            <a:ext cx="75341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724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923579" y="1882591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7998182" y="951212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724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279755401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29"/>
            <a:ext cx="11160670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68" b="1">
                <a:solidFill>
                  <a:schemeClr val="bg1"/>
                </a:solidFill>
              </a:defRPr>
            </a:lvl1pPr>
            <a:lvl2pPr marL="914318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63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95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2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58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908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22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542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3" y="1050133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4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3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947144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9870180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649275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820649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90113685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4849486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8369440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1104759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551540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8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1756560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509125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274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11690669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133241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738412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1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234426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81"/>
            <a:ext cx="17138141" cy="828678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436" indent="0" algn="ctr">
              <a:buNone/>
              <a:defRPr sz="4000"/>
            </a:lvl2pPr>
            <a:lvl3pPr marL="1826885" indent="0" algn="ctr">
              <a:buNone/>
              <a:defRPr sz="3800"/>
            </a:lvl3pPr>
            <a:lvl4pPr marL="2740319" indent="0" algn="ctr">
              <a:buNone/>
              <a:defRPr sz="3200"/>
            </a:lvl4pPr>
            <a:lvl5pPr marL="3653767" indent="0" algn="ctr">
              <a:buNone/>
              <a:defRPr sz="3200"/>
            </a:lvl5pPr>
            <a:lvl6pPr marL="4567204" indent="0" algn="ctr">
              <a:buNone/>
              <a:defRPr sz="3200"/>
            </a:lvl6pPr>
            <a:lvl7pPr marL="5480644" indent="0" algn="ctr">
              <a:buNone/>
              <a:defRPr sz="3200"/>
            </a:lvl7pPr>
            <a:lvl8pPr marL="6394080" indent="0" algn="ctr">
              <a:buNone/>
              <a:defRPr sz="3200"/>
            </a:lvl8pPr>
            <a:lvl9pPr marL="7307525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30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40" y="2376000"/>
            <a:ext cx="2289599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535982692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2773986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8131253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9957061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3478768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9265118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9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9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9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9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724">
              <a:lnSpc>
                <a:spcPts val="1764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8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724">
              <a:lnSpc>
                <a:spcPts val="1764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6" y="12602586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40" algn="r" defTabSz="1797724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2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6" y="12841150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8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7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724">
              <a:lnSpc>
                <a:spcPts val="2824"/>
              </a:lnSpc>
            </a:pPr>
            <a:endParaRPr lang="nb-NO" sz="2824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80" y="1420013"/>
            <a:ext cx="75341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724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9" y="1882591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2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724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595962335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29"/>
            <a:ext cx="11160670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68" b="1">
                <a:solidFill>
                  <a:schemeClr val="bg1"/>
                </a:solidFill>
              </a:defRPr>
            </a:lvl1pPr>
            <a:lvl2pPr marL="914318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63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95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2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58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908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22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542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3" y="1050133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4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3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9229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8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82348362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587161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6018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81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3436" indent="0" algn="ctr">
              <a:buNone/>
              <a:defRPr sz="4000"/>
            </a:lvl2pPr>
            <a:lvl3pPr marL="1826885" indent="0" algn="ctr">
              <a:buNone/>
              <a:defRPr sz="3800"/>
            </a:lvl3pPr>
            <a:lvl4pPr marL="2740319" indent="0" algn="ctr">
              <a:buNone/>
              <a:defRPr sz="3200"/>
            </a:lvl4pPr>
            <a:lvl5pPr marL="3653767" indent="0" algn="ctr">
              <a:buNone/>
              <a:defRPr sz="3200"/>
            </a:lvl5pPr>
            <a:lvl6pPr marL="4567204" indent="0" algn="ctr">
              <a:buNone/>
              <a:defRPr sz="3200"/>
            </a:lvl6pPr>
            <a:lvl7pPr marL="5480644" indent="0" algn="ctr">
              <a:buNone/>
              <a:defRPr sz="3200"/>
            </a:lvl7pPr>
            <a:lvl8pPr marL="6394080" indent="0" algn="ctr">
              <a:buNone/>
              <a:defRPr sz="3200"/>
            </a:lvl8pPr>
            <a:lvl9pPr marL="7307525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843235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2384135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2968666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1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95984142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0709167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5625868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14032062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46380255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85973251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9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9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9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9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724">
              <a:lnSpc>
                <a:spcPts val="1764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8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724">
              <a:lnSpc>
                <a:spcPts val="1764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6" y="12602586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40" algn="r" defTabSz="1797724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2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6" y="12841150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8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7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724">
              <a:lnSpc>
                <a:spcPts val="2824"/>
              </a:lnSpc>
            </a:pPr>
            <a:endParaRPr lang="nb-NO" sz="2824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80" y="1420013"/>
            <a:ext cx="75341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724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9" y="1882591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2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724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3845762819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29"/>
            <a:ext cx="11160670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68" b="1">
                <a:solidFill>
                  <a:schemeClr val="bg1"/>
                </a:solidFill>
              </a:defRPr>
            </a:lvl1pPr>
            <a:lvl2pPr marL="914318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63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95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2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58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908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22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542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3" y="1050133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4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3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3046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6139916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7393373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919023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965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4292889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1416420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5689263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49801418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79054729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1364267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25283138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91054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55992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35431250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5390455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29912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94457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7945864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900673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1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906181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4515978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60288987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19477224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29985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61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7377748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2593827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392429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047439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009499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21329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590085608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573933736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919023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238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4292889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14164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9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71257800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5689263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49801418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79054729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71364267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25283138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9105444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55390455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29912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94457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7945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36020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82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3" y="266700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8960048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9006738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0529825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4515978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60288987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19477224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2998567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2593827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392429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04743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0094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2" y="0"/>
            <a:ext cx="24385849" cy="12832004"/>
          </a:xfrm>
          <a:solidFill>
            <a:schemeClr val="bg2"/>
          </a:solidFill>
        </p:spPr>
        <p:txBody>
          <a:bodyPr tIns="4315684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39002357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21329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59008560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6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8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7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58056483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2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7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308" indent="0" algn="ctr">
              <a:buNone/>
              <a:defRPr sz="4000"/>
            </a:lvl2pPr>
            <a:lvl3pPr marL="1828619" indent="0" algn="ctr">
              <a:buNone/>
              <a:defRPr sz="3600"/>
            </a:lvl3pPr>
            <a:lvl4pPr marL="2742927" indent="0" algn="ctr">
              <a:buNone/>
              <a:defRPr sz="3200"/>
            </a:lvl4pPr>
            <a:lvl5pPr marL="3657235" indent="0" algn="ctr">
              <a:buNone/>
              <a:defRPr sz="3200"/>
            </a:lvl5pPr>
            <a:lvl6pPr marL="4571543" indent="0" algn="ctr">
              <a:buNone/>
              <a:defRPr sz="3200"/>
            </a:lvl6pPr>
            <a:lvl7pPr marL="5485852" indent="0" algn="ctr">
              <a:buNone/>
              <a:defRPr sz="3200"/>
            </a:lvl7pPr>
            <a:lvl8pPr marL="6400160" indent="0" algn="ctr">
              <a:buNone/>
              <a:defRPr sz="3200"/>
            </a:lvl8pPr>
            <a:lvl9pPr marL="731446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1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270962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69244238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771184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84124043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1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87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499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76100322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8000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1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6545475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2000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18919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61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436" indent="0">
              <a:buNone/>
              <a:defRPr sz="4000" b="1"/>
            </a:lvl2pPr>
            <a:lvl3pPr marL="1826885" indent="0">
              <a:buNone/>
              <a:defRPr sz="3800" b="1"/>
            </a:lvl3pPr>
            <a:lvl4pPr marL="2740319" indent="0">
              <a:buNone/>
              <a:defRPr sz="3200" b="1"/>
            </a:lvl4pPr>
            <a:lvl5pPr marL="3653767" indent="0">
              <a:buNone/>
              <a:defRPr sz="3200" b="1"/>
            </a:lvl5pPr>
            <a:lvl6pPr marL="4567204" indent="0">
              <a:buNone/>
              <a:defRPr sz="3200" b="1"/>
            </a:lvl6pPr>
            <a:lvl7pPr marL="5480644" indent="0">
              <a:buNone/>
              <a:defRPr sz="3200" b="1"/>
            </a:lvl7pPr>
            <a:lvl8pPr marL="6394080" indent="0">
              <a:buNone/>
              <a:defRPr sz="3200" b="1"/>
            </a:lvl8pPr>
            <a:lvl9pPr marL="7307525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61" y="3633612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3436" indent="0">
              <a:buNone/>
              <a:defRPr sz="4000" b="1"/>
            </a:lvl2pPr>
            <a:lvl3pPr marL="1826885" indent="0">
              <a:buNone/>
              <a:defRPr sz="3800" b="1"/>
            </a:lvl3pPr>
            <a:lvl4pPr marL="2740319" indent="0">
              <a:buNone/>
              <a:defRPr sz="3200" b="1"/>
            </a:lvl4pPr>
            <a:lvl5pPr marL="3653767" indent="0">
              <a:buNone/>
              <a:defRPr sz="3200" b="1"/>
            </a:lvl5pPr>
            <a:lvl6pPr marL="4567204" indent="0">
              <a:buNone/>
              <a:defRPr sz="3200" b="1"/>
            </a:lvl6pPr>
            <a:lvl7pPr marL="5480644" indent="0">
              <a:buNone/>
              <a:defRPr sz="3200" b="1"/>
            </a:lvl7pPr>
            <a:lvl8pPr marL="6394080" indent="0">
              <a:buNone/>
              <a:defRPr sz="3200" b="1"/>
            </a:lvl8pPr>
            <a:lvl9pPr marL="7307525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4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61" y="4713734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81245250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308" indent="0">
              <a:buNone/>
              <a:defRPr sz="4000" b="1"/>
            </a:lvl2pPr>
            <a:lvl3pPr marL="1828619" indent="0">
              <a:buNone/>
              <a:defRPr sz="3600" b="1"/>
            </a:lvl3pPr>
            <a:lvl4pPr marL="2742927" indent="0">
              <a:buNone/>
              <a:defRPr sz="3200" b="1"/>
            </a:lvl4pPr>
            <a:lvl5pPr marL="3657235" indent="0">
              <a:buNone/>
              <a:defRPr sz="3200" b="1"/>
            </a:lvl5pPr>
            <a:lvl6pPr marL="4571543" indent="0">
              <a:buNone/>
              <a:defRPr sz="3200" b="1"/>
            </a:lvl6pPr>
            <a:lvl7pPr marL="5485852" indent="0">
              <a:buNone/>
              <a:defRPr sz="3200" b="1"/>
            </a:lvl7pPr>
            <a:lvl8pPr marL="6400160" indent="0">
              <a:buNone/>
              <a:defRPr sz="3200" b="1"/>
            </a:lvl8pPr>
            <a:lvl9pPr marL="731446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13356625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80338918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230596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49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49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69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724">
              <a:lnSpc>
                <a:spcPts val="1764"/>
              </a:lnSpc>
            </a:pPr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58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724">
              <a:lnSpc>
                <a:spcPts val="1764"/>
              </a:lnSpc>
            </a:pPr>
            <a:r>
              <a:rPr lang="nb-NO" sz="1588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608956" y="12602586"/>
            <a:ext cx="1465145" cy="24436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4040" algn="r" defTabSz="1797724">
              <a:spcAft>
                <a:spcPts val="1588"/>
              </a:spcAft>
            </a:pPr>
            <a:r>
              <a:rPr lang="nb-NO" sz="1588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2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36" y="12841150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68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7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724">
              <a:lnSpc>
                <a:spcPts val="2824"/>
              </a:lnSpc>
            </a:pPr>
            <a:endParaRPr lang="nb-NO" sz="2824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6580" y="1420013"/>
            <a:ext cx="75341" cy="32592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724"/>
            <a:r>
              <a:rPr lang="nb-NO" sz="2118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724"/>
            <a:endParaRPr lang="nb-NO" sz="1588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79" y="1882591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2" y="951212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724"/>
            <a:r>
              <a:rPr lang="nb-NO" sz="1588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2009520457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29"/>
            <a:ext cx="11160670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68" b="1">
                <a:solidFill>
                  <a:schemeClr val="bg1"/>
                </a:solidFill>
              </a:defRPr>
            </a:lvl1pPr>
            <a:lvl2pPr marL="914318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63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95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2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589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908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22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542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3" y="1050133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4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3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99541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30"/>
            <a:ext cx="11160670" cy="2520316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8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36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54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72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90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08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926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4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3461760" y="1050141"/>
            <a:ext cx="10920653" cy="10861358"/>
          </a:xfrm>
          <a:blipFill>
            <a:blip r:embed="rId2"/>
            <a:stretch>
              <a:fillRect/>
            </a:stretch>
          </a:blipFill>
        </p:spPr>
        <p:txBody>
          <a:bodyPr tIns="179964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34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9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701628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35"/>
            <a:ext cx="11160670" cy="2521562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8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36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54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72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90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08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926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4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9" y="1050139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79964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400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9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113106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201950" y="3258408"/>
            <a:ext cx="4998235" cy="8641080"/>
          </a:xfrm>
          <a:solidFill>
            <a:schemeClr val="tx2">
              <a:lumMod val="40000"/>
              <a:lumOff val="60000"/>
            </a:schemeClr>
          </a:solidFill>
        </p:spPr>
        <p:txBody>
          <a:bodyPr lIns="35992" tIns="71984">
            <a:normAutofit/>
          </a:bodyPr>
          <a:lstStyle>
            <a:lvl1pPr marL="0" indent="0">
              <a:spcBef>
                <a:spcPts val="2000"/>
              </a:spcBef>
              <a:buSzPct val="60000"/>
              <a:buNone/>
              <a:defRPr sz="2000" b="1" i="1">
                <a:solidFill>
                  <a:schemeClr val="accent2"/>
                </a:solidFill>
              </a:defRPr>
            </a:lvl1pPr>
            <a:lvl2pPr marL="148137" indent="-148137">
              <a:defRPr sz="1800">
                <a:solidFill>
                  <a:schemeClr val="accent2"/>
                </a:solidFill>
              </a:defRPr>
            </a:lvl2pPr>
            <a:lvl3pPr marL="447042" indent="-148137">
              <a:defRPr sz="1600">
                <a:solidFill>
                  <a:schemeClr val="accent2"/>
                </a:solidFill>
              </a:defRPr>
            </a:lvl3pPr>
            <a:lvl4pPr marL="740659" indent="-148137">
              <a:defRPr sz="1600">
                <a:solidFill>
                  <a:schemeClr val="accent2"/>
                </a:solidFill>
              </a:defRPr>
            </a:lvl4pPr>
            <a:lvl5pPr marL="148137" indent="-148137"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0680641" y="12721592"/>
            <a:ext cx="9600575" cy="369332"/>
          </a:xfrm>
          <a:prstGeom prst="rect">
            <a:avLst/>
          </a:prstGeom>
        </p:spPr>
        <p:txBody>
          <a:bodyPr lIns="91423" tIns="45712" rIns="91423" bIns="45712"/>
          <a:lstStyle/>
          <a:p>
            <a:pPr defTabSz="1828367"/>
            <a:r>
              <a:rPr lang="nb-NO">
                <a:solidFill>
                  <a:prstClr val="black"/>
                </a:solidFill>
              </a:rPr>
              <a:t>Strategisk kontekst og strategiske målsetninger for 2017-2020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78" y="1098138"/>
            <a:ext cx="21345953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82808292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44614876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80" y="1098145"/>
            <a:ext cx="22159956" cy="63030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227595" y="1838856"/>
            <a:ext cx="22115083" cy="912812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</p:spTree>
    <p:extLst>
      <p:ext uri="{BB962C8B-B14F-4D97-AF65-F5344CB8AC3E}">
        <p14:creationId xmlns:p14="http://schemas.microsoft.com/office/powerpoint/2010/main" val="324518628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0546853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80" y="1098145"/>
            <a:ext cx="22159956" cy="63030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227595" y="1838856"/>
            <a:ext cx="22115083" cy="912812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</p:spTree>
    <p:extLst>
      <p:ext uri="{BB962C8B-B14F-4D97-AF65-F5344CB8AC3E}">
        <p14:creationId xmlns:p14="http://schemas.microsoft.com/office/powerpoint/2010/main" val="287221702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80" y="1098145"/>
            <a:ext cx="22159956" cy="63030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227595" y="1838856"/>
            <a:ext cx="22115083" cy="912812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1201950" y="3258408"/>
            <a:ext cx="4998235" cy="8641080"/>
          </a:xfrm>
          <a:solidFill>
            <a:schemeClr val="tx2">
              <a:lumMod val="40000"/>
              <a:lumOff val="60000"/>
            </a:schemeClr>
          </a:solidFill>
        </p:spPr>
        <p:txBody>
          <a:bodyPr lIns="35992" tIns="71984">
            <a:normAutofit/>
          </a:bodyPr>
          <a:lstStyle>
            <a:lvl1pPr marL="0" indent="0">
              <a:spcBef>
                <a:spcPts val="2000"/>
              </a:spcBef>
              <a:buSzPct val="60000"/>
              <a:buNone/>
              <a:defRPr sz="2000" b="1" i="1">
                <a:solidFill>
                  <a:schemeClr val="accent2"/>
                </a:solidFill>
              </a:defRPr>
            </a:lvl1pPr>
            <a:lvl2pPr marL="148137" indent="-148137">
              <a:defRPr sz="1800">
                <a:solidFill>
                  <a:schemeClr val="accent2"/>
                </a:solidFill>
              </a:defRPr>
            </a:lvl2pPr>
            <a:lvl3pPr marL="447042" indent="-148137">
              <a:defRPr sz="1600">
                <a:solidFill>
                  <a:schemeClr val="accent2"/>
                </a:solidFill>
              </a:defRPr>
            </a:lvl3pPr>
            <a:lvl4pPr marL="740659" indent="-148137">
              <a:defRPr sz="1600">
                <a:solidFill>
                  <a:schemeClr val="accent2"/>
                </a:solidFill>
              </a:defRPr>
            </a:lvl4pPr>
            <a:lvl5pPr marL="148137" indent="-148137"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</p:spTree>
    <p:extLst>
      <p:ext uri="{BB962C8B-B14F-4D97-AF65-F5344CB8AC3E}">
        <p14:creationId xmlns:p14="http://schemas.microsoft.com/office/powerpoint/2010/main" val="2537886598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12080" y="1098138"/>
            <a:ext cx="22159956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212071" y="4338551"/>
            <a:ext cx="22162557" cy="756094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212071" y="3258406"/>
            <a:ext cx="22162557" cy="108013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97336939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69" y="3258408"/>
            <a:ext cx="10799297" cy="864108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0" y="3258408"/>
            <a:ext cx="10799297" cy="864108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1212080" y="1098138"/>
            <a:ext cx="22159956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86498890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1" y="3258408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0" y="3258408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1212080" y="1098138"/>
            <a:ext cx="22159956" cy="144018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12572730" y="7732448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212071" y="7732448"/>
            <a:ext cx="10799297" cy="4170000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39760768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1" y="3258408"/>
            <a:ext cx="10799297" cy="4170000"/>
          </a:xfrm>
          <a:solidFill>
            <a:srgbClr val="EFEFEF"/>
          </a:solidFill>
        </p:spPr>
        <p:txBody>
          <a:bodyPr lIns="215959" tIns="359928" rIns="215959" bIns="359928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0" y="3258408"/>
            <a:ext cx="10799297" cy="4170000"/>
          </a:xfrm>
          <a:solidFill>
            <a:srgbClr val="EFEFEF"/>
          </a:solidFill>
        </p:spPr>
        <p:txBody>
          <a:bodyPr lIns="215959" tIns="359928" rIns="215959" bIns="359928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1212080" y="1098138"/>
            <a:ext cx="22159956" cy="144018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12572730" y="7729488"/>
            <a:ext cx="10799297" cy="4170000"/>
          </a:xfrm>
          <a:solidFill>
            <a:srgbClr val="EFEFEF"/>
          </a:solidFill>
        </p:spPr>
        <p:txBody>
          <a:bodyPr lIns="215959" tIns="359928" rIns="215959" bIns="359928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212071" y="7729488"/>
            <a:ext cx="10799297" cy="4170000"/>
          </a:xfrm>
          <a:solidFill>
            <a:srgbClr val="EFEFEF"/>
          </a:solidFill>
        </p:spPr>
        <p:txBody>
          <a:bodyPr lIns="215959" tIns="359928" rIns="215959" bIns="359928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46293469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2071" y="3258406"/>
            <a:ext cx="10799297" cy="10801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3600" b="1"/>
            </a:lvl1pPr>
            <a:lvl2pPr marL="914180" indent="0">
              <a:buNone/>
              <a:defRPr sz="4000" b="1"/>
            </a:lvl2pPr>
            <a:lvl3pPr marL="1828367" indent="0">
              <a:buNone/>
              <a:defRPr sz="3600" b="1"/>
            </a:lvl3pPr>
            <a:lvl4pPr marL="2742545" indent="0">
              <a:buNone/>
              <a:defRPr sz="3200" b="1"/>
            </a:lvl4pPr>
            <a:lvl5pPr marL="3656725" indent="0">
              <a:buNone/>
              <a:defRPr sz="3200" b="1"/>
            </a:lvl5pPr>
            <a:lvl6pPr marL="4570905" indent="0">
              <a:buNone/>
              <a:defRPr sz="3200" b="1"/>
            </a:lvl6pPr>
            <a:lvl7pPr marL="5485086" indent="0">
              <a:buNone/>
              <a:defRPr sz="3200" b="1"/>
            </a:lvl7pPr>
            <a:lvl8pPr marL="6399264" indent="0">
              <a:buNone/>
              <a:defRPr sz="3200" b="1"/>
            </a:lvl8pPr>
            <a:lvl9pPr marL="731344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12071" y="4338551"/>
            <a:ext cx="10799297" cy="756094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572730" y="3258406"/>
            <a:ext cx="10799297" cy="10801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3600" b="1"/>
            </a:lvl1pPr>
            <a:lvl2pPr marL="914180" indent="0">
              <a:buNone/>
              <a:defRPr sz="4000" b="1"/>
            </a:lvl2pPr>
            <a:lvl3pPr marL="1828367" indent="0">
              <a:buNone/>
              <a:defRPr sz="3600" b="1"/>
            </a:lvl3pPr>
            <a:lvl4pPr marL="2742545" indent="0">
              <a:buNone/>
              <a:defRPr sz="3200" b="1"/>
            </a:lvl4pPr>
            <a:lvl5pPr marL="3656725" indent="0">
              <a:buNone/>
              <a:defRPr sz="3200" b="1"/>
            </a:lvl5pPr>
            <a:lvl6pPr marL="4570905" indent="0">
              <a:buNone/>
              <a:defRPr sz="3200" b="1"/>
            </a:lvl6pPr>
            <a:lvl7pPr marL="5485086" indent="0">
              <a:buNone/>
              <a:defRPr sz="3200" b="1"/>
            </a:lvl7pPr>
            <a:lvl8pPr marL="6399264" indent="0">
              <a:buNone/>
              <a:defRPr sz="3200" b="1"/>
            </a:lvl8pPr>
            <a:lvl9pPr marL="7313444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12572730" y="4338551"/>
            <a:ext cx="10799297" cy="756094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>
          <a:xfrm>
            <a:off x="1212080" y="1098138"/>
            <a:ext cx="22159956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61558734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74286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643140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47802" y="5464497"/>
            <a:ext cx="18961138" cy="1546406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047802" y="11032909"/>
            <a:ext cx="18961138" cy="1598678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4000">
                <a:solidFill>
                  <a:schemeClr val="accent3"/>
                </a:solidFill>
              </a:defRPr>
            </a:lvl1pPr>
            <a:lvl2pPr marL="914180" indent="0" algn="ctr">
              <a:buNone/>
              <a:defRPr sz="4000"/>
            </a:lvl2pPr>
            <a:lvl3pPr marL="1828367" indent="0" algn="ctr">
              <a:buNone/>
              <a:defRPr sz="3600"/>
            </a:lvl3pPr>
            <a:lvl4pPr marL="2742545" indent="0" algn="ctr">
              <a:buNone/>
              <a:defRPr sz="3200"/>
            </a:lvl4pPr>
            <a:lvl5pPr marL="3656725" indent="0" algn="ctr">
              <a:buNone/>
              <a:defRPr sz="3200"/>
            </a:lvl5pPr>
            <a:lvl6pPr marL="4570905" indent="0" algn="ctr">
              <a:buNone/>
              <a:defRPr sz="3200"/>
            </a:lvl6pPr>
            <a:lvl7pPr marL="5485086" indent="0" algn="ctr">
              <a:buNone/>
              <a:defRPr sz="3200"/>
            </a:lvl7pPr>
            <a:lvl8pPr marL="6399264" indent="0" algn="ctr">
              <a:buNone/>
              <a:defRPr sz="3200"/>
            </a:lvl8pPr>
            <a:lvl9pPr marL="7313444" indent="0" algn="ctr">
              <a:buNone/>
              <a:defRPr sz="3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074" y="1080136"/>
            <a:ext cx="2549998" cy="1747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6330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5450721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47919" y="1910473"/>
            <a:ext cx="21886575" cy="1072778"/>
          </a:xfrm>
        </p:spPr>
        <p:txBody>
          <a:bodyPr/>
          <a:lstStyle>
            <a:lvl1pPr>
              <a:defRPr sz="54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7951471" y="13314683"/>
            <a:ext cx="2880133" cy="288030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rgbClr val="003244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023613" y="13314683"/>
            <a:ext cx="1728080" cy="288030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71555046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03245681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713911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10620812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13602037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7561204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4146319380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5978637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1078349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80899509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341805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6448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0000500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38768544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1837554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05523175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103770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284044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057763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05389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90990609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14091141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310684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12576871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48770935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155270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23633520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85047701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3411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05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3746448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7713304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76260800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882605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65811011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64111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55742522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299120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94457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7945864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118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31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90067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26335363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5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906181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4515978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60288987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19477224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2998567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2593827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07392429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10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047439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009499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213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1915171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590085608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30"/>
            <a:ext cx="11160670" cy="2520316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8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36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54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72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90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08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926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4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3461760" y="1050141"/>
            <a:ext cx="10920653" cy="10861358"/>
          </a:xfrm>
          <a:blipFill>
            <a:blip r:embed="rId2"/>
            <a:stretch>
              <a:fillRect/>
            </a:stretch>
          </a:blipFill>
        </p:spPr>
        <p:txBody>
          <a:bodyPr tIns="179964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34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9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486351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75299120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4515978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60288987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19477224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2998567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2593827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103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047439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009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75612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8758745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321329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590085608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30"/>
            <a:ext cx="11160670" cy="2520316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8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36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54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72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90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08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926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4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3461760" y="1050141"/>
            <a:ext cx="10920653" cy="10861358"/>
          </a:xfrm>
          <a:blipFill>
            <a:blip r:embed="rId2"/>
            <a:stretch>
              <a:fillRect/>
            </a:stretch>
          </a:blipFill>
        </p:spPr>
        <p:txBody>
          <a:bodyPr tIns="179964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34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9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486351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748770935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155270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23633520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85047701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341182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7713304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7626080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57220822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882605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65811011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364111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24555628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190074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3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0919884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54485179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0132399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99157998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61968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2273758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54649651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57067264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7847004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6902881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182743039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209384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1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684823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9897863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40964031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960144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8114367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6973558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2348530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01426304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29296901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80827520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513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4320147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72421398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6" y="1020128"/>
            <a:ext cx="11160670" cy="2520316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6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3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26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40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54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67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480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89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0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3461761" y="1050141"/>
            <a:ext cx="10920655" cy="10861358"/>
          </a:xfrm>
          <a:blipFill>
            <a:blip r:embed="rId2"/>
            <a:stretch>
              <a:fillRect/>
            </a:stretch>
          </a:blipFill>
        </p:spPr>
        <p:txBody>
          <a:bodyPr tIns="299913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34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7" y="1153345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891007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6" y="1020139"/>
            <a:ext cx="11160670" cy="2521562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6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3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26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40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54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67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480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89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0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9" y="1050135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299913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400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7" y="1153345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148270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201950" y="3258406"/>
            <a:ext cx="4998235" cy="8641080"/>
          </a:xfrm>
          <a:solidFill>
            <a:schemeClr val="tx2">
              <a:lumMod val="40000"/>
              <a:lumOff val="60000"/>
            </a:schemeClr>
          </a:solidFill>
        </p:spPr>
        <p:txBody>
          <a:bodyPr lIns="59983" tIns="119966">
            <a:normAutofit/>
          </a:bodyPr>
          <a:lstStyle>
            <a:lvl1pPr marL="0" indent="0">
              <a:spcBef>
                <a:spcPts val="2000"/>
              </a:spcBef>
              <a:buSzPct val="60000"/>
              <a:buNone/>
              <a:defRPr sz="2000" b="1" i="1">
                <a:solidFill>
                  <a:schemeClr val="accent2"/>
                </a:solidFill>
              </a:defRPr>
            </a:lvl1pPr>
            <a:lvl2pPr marL="148123" indent="-148123">
              <a:defRPr sz="1800">
                <a:solidFill>
                  <a:schemeClr val="accent2"/>
                </a:solidFill>
              </a:defRPr>
            </a:lvl2pPr>
            <a:lvl3pPr marL="447016" indent="-148123">
              <a:defRPr sz="1600">
                <a:solidFill>
                  <a:schemeClr val="accent2"/>
                </a:solidFill>
              </a:defRPr>
            </a:lvl3pPr>
            <a:lvl4pPr marL="740617" indent="-148123">
              <a:defRPr sz="1600">
                <a:solidFill>
                  <a:schemeClr val="accent2"/>
                </a:solidFill>
              </a:defRPr>
            </a:lvl4pPr>
            <a:lvl5pPr marL="148123" indent="-148123"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0680641" y="12721590"/>
            <a:ext cx="9600575" cy="369332"/>
          </a:xfrm>
          <a:prstGeom prst="rect">
            <a:avLst/>
          </a:prstGeom>
        </p:spPr>
        <p:txBody>
          <a:bodyPr lIns="152356" tIns="76176" rIns="152356" bIns="76176"/>
          <a:lstStyle/>
          <a:p>
            <a:pPr defTabSz="1828269"/>
            <a:r>
              <a:rPr lang="nb-NO">
                <a:solidFill>
                  <a:prstClr val="black"/>
                </a:solidFill>
              </a:rPr>
              <a:t>Strategisk kontekst og strategiske målsetninger for 2017-2020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80" y="1098136"/>
            <a:ext cx="21345953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938342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15603490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00855207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72" y="1098149"/>
            <a:ext cx="22159956" cy="63030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227599" y="1838860"/>
            <a:ext cx="22115083" cy="912812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</p:spTree>
    <p:extLst>
      <p:ext uri="{BB962C8B-B14F-4D97-AF65-F5344CB8AC3E}">
        <p14:creationId xmlns:p14="http://schemas.microsoft.com/office/powerpoint/2010/main" val="2212695258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72" y="1098149"/>
            <a:ext cx="22159956" cy="63030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227599" y="1838860"/>
            <a:ext cx="22115083" cy="912812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</p:spTree>
    <p:extLst>
      <p:ext uri="{BB962C8B-B14F-4D97-AF65-F5344CB8AC3E}">
        <p14:creationId xmlns:p14="http://schemas.microsoft.com/office/powerpoint/2010/main" val="726365433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1212072" y="1098149"/>
            <a:ext cx="22159956" cy="63030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227599" y="1838860"/>
            <a:ext cx="22115083" cy="912812"/>
          </a:xfrm>
        </p:spPr>
        <p:txBody>
          <a:bodyPr>
            <a:normAutofit/>
          </a:bodyPr>
          <a:lstStyle>
            <a:lvl1pPr marL="0" indent="0">
              <a:buNone/>
              <a:defRPr sz="2600"/>
            </a:lvl1pPr>
          </a:lstStyle>
          <a:p>
            <a:pPr lvl="0"/>
            <a:r>
              <a:rPr lang="nb-NO" dirty="0"/>
              <a:t>Klikk for å redigere undertitte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1201950" y="3258406"/>
            <a:ext cx="4998235" cy="8641080"/>
          </a:xfrm>
          <a:solidFill>
            <a:schemeClr val="tx2">
              <a:lumMod val="40000"/>
              <a:lumOff val="60000"/>
            </a:schemeClr>
          </a:solidFill>
        </p:spPr>
        <p:txBody>
          <a:bodyPr lIns="59983" tIns="119966">
            <a:normAutofit/>
          </a:bodyPr>
          <a:lstStyle>
            <a:lvl1pPr marL="0" indent="0">
              <a:spcBef>
                <a:spcPts val="2000"/>
              </a:spcBef>
              <a:buSzPct val="60000"/>
              <a:buNone/>
              <a:defRPr sz="2000" b="1" i="1">
                <a:solidFill>
                  <a:schemeClr val="accent2"/>
                </a:solidFill>
              </a:defRPr>
            </a:lvl1pPr>
            <a:lvl2pPr marL="148123" indent="-148123">
              <a:defRPr sz="1800">
                <a:solidFill>
                  <a:schemeClr val="accent2"/>
                </a:solidFill>
              </a:defRPr>
            </a:lvl2pPr>
            <a:lvl3pPr marL="447016" indent="-148123">
              <a:defRPr sz="1600">
                <a:solidFill>
                  <a:schemeClr val="accent2"/>
                </a:solidFill>
              </a:defRPr>
            </a:lvl3pPr>
            <a:lvl4pPr marL="740617" indent="-148123">
              <a:defRPr sz="1600">
                <a:solidFill>
                  <a:schemeClr val="accent2"/>
                </a:solidFill>
              </a:defRPr>
            </a:lvl4pPr>
            <a:lvl5pPr marL="148123" indent="-148123"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</p:spTree>
    <p:extLst>
      <p:ext uri="{BB962C8B-B14F-4D97-AF65-F5344CB8AC3E}">
        <p14:creationId xmlns:p14="http://schemas.microsoft.com/office/powerpoint/2010/main" val="1880448299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12072" y="1098136"/>
            <a:ext cx="22159956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212071" y="4338549"/>
            <a:ext cx="22162557" cy="756094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212071" y="3258406"/>
            <a:ext cx="22162557" cy="1080136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45988430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69" y="3258406"/>
            <a:ext cx="10799297" cy="864108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0" y="3258406"/>
            <a:ext cx="10799297" cy="8641080"/>
          </a:xfrm>
        </p:spPr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1212072" y="1098136"/>
            <a:ext cx="22159956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98733653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1" y="3258406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0" y="3258406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1212072" y="1098136"/>
            <a:ext cx="22159956" cy="144018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12572730" y="7732446"/>
            <a:ext cx="10799297" cy="4170000"/>
          </a:xfrm>
          <a:noFill/>
        </p:spPr>
        <p:txBody>
          <a:bodyPr lIns="0" tIns="0" rIns="0" bIns="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212071" y="7732446"/>
            <a:ext cx="10799297" cy="4170000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59190191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2071" y="3258406"/>
            <a:ext cx="10799297" cy="4170000"/>
          </a:xfrm>
          <a:solidFill>
            <a:srgbClr val="EFEFEF"/>
          </a:solidFill>
        </p:spPr>
        <p:txBody>
          <a:bodyPr lIns="359896" tIns="599826" rIns="359896" bIns="599826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572730" y="3258406"/>
            <a:ext cx="10799297" cy="4170000"/>
          </a:xfrm>
          <a:solidFill>
            <a:srgbClr val="EFEFEF"/>
          </a:solidFill>
        </p:spPr>
        <p:txBody>
          <a:bodyPr lIns="359896" tIns="599826" rIns="359896" bIns="599826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1212072" y="1098136"/>
            <a:ext cx="22159956" cy="144018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12572730" y="7729486"/>
            <a:ext cx="10799297" cy="4170000"/>
          </a:xfrm>
          <a:solidFill>
            <a:srgbClr val="EFEFEF"/>
          </a:solidFill>
        </p:spPr>
        <p:txBody>
          <a:bodyPr lIns="359896" tIns="599826" rIns="359896" bIns="599826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1212071" y="7729486"/>
            <a:ext cx="10799297" cy="4170000"/>
          </a:xfrm>
          <a:solidFill>
            <a:srgbClr val="EFEFEF"/>
          </a:solidFill>
        </p:spPr>
        <p:txBody>
          <a:bodyPr lIns="359896" tIns="599826" rIns="359896" bIns="599826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21140726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2071" y="3258406"/>
            <a:ext cx="10799297" cy="10801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3600" b="1"/>
            </a:lvl1pPr>
            <a:lvl2pPr marL="914134" indent="0">
              <a:buNone/>
              <a:defRPr sz="4000" b="1"/>
            </a:lvl2pPr>
            <a:lvl3pPr marL="1828269" indent="0">
              <a:buNone/>
              <a:defRPr sz="3600" b="1"/>
            </a:lvl3pPr>
            <a:lvl4pPr marL="2742403" indent="0">
              <a:buNone/>
              <a:defRPr sz="3200" b="1"/>
            </a:lvl4pPr>
            <a:lvl5pPr marL="3656541" indent="0">
              <a:buNone/>
              <a:defRPr sz="3200" b="1"/>
            </a:lvl5pPr>
            <a:lvl6pPr marL="4570677" indent="0">
              <a:buNone/>
              <a:defRPr sz="3200" b="1"/>
            </a:lvl6pPr>
            <a:lvl7pPr marL="5484806" indent="0">
              <a:buNone/>
              <a:defRPr sz="3200" b="1"/>
            </a:lvl7pPr>
            <a:lvl8pPr marL="6398944" indent="0">
              <a:buNone/>
              <a:defRPr sz="3200" b="1"/>
            </a:lvl8pPr>
            <a:lvl9pPr marL="731308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12071" y="4338549"/>
            <a:ext cx="10799297" cy="756094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572730" y="3258406"/>
            <a:ext cx="10799297" cy="108013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3600" b="1"/>
            </a:lvl1pPr>
            <a:lvl2pPr marL="914134" indent="0">
              <a:buNone/>
              <a:defRPr sz="4000" b="1"/>
            </a:lvl2pPr>
            <a:lvl3pPr marL="1828269" indent="0">
              <a:buNone/>
              <a:defRPr sz="3600" b="1"/>
            </a:lvl3pPr>
            <a:lvl4pPr marL="2742403" indent="0">
              <a:buNone/>
              <a:defRPr sz="3200" b="1"/>
            </a:lvl4pPr>
            <a:lvl5pPr marL="3656541" indent="0">
              <a:buNone/>
              <a:defRPr sz="3200" b="1"/>
            </a:lvl5pPr>
            <a:lvl6pPr marL="4570677" indent="0">
              <a:buNone/>
              <a:defRPr sz="3200" b="1"/>
            </a:lvl6pPr>
            <a:lvl7pPr marL="5484806" indent="0">
              <a:buNone/>
              <a:defRPr sz="3200" b="1"/>
            </a:lvl7pPr>
            <a:lvl8pPr marL="6398944" indent="0">
              <a:buNone/>
              <a:defRPr sz="3200" b="1"/>
            </a:lvl8pPr>
            <a:lvl9pPr marL="731308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12572730" y="4338549"/>
            <a:ext cx="10799297" cy="756094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>
          <a:xfrm>
            <a:off x="1212072" y="1098136"/>
            <a:ext cx="22159956" cy="144018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04617292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5345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41237995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518400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047802" y="5464489"/>
            <a:ext cx="18961138" cy="1546406"/>
          </a:xfrm>
        </p:spPr>
        <p:txBody>
          <a:bodyPr anchor="ctr" anchorCtr="0">
            <a:normAutofit/>
          </a:bodyPr>
          <a:lstStyle>
            <a:lvl1pPr algn="l">
              <a:defRPr sz="6000">
                <a:solidFill>
                  <a:schemeClr val="accent3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047802" y="11032902"/>
            <a:ext cx="18961138" cy="1598676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4000">
                <a:solidFill>
                  <a:schemeClr val="accent3"/>
                </a:solidFill>
              </a:defRPr>
            </a:lvl1pPr>
            <a:lvl2pPr marL="914134" indent="0" algn="ctr">
              <a:buNone/>
              <a:defRPr sz="4000"/>
            </a:lvl2pPr>
            <a:lvl3pPr marL="1828269" indent="0" algn="ctr">
              <a:buNone/>
              <a:defRPr sz="3600"/>
            </a:lvl3pPr>
            <a:lvl4pPr marL="2742403" indent="0" algn="ctr">
              <a:buNone/>
              <a:defRPr sz="3200"/>
            </a:lvl4pPr>
            <a:lvl5pPr marL="3656541" indent="0" algn="ctr">
              <a:buNone/>
              <a:defRPr sz="3200"/>
            </a:lvl5pPr>
            <a:lvl6pPr marL="4570677" indent="0" algn="ctr">
              <a:buNone/>
              <a:defRPr sz="3200"/>
            </a:lvl6pPr>
            <a:lvl7pPr marL="5484806" indent="0" algn="ctr">
              <a:buNone/>
              <a:defRPr sz="3200"/>
            </a:lvl7pPr>
            <a:lvl8pPr marL="6398944" indent="0" algn="ctr">
              <a:buNone/>
              <a:defRPr sz="3200"/>
            </a:lvl8pPr>
            <a:lvl9pPr marL="7313080" indent="0" algn="ctr">
              <a:buNone/>
              <a:defRPr sz="3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073" y="1080134"/>
            <a:ext cx="2550000" cy="1747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84542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47919" y="1910466"/>
            <a:ext cx="21886575" cy="1072776"/>
          </a:xfrm>
        </p:spPr>
        <p:txBody>
          <a:bodyPr/>
          <a:lstStyle>
            <a:lvl1pPr>
              <a:defRPr sz="54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7951471" y="13314677"/>
            <a:ext cx="2880133" cy="288030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rgbClr val="003244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023613" y="13314677"/>
            <a:ext cx="1728080" cy="288030"/>
          </a:xfrm>
          <a:prstGeom prst="rect">
            <a:avLst/>
          </a:prstGeom>
        </p:spPr>
        <p:txBody>
          <a:bodyPr anchor="ctr" anchorCtr="0"/>
          <a:lstStyle>
            <a:lvl1pPr>
              <a:defRPr sz="22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35522916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7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861548105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78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55992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05175912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7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2992051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3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3405609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179964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0" y="2667007"/>
            <a:ext cx="21599554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1620117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4319136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46370195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621815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27" y="5106379"/>
            <a:ext cx="17138141" cy="828678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25" y="6649442"/>
            <a:ext cx="11215402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8" indent="0" algn="ctr">
              <a:buNone/>
              <a:defRPr sz="4000"/>
            </a:lvl2pPr>
            <a:lvl3pPr marL="1828165" indent="0" algn="ctr">
              <a:buNone/>
              <a:defRPr sz="3600"/>
            </a:lvl3pPr>
            <a:lvl4pPr marL="2742245" indent="0" algn="ctr">
              <a:buNone/>
              <a:defRPr sz="3200"/>
            </a:lvl4pPr>
            <a:lvl5pPr marL="3656323" indent="0" algn="ctr">
              <a:buNone/>
              <a:defRPr sz="3200"/>
            </a:lvl5pPr>
            <a:lvl6pPr marL="4570401" indent="0" algn="ctr">
              <a:buNone/>
              <a:defRPr sz="3200"/>
            </a:lvl6pPr>
            <a:lvl7pPr marL="5484482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8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28" y="2376000"/>
            <a:ext cx="2289599" cy="8917200"/>
          </a:xfrm>
          <a:blipFill>
            <a:blip r:embed="rId9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40691258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2924295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7" y="1020127"/>
            <a:ext cx="11160669" cy="2521562"/>
          </a:xfrm>
        </p:spPr>
        <p:txBody>
          <a:bodyPr anchor="t" anchorCtr="0">
            <a:normAutofit/>
          </a:bodyPr>
          <a:lstStyle>
            <a:lvl1pPr>
              <a:defRPr sz="6666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7" y="3960495"/>
            <a:ext cx="11160669" cy="6000750"/>
          </a:xfrm>
        </p:spPr>
        <p:txBody>
          <a:bodyPr>
            <a:normAutofit/>
          </a:bodyPr>
          <a:lstStyle>
            <a:lvl1pPr marL="0" indent="0">
              <a:buNone/>
              <a:defRPr sz="3667" b="1">
                <a:solidFill>
                  <a:schemeClr val="bg1"/>
                </a:solidFill>
              </a:defRPr>
            </a:lvl1pPr>
            <a:lvl2pPr marL="914363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2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9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5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8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8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5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90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18862082" y="1050132"/>
            <a:ext cx="5520331" cy="10801350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800000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3333"/>
            </a:lvl1pPr>
          </a:lstStyle>
          <a:p>
            <a:r>
              <a:rPr lang="nb-NO" dirty="0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6" y="11533441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53104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1285619" y="3905028"/>
            <a:ext cx="21811176" cy="7793916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/>
              <a:t>Insert</a:t>
            </a:r>
            <a:r>
              <a:rPr lang="nb-NO" noProof="0" dirty="0"/>
              <a:t> banner statement </a:t>
            </a:r>
            <a:r>
              <a:rPr lang="nb-NO" noProof="0" dirty="0" err="1"/>
              <a:t>here</a:t>
            </a:r>
            <a:endParaRPr lang="nb-NO" dirty="0"/>
          </a:p>
        </p:txBody>
      </p:sp>
      <p:sp>
        <p:nvSpPr>
          <p:cNvPr id="15" name="Page Number"/>
          <p:cNvSpPr txBox="1"/>
          <p:nvPr>
            <p:custDataLst>
              <p:tags r:id="rId4"/>
            </p:custDataLst>
          </p:nvPr>
        </p:nvSpPr>
        <p:spPr>
          <a:xfrm>
            <a:off x="22295141" y="12860775"/>
            <a:ext cx="775806" cy="1877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797454">
              <a:lnSpc>
                <a:spcPts val="1764"/>
              </a:lnSpc>
            </a:pPr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/>
        </p:nvSpPr>
        <p:spPr>
          <a:xfrm>
            <a:off x="1303864" y="12860768"/>
            <a:ext cx="664975" cy="189100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797454">
              <a:lnSpc>
                <a:spcPts val="1764"/>
              </a:lnSpc>
            </a:pPr>
            <a:r>
              <a:rPr lang="nb-NO" sz="1600" noProof="1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7" name="Report Date"/>
          <p:cNvSpPr txBox="1"/>
          <p:nvPr>
            <p:custDataLst>
              <p:tags r:id="rId5"/>
            </p:custDataLst>
          </p:nvPr>
        </p:nvSpPr>
        <p:spPr>
          <a:xfrm>
            <a:off x="21586618" y="12602593"/>
            <a:ext cx="1487489" cy="2462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483968" algn="r" defTabSz="1797454">
              <a:spcAft>
                <a:spcPts val="1588"/>
              </a:spcAft>
            </a:pPr>
            <a:r>
              <a:rPr lang="nb-NO" sz="1600" noProof="1">
                <a:solidFill>
                  <a:srgbClr val="000000"/>
                </a:solidFill>
              </a:rPr>
              <a:t>10. august 2015</a:t>
            </a:r>
          </a:p>
        </p:txBody>
      </p:sp>
      <p:sp>
        <p:nvSpPr>
          <p:cNvPr id="20" name="Section Footer"/>
          <p:cNvSpPr txBox="1"/>
          <p:nvPr>
            <p:custDataLst>
              <p:tags r:id="rId6"/>
            </p:custDataLst>
          </p:nvPr>
        </p:nvSpPr>
        <p:spPr>
          <a:xfrm>
            <a:off x="1302935" y="12594237"/>
            <a:ext cx="10706095" cy="24436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>
            <p:custDataLst>
              <p:tags r:id="rId7"/>
            </p:custDataLst>
          </p:nvPr>
        </p:nvSpPr>
        <p:spPr>
          <a:xfrm>
            <a:off x="12368542" y="12841155"/>
            <a:ext cx="7868870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>
            <p:custDataLst>
              <p:tags r:id="rId8"/>
            </p:custDataLst>
          </p:nvPr>
        </p:nvSpPr>
        <p:spPr>
          <a:xfrm>
            <a:off x="1302934" y="12359875"/>
            <a:ext cx="19572428" cy="24436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>
            <p:custDataLst>
              <p:tags r:id="rId9"/>
            </p:custDataLst>
          </p:nvPr>
        </p:nvSpPr>
        <p:spPr>
          <a:xfrm>
            <a:off x="1285613" y="12231446"/>
            <a:ext cx="65" cy="35907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797454">
              <a:lnSpc>
                <a:spcPts val="2824"/>
              </a:lnSpc>
            </a:pPr>
            <a:endParaRPr lang="nb-NO" sz="2800" noProof="1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>
            <p:custDataLst>
              <p:tags r:id="rId10"/>
            </p:custDataLst>
          </p:nvPr>
        </p:nvSpPr>
        <p:spPr>
          <a:xfrm>
            <a:off x="22983377" y="1420019"/>
            <a:ext cx="78549" cy="33855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797454"/>
            <a:r>
              <a:rPr lang="nb-NO" sz="2200" noProof="1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6" name="Section Header"/>
          <p:cNvSpPr txBox="1"/>
          <p:nvPr>
            <p:custDataLst>
              <p:tags r:id="rId11"/>
            </p:custDataLst>
          </p:nvPr>
        </p:nvSpPr>
        <p:spPr>
          <a:xfrm>
            <a:off x="1285619" y="1500692"/>
            <a:ext cx="13299498" cy="24204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797454"/>
            <a:endParaRPr lang="nb-NO" sz="16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/>
        </p:nvCxnSpPr>
        <p:spPr>
          <a:xfrm flipV="1">
            <a:off x="923585" y="1882595"/>
            <a:ext cx="22165835" cy="306594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ate/Filepath" hidden="1"/>
          <p:cNvSpPr txBox="1"/>
          <p:nvPr>
            <p:custDataLst>
              <p:tags r:id="rId12"/>
            </p:custDataLst>
          </p:nvPr>
        </p:nvSpPr>
        <p:spPr>
          <a:xfrm>
            <a:off x="7998188" y="951217"/>
            <a:ext cx="15072765" cy="244362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797454"/>
            <a:r>
              <a:rPr lang="nb-NO" sz="1600" noProof="1">
                <a:solidFill>
                  <a:srgbClr val="000000"/>
                </a:solidFill>
              </a:rPr>
              <a:t>09.08.2015 C:\Users\NO007232\Documents\Consulting - DA\Programorganisering i offentlig sektor - RAPPORT v10.pptx</a:t>
            </a:r>
          </a:p>
        </p:txBody>
      </p:sp>
    </p:spTree>
    <p:extLst>
      <p:ext uri="{BB962C8B-B14F-4D97-AF65-F5344CB8AC3E}">
        <p14:creationId xmlns:p14="http://schemas.microsoft.com/office/powerpoint/2010/main" val="1772605075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60078" y="1020130"/>
            <a:ext cx="11160670" cy="2520316"/>
          </a:xfrm>
        </p:spPr>
        <p:txBody>
          <a:bodyPr anchor="t" anchorCtr="0">
            <a:normAutofit/>
          </a:bodyPr>
          <a:lstStyle>
            <a:lvl1pPr>
              <a:defRPr sz="6600">
                <a:solidFill>
                  <a:schemeClr val="bg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1160670" cy="600075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  <a:lvl2pPr marL="91418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367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254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672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0905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508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926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344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13461760" y="1050141"/>
            <a:ext cx="10920653" cy="10861358"/>
          </a:xfrm>
          <a:blipFill>
            <a:blip r:embed="rId2"/>
            <a:stretch>
              <a:fillRect/>
            </a:stretch>
          </a:blipFill>
        </p:spPr>
        <p:txBody>
          <a:bodyPr tIns="1799640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34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065" y="11533449"/>
            <a:ext cx="5496214" cy="447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308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3" y="5106379"/>
            <a:ext cx="17138141" cy="828678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3" y="6649442"/>
            <a:ext cx="11215402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078" indent="0" algn="ctr">
              <a:buNone/>
              <a:defRPr sz="4000"/>
            </a:lvl2pPr>
            <a:lvl3pPr marL="1828165" indent="0" algn="ctr">
              <a:buNone/>
              <a:defRPr sz="3600"/>
            </a:lvl3pPr>
            <a:lvl4pPr marL="2742245" indent="0" algn="ctr">
              <a:buNone/>
              <a:defRPr sz="3200"/>
            </a:lvl4pPr>
            <a:lvl5pPr marL="3656323" indent="0" algn="ctr">
              <a:buNone/>
              <a:defRPr sz="3200"/>
            </a:lvl5pPr>
            <a:lvl6pPr marL="4570401" indent="0" algn="ctr">
              <a:buNone/>
              <a:defRPr sz="3200"/>
            </a:lvl6pPr>
            <a:lvl7pPr marL="5484482" indent="0" algn="ctr">
              <a:buNone/>
              <a:defRPr sz="3200"/>
            </a:lvl7pPr>
            <a:lvl8pPr marL="6398560" indent="0" algn="ctr">
              <a:buNone/>
              <a:defRPr sz="3200"/>
            </a:lvl8pPr>
            <a:lvl9pPr marL="7312638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2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1" y="1440182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5090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493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8316504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/m under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440180" y="3816000"/>
            <a:ext cx="21566696" cy="8496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55992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20076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7" y="3633598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170" indent="0">
              <a:buNone/>
              <a:defRPr sz="4000" b="1"/>
            </a:lvl2pPr>
            <a:lvl3pPr marL="1828349" indent="0">
              <a:buNone/>
              <a:defRPr sz="3600" b="1"/>
            </a:lvl3pPr>
            <a:lvl4pPr marL="2742519" indent="0">
              <a:buNone/>
              <a:defRPr sz="3200" b="1"/>
            </a:lvl4pPr>
            <a:lvl5pPr marL="3656689" indent="0">
              <a:buNone/>
              <a:defRPr sz="3200" b="1"/>
            </a:lvl5pPr>
            <a:lvl6pPr marL="4570859" indent="0">
              <a:buNone/>
              <a:defRPr sz="3200" b="1"/>
            </a:lvl6pPr>
            <a:lvl7pPr marL="5485030" indent="0">
              <a:buNone/>
              <a:defRPr sz="3200" b="1"/>
            </a:lvl7pPr>
            <a:lvl8pPr marL="6399200" indent="0">
              <a:buNone/>
              <a:defRPr sz="3200" b="1"/>
            </a:lvl8pPr>
            <a:lvl9pPr marL="7313370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2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7" y="4713732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8466329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7"/>
          </p:nvPr>
        </p:nvSpPr>
        <p:spPr>
          <a:xfrm>
            <a:off x="1440178" y="3636000"/>
            <a:ext cx="10549317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5"/>
          <p:cNvSpPr>
            <a:spLocks noGrp="1"/>
          </p:cNvSpPr>
          <p:nvPr>
            <p:ph sz="quarter" idx="18"/>
          </p:nvPr>
        </p:nvSpPr>
        <p:spPr>
          <a:xfrm>
            <a:off x="12457559" y="3636000"/>
            <a:ext cx="10549317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68398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9"/>
          </p:nvPr>
        </p:nvSpPr>
        <p:spPr>
          <a:xfrm>
            <a:off x="1440187" y="3636000"/>
            <a:ext cx="7056883" cy="8658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4" name="Plassholder for innhold 4"/>
          <p:cNvSpPr>
            <a:spLocks noGrp="1"/>
          </p:cNvSpPr>
          <p:nvPr>
            <p:ph sz="quarter" idx="20"/>
          </p:nvPr>
        </p:nvSpPr>
        <p:spPr>
          <a:xfrm>
            <a:off x="8695095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4"/>
          <p:cNvSpPr>
            <a:spLocks noGrp="1"/>
          </p:cNvSpPr>
          <p:nvPr>
            <p:ph sz="quarter" idx="21"/>
          </p:nvPr>
        </p:nvSpPr>
        <p:spPr>
          <a:xfrm>
            <a:off x="15950001" y="3636000"/>
            <a:ext cx="7056883" cy="8658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0898377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red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3816478"/>
            <a:ext cx="24382413" cy="8479060"/>
          </a:xfrm>
          <a:solidFill>
            <a:schemeClr val="lt2"/>
          </a:solidFill>
        </p:spPr>
        <p:txBody>
          <a:bodyPr tIns="2999100" anchor="t" anchorCtr="1"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Sett inn bilde / graf / video</a:t>
            </a: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1407321" y="2667007"/>
            <a:ext cx="21599556" cy="742950"/>
          </a:xfrm>
        </p:spPr>
        <p:txBody>
          <a:bodyPr/>
          <a:lstStyle>
            <a:lvl1pPr marL="0" indent="0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41010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innhol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24385849" cy="12832004"/>
          </a:xfrm>
          <a:solidFill>
            <a:schemeClr val="bg2"/>
          </a:solidFill>
        </p:spPr>
        <p:txBody>
          <a:bodyPr tIns="7197840" anchor="t" anchorCtr="1"/>
          <a:lstStyle>
            <a:lvl1pPr marL="0" indent="0">
              <a:buNone/>
              <a:defRPr baseline="0"/>
            </a:lvl1pPr>
          </a:lstStyle>
          <a:p>
            <a:pPr lvl="0"/>
            <a:r>
              <a:rPr lang="nb-NO" dirty="0"/>
              <a:t>Klikke for å sette inn bilde / graf / video</a:t>
            </a:r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59713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39388" y="3633600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078" indent="0">
              <a:buNone/>
              <a:defRPr sz="4000" b="1"/>
            </a:lvl2pPr>
            <a:lvl3pPr marL="1828165" indent="0">
              <a:buNone/>
              <a:defRPr sz="3600" b="1"/>
            </a:lvl3pPr>
            <a:lvl4pPr marL="2742245" indent="0">
              <a:buNone/>
              <a:defRPr sz="3200" b="1"/>
            </a:lvl4pPr>
            <a:lvl5pPr marL="3656323" indent="0">
              <a:buNone/>
              <a:defRPr sz="3200" b="1"/>
            </a:lvl5pPr>
            <a:lvl6pPr marL="4570401" indent="0">
              <a:buNone/>
              <a:defRPr sz="3200" b="1"/>
            </a:lvl6pPr>
            <a:lvl7pPr marL="5484482" indent="0">
              <a:buNone/>
              <a:defRPr sz="3200" b="1"/>
            </a:lvl7pPr>
            <a:lvl8pPr marL="6398560" indent="0">
              <a:buNone/>
              <a:defRPr sz="3200" b="1"/>
            </a:lvl8pPr>
            <a:lvl9pPr marL="731263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12457559" y="3633600"/>
            <a:ext cx="10549317" cy="1080136"/>
          </a:xfrm>
        </p:spPr>
        <p:txBody>
          <a:bodyPr anchor="t">
            <a:normAutofit/>
          </a:bodyPr>
          <a:lstStyle>
            <a:lvl1pPr marL="0" indent="0">
              <a:buNone/>
              <a:defRPr sz="4400" b="1"/>
            </a:lvl1pPr>
            <a:lvl2pPr marL="914078" indent="0">
              <a:buNone/>
              <a:defRPr sz="4000" b="1"/>
            </a:lvl2pPr>
            <a:lvl3pPr marL="1828165" indent="0">
              <a:buNone/>
              <a:defRPr sz="3600" b="1"/>
            </a:lvl3pPr>
            <a:lvl4pPr marL="2742245" indent="0">
              <a:buNone/>
              <a:defRPr sz="3200" b="1"/>
            </a:lvl4pPr>
            <a:lvl5pPr marL="3656323" indent="0">
              <a:buNone/>
              <a:defRPr sz="3200" b="1"/>
            </a:lvl5pPr>
            <a:lvl6pPr marL="4570401" indent="0">
              <a:buNone/>
              <a:defRPr sz="3200" b="1"/>
            </a:lvl6pPr>
            <a:lvl7pPr marL="5484482" indent="0">
              <a:buNone/>
              <a:defRPr sz="3200" b="1"/>
            </a:lvl7pPr>
            <a:lvl8pPr marL="6398560" indent="0">
              <a:buNone/>
              <a:defRPr sz="3200" b="1"/>
            </a:lvl8pPr>
            <a:lvl9pPr marL="7312638" indent="0">
              <a:buNone/>
              <a:defRPr sz="3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7" name="Plassholder for innhold 6"/>
          <p:cNvSpPr>
            <a:spLocks noGrp="1"/>
          </p:cNvSpPr>
          <p:nvPr>
            <p:ph sz="quarter" idx="13"/>
          </p:nvPr>
        </p:nvSpPr>
        <p:spPr>
          <a:xfrm>
            <a:off x="1439388" y="4713734"/>
            <a:ext cx="10549317" cy="758026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4"/>
          </p:nvPr>
        </p:nvSpPr>
        <p:spPr>
          <a:xfrm>
            <a:off x="12457559" y="4713734"/>
            <a:ext cx="10549317" cy="758026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100912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499661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452827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dertsirkel" hidden="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800232" y="5106372"/>
            <a:ext cx="17138143" cy="828676"/>
          </a:xfrm>
        </p:spPr>
        <p:txBody>
          <a:bodyPr anchor="b">
            <a:normAutofit/>
          </a:bodyPr>
          <a:lstStyle>
            <a:lvl1pPr algn="l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00234" y="6649442"/>
            <a:ext cx="11215400" cy="331152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6" name="Sor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17" name="Hvit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pic>
        <p:nvPicPr>
          <p:cNvPr id="11" name="Blåsirkel" hidden="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50261" r="944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0169E8"/>
          </a:solidFill>
        </p:spPr>
      </p:pic>
      <p:pic>
        <p:nvPicPr>
          <p:cNvPr id="12" name="Hvit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13" name="Gråsirkel" hidden="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34"/>
          <a:stretch>
            <a:fillRect/>
          </a:stretch>
        </p:blipFill>
        <p:spPr>
          <a:xfrm>
            <a:off x="22092526" y="2376000"/>
            <a:ext cx="2289887" cy="8915400"/>
          </a:xfrm>
          <a:custGeom>
            <a:avLst/>
            <a:gdLst>
              <a:gd name="connsiteX0" fmla="*/ 2289886 w 2289886"/>
              <a:gd name="connsiteY0" fmla="*/ 0 h 8915400"/>
              <a:gd name="connsiteX1" fmla="*/ 2289886 w 2289886"/>
              <a:gd name="connsiteY1" fmla="*/ 8915400 h 8915400"/>
              <a:gd name="connsiteX2" fmla="*/ 2208748 w 2289886"/>
              <a:gd name="connsiteY2" fmla="*/ 8915400 h 8915400"/>
              <a:gd name="connsiteX3" fmla="*/ 2203568 w 2289886"/>
              <a:gd name="connsiteY3" fmla="*/ 8912226 h 8915400"/>
              <a:gd name="connsiteX4" fmla="*/ 0 w 2289886"/>
              <a:gd name="connsiteY4" fmla="*/ 4482560 h 8915400"/>
              <a:gd name="connsiteX5" fmla="*/ 2203568 w 2289886"/>
              <a:gd name="connsiteY5" fmla="*/ 52895 h 89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86" h="8915400">
                <a:moveTo>
                  <a:pt x="2289886" y="0"/>
                </a:moveTo>
                <a:lnTo>
                  <a:pt x="2289886" y="8915400"/>
                </a:lnTo>
                <a:lnTo>
                  <a:pt x="2208748" y="8915400"/>
                </a:lnTo>
                <a:lnTo>
                  <a:pt x="2203568" y="8912226"/>
                </a:lnTo>
                <a:cubicBezTo>
                  <a:pt x="891023" y="8059147"/>
                  <a:pt x="0" y="6395348"/>
                  <a:pt x="0" y="4482560"/>
                </a:cubicBezTo>
                <a:cubicBezTo>
                  <a:pt x="0" y="2569772"/>
                  <a:pt x="891023" y="905972"/>
                  <a:pt x="2203568" y="52895"/>
                </a:cubicBezTo>
                <a:close/>
              </a:path>
            </a:pathLst>
          </a:custGeom>
          <a:solidFill>
            <a:srgbClr val="EEEEEE"/>
          </a:solidFill>
        </p:spPr>
      </p:pic>
      <p:pic>
        <p:nvPicPr>
          <p:cNvPr id="7" name="Blå_logo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  <p:sp>
        <p:nvSpPr>
          <p:cNvPr id="14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4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sp>
        <p:nvSpPr>
          <p:cNvPr id="18" name="Plassholder for SmartArt 13"/>
          <p:cNvSpPr>
            <a:spLocks noGrp="1"/>
          </p:cNvSpPr>
          <p:nvPr>
            <p:ph type="dgm" sz="quarter" idx="11" hasCustomPrompt="1"/>
          </p:nvPr>
        </p:nvSpPr>
        <p:spPr>
          <a:xfrm>
            <a:off x="22092533" y="2376000"/>
            <a:ext cx="2289601" cy="8917200"/>
          </a:xfrm>
          <a:blipFill>
            <a:blip r:embed="rId8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96226215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54688" y="5106372"/>
            <a:ext cx="17138143" cy="828676"/>
          </a:xfrm>
        </p:spPr>
        <p:txBody>
          <a:bodyPr anchor="b">
            <a:normAutofit/>
          </a:bodyPr>
          <a:lstStyle>
            <a:lvl1pPr algn="r">
              <a:defRPr sz="5800" b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legge inn en kapitteltitte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377424" y="6649442"/>
            <a:ext cx="11215400" cy="3311524"/>
          </a:xfrm>
        </p:spPr>
        <p:txBody>
          <a:bodyPr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  <a:lvl2pPr marL="914170" indent="0" algn="ctr">
              <a:buNone/>
              <a:defRPr sz="4000"/>
            </a:lvl2pPr>
            <a:lvl3pPr marL="1828349" indent="0" algn="ctr">
              <a:buNone/>
              <a:defRPr sz="3600"/>
            </a:lvl3pPr>
            <a:lvl4pPr marL="2742519" indent="0" algn="ctr">
              <a:buNone/>
              <a:defRPr sz="3200"/>
            </a:lvl4pPr>
            <a:lvl5pPr marL="3656689" indent="0" algn="ctr">
              <a:buNone/>
              <a:defRPr sz="3200"/>
            </a:lvl5pPr>
            <a:lvl6pPr marL="4570859" indent="0" algn="ctr">
              <a:buNone/>
              <a:defRPr sz="3200"/>
            </a:lvl6pPr>
            <a:lvl7pPr marL="5485030" indent="0" algn="ctr">
              <a:buNone/>
              <a:defRPr sz="3200"/>
            </a:lvl7pPr>
            <a:lvl8pPr marL="6399200" indent="0" algn="ctr">
              <a:buNone/>
              <a:defRPr sz="3200"/>
            </a:lvl8pPr>
            <a:lvl9pPr marL="7313370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Sort_logo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80" y="1440180"/>
            <a:ext cx="3154287" cy="2160000"/>
          </a:xfrm>
          <a:prstGeom prst="rect">
            <a:avLst/>
          </a:prstGeom>
        </p:spPr>
      </p:pic>
      <p:pic>
        <p:nvPicPr>
          <p:cNvPr id="6" name="Hvit_lo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79" y="1440180"/>
            <a:ext cx="3168000" cy="2168472"/>
          </a:xfrm>
          <a:prstGeom prst="rect">
            <a:avLst/>
          </a:prstGeom>
        </p:spPr>
      </p:pic>
      <p:sp>
        <p:nvSpPr>
          <p:cNvPr id="7" name="Plassholder for SmartArt 13"/>
          <p:cNvSpPr>
            <a:spLocks noGrp="1"/>
          </p:cNvSpPr>
          <p:nvPr>
            <p:ph type="dgm" sz="quarter" idx="10" hasCustomPrompt="1"/>
          </p:nvPr>
        </p:nvSpPr>
        <p:spPr>
          <a:xfrm>
            <a:off x="1440001" y="1440000"/>
            <a:ext cx="3168000" cy="2167200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200"/>
            </a:lvl1pPr>
          </a:lstStyle>
          <a:p>
            <a:r>
              <a:rPr lang="nb-NO" dirty="0"/>
              <a:t>  </a:t>
            </a:r>
          </a:p>
        </p:txBody>
      </p:sp>
      <p:pic>
        <p:nvPicPr>
          <p:cNvPr id="8" name="Blå_logo" hidden="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1" y="1440007"/>
            <a:ext cx="3168000" cy="2155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4445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290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dato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bunntekst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Plassholder for lysbildenumm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18513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vmlDrawing" Target="../drawings/vmlDrawing22.v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1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tags" Target="../tags/tag43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40.xml"/><Relationship Id="rId34" Type="http://schemas.openxmlformats.org/officeDocument/2006/relationships/vmlDrawing" Target="../drawings/vmlDrawing24.v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slideLayout" Target="../slideLayouts/slideLayout144.xml"/><Relationship Id="rId33" Type="http://schemas.openxmlformats.org/officeDocument/2006/relationships/theme" Target="../theme/theme11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29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32" Type="http://schemas.openxmlformats.org/officeDocument/2006/relationships/slideLayout" Target="../slideLayouts/slideLayout151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slideLayout" Target="../slideLayouts/slideLayout147.xml"/><Relationship Id="rId36" Type="http://schemas.openxmlformats.org/officeDocument/2006/relationships/oleObject" Target="../embeddings/oleObject24.bin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31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slideLayout" Target="../slideLayouts/slideLayout146.xml"/><Relationship Id="rId30" Type="http://schemas.openxmlformats.org/officeDocument/2006/relationships/slideLayout" Target="../slideLayouts/slideLayout149.xml"/><Relationship Id="rId35" Type="http://schemas.openxmlformats.org/officeDocument/2006/relationships/tags" Target="../tags/tag45.xml"/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heme" Target="../theme/theme1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3.xml"/><Relationship Id="rId16" Type="http://schemas.openxmlformats.org/officeDocument/2006/relationships/oleObject" Target="../embeddings/oleObject48.bin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79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vmlDrawing" Target="../drawings/vmlDrawing48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vmlDrawing" Target="../drawings/vmlDrawing52.v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6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oleObject" Target="../embeddings/oleObject52.bin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tags" Target="../tags/tag9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vmlDrawing" Target="../drawings/vmlDrawing55.v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theme" Target="../theme/theme1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7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oleObject" Target="../embeddings/oleObject55.bin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tags" Target="../tags/tag9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vmlDrawing" Target="../drawings/vmlDrawing57.v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1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8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5" Type="http://schemas.openxmlformats.org/officeDocument/2006/relationships/oleObject" Target="../embeddings/oleObject57.bin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tags" Target="../tags/tag9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vmlDrawing" Target="../drawings/vmlDrawing60.v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theme" Target="../theme/theme1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oleObject" Target="../embeddings/oleObject60.bin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tags" Target="../tags/tag10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21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vmlDrawing" Target="../drawings/vmlDrawing62.vml"/><Relationship Id="rId3" Type="http://schemas.openxmlformats.org/officeDocument/2006/relationships/slideLayout" Target="../slideLayouts/slideLayout223.xml"/><Relationship Id="rId7" Type="http://schemas.openxmlformats.org/officeDocument/2006/relationships/slideLayout" Target="../slideLayouts/slideLayout227.xml"/><Relationship Id="rId12" Type="http://schemas.openxmlformats.org/officeDocument/2006/relationships/theme" Target="../theme/theme1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225.xml"/><Relationship Id="rId15" Type="http://schemas.openxmlformats.org/officeDocument/2006/relationships/oleObject" Target="../embeddings/oleObject62.bin"/><Relationship Id="rId10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tags" Target="../tags/tag10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9.xml"/><Relationship Id="rId13" Type="http://schemas.openxmlformats.org/officeDocument/2006/relationships/theme" Target="../theme/theme1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34.xml"/><Relationship Id="rId7" Type="http://schemas.openxmlformats.org/officeDocument/2006/relationships/slideLayout" Target="../slideLayouts/slideLayout238.xml"/><Relationship Id="rId12" Type="http://schemas.openxmlformats.org/officeDocument/2006/relationships/slideLayout" Target="../slideLayouts/slideLayout24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33.xml"/><Relationship Id="rId16" Type="http://schemas.openxmlformats.org/officeDocument/2006/relationships/oleObject" Target="../embeddings/oleObject64.bin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36.xml"/><Relationship Id="rId15" Type="http://schemas.openxmlformats.org/officeDocument/2006/relationships/tags" Target="../tags/tag105.xml"/><Relationship Id="rId10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Relationship Id="rId14" Type="http://schemas.openxmlformats.org/officeDocument/2006/relationships/vmlDrawing" Target="../drawings/vmlDrawing64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vmlDrawing" Target="../drawings/vmlDrawing68.v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2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4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oleObject" Target="../embeddings/oleObject68.bin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tags" Target="../tags/tag11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vmlDrawing" Target="../drawings/vmlDrawing71.vml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2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5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5" Type="http://schemas.openxmlformats.org/officeDocument/2006/relationships/oleObject" Target="../embeddings/oleObject71.bin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Relationship Id="rId14" Type="http://schemas.openxmlformats.org/officeDocument/2006/relationships/tags" Target="../tags/tag12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2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6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tags" Target="../tags/tag124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slideLayout" Target="../slideLayouts/slideLayout28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slideLayout" Target="../slideLayouts/slideLayout288.xml"/><Relationship Id="rId17" Type="http://schemas.openxmlformats.org/officeDocument/2006/relationships/oleObject" Target="../embeddings/oleObject76.bin"/><Relationship Id="rId2" Type="http://schemas.openxmlformats.org/officeDocument/2006/relationships/slideLayout" Target="../slideLayouts/slideLayout278.xml"/><Relationship Id="rId16" Type="http://schemas.openxmlformats.org/officeDocument/2006/relationships/tags" Target="../tags/tag127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5" Type="http://schemas.openxmlformats.org/officeDocument/2006/relationships/vmlDrawing" Target="../drawings/vmlDrawing76.vml"/><Relationship Id="rId10" Type="http://schemas.openxmlformats.org/officeDocument/2006/relationships/slideLayout" Target="../slideLayouts/slideLayout28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vmlDrawing" Target="../drawings/vmlDrawing80.vml"/><Relationship Id="rId3" Type="http://schemas.openxmlformats.org/officeDocument/2006/relationships/slideLayout" Target="../slideLayouts/slideLayout292.xml"/><Relationship Id="rId7" Type="http://schemas.openxmlformats.org/officeDocument/2006/relationships/slideLayout" Target="../slideLayouts/slideLayout296.xml"/><Relationship Id="rId12" Type="http://schemas.openxmlformats.org/officeDocument/2006/relationships/theme" Target="../theme/theme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5" Type="http://schemas.openxmlformats.org/officeDocument/2006/relationships/slideLayout" Target="../slideLayouts/slideLayout294.xml"/><Relationship Id="rId15" Type="http://schemas.openxmlformats.org/officeDocument/2006/relationships/oleObject" Target="../embeddings/oleObject80.bin"/><Relationship Id="rId10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4" Type="http://schemas.openxmlformats.org/officeDocument/2006/relationships/tags" Target="../tags/tag131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8.xml"/><Relationship Id="rId13" Type="http://schemas.openxmlformats.org/officeDocument/2006/relationships/vmlDrawing" Target="../drawings/vmlDrawing82.vml"/><Relationship Id="rId3" Type="http://schemas.openxmlformats.org/officeDocument/2006/relationships/slideLayout" Target="../slideLayouts/slideLayout303.xml"/><Relationship Id="rId7" Type="http://schemas.openxmlformats.org/officeDocument/2006/relationships/slideLayout" Target="../slideLayouts/slideLayout307.xml"/><Relationship Id="rId12" Type="http://schemas.openxmlformats.org/officeDocument/2006/relationships/theme" Target="../theme/theme2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0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01.xml"/><Relationship Id="rId6" Type="http://schemas.openxmlformats.org/officeDocument/2006/relationships/slideLayout" Target="../slideLayouts/slideLayout306.xml"/><Relationship Id="rId11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05.xml"/><Relationship Id="rId15" Type="http://schemas.openxmlformats.org/officeDocument/2006/relationships/oleObject" Target="../embeddings/oleObject82.bin"/><Relationship Id="rId10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4.xml"/><Relationship Id="rId9" Type="http://schemas.openxmlformats.org/officeDocument/2006/relationships/slideLayout" Target="../slideLayouts/slideLayout309.xml"/><Relationship Id="rId14" Type="http://schemas.openxmlformats.org/officeDocument/2006/relationships/tags" Target="../tags/tag133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9.xml"/><Relationship Id="rId13" Type="http://schemas.openxmlformats.org/officeDocument/2006/relationships/vmlDrawing" Target="../drawings/vmlDrawing85.vml"/><Relationship Id="rId3" Type="http://schemas.openxmlformats.org/officeDocument/2006/relationships/slideLayout" Target="../slideLayouts/slideLayout314.xml"/><Relationship Id="rId7" Type="http://schemas.openxmlformats.org/officeDocument/2006/relationships/slideLayout" Target="../slideLayouts/slideLayout318.xml"/><Relationship Id="rId12" Type="http://schemas.openxmlformats.org/officeDocument/2006/relationships/theme" Target="../theme/theme2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2.xml"/><Relationship Id="rId6" Type="http://schemas.openxmlformats.org/officeDocument/2006/relationships/slideLayout" Target="../slideLayouts/slideLayout317.xml"/><Relationship Id="rId11" Type="http://schemas.openxmlformats.org/officeDocument/2006/relationships/slideLayout" Target="../slideLayouts/slideLayout322.xml"/><Relationship Id="rId5" Type="http://schemas.openxmlformats.org/officeDocument/2006/relationships/slideLayout" Target="../slideLayouts/slideLayout316.xml"/><Relationship Id="rId15" Type="http://schemas.openxmlformats.org/officeDocument/2006/relationships/oleObject" Target="../embeddings/oleObject85.bin"/><Relationship Id="rId10" Type="http://schemas.openxmlformats.org/officeDocument/2006/relationships/slideLayout" Target="../slideLayouts/slideLayout321.xml"/><Relationship Id="rId4" Type="http://schemas.openxmlformats.org/officeDocument/2006/relationships/slideLayout" Target="../slideLayouts/slideLayout315.xml"/><Relationship Id="rId9" Type="http://schemas.openxmlformats.org/officeDocument/2006/relationships/slideLayout" Target="../slideLayouts/slideLayout320.xml"/><Relationship Id="rId14" Type="http://schemas.openxmlformats.org/officeDocument/2006/relationships/tags" Target="../tags/tag13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0.xml"/><Relationship Id="rId13" Type="http://schemas.openxmlformats.org/officeDocument/2006/relationships/vmlDrawing" Target="../drawings/vmlDrawing87.vml"/><Relationship Id="rId3" Type="http://schemas.openxmlformats.org/officeDocument/2006/relationships/slideLayout" Target="../slideLayouts/slideLayout325.xml"/><Relationship Id="rId7" Type="http://schemas.openxmlformats.org/officeDocument/2006/relationships/slideLayout" Target="../slideLayouts/slideLayout329.xml"/><Relationship Id="rId12" Type="http://schemas.openxmlformats.org/officeDocument/2006/relationships/theme" Target="../theme/theme2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2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23.xml"/><Relationship Id="rId6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33.xml"/><Relationship Id="rId5" Type="http://schemas.openxmlformats.org/officeDocument/2006/relationships/slideLayout" Target="../slideLayouts/slideLayout327.xml"/><Relationship Id="rId15" Type="http://schemas.openxmlformats.org/officeDocument/2006/relationships/oleObject" Target="../embeddings/oleObject87.bin"/><Relationship Id="rId10" Type="http://schemas.openxmlformats.org/officeDocument/2006/relationships/slideLayout" Target="../slideLayouts/slideLayout332.xml"/><Relationship Id="rId4" Type="http://schemas.openxmlformats.org/officeDocument/2006/relationships/slideLayout" Target="../slideLayouts/slideLayout326.xml"/><Relationship Id="rId9" Type="http://schemas.openxmlformats.org/officeDocument/2006/relationships/slideLayout" Target="../slideLayouts/slideLayout331.xml"/><Relationship Id="rId14" Type="http://schemas.openxmlformats.org/officeDocument/2006/relationships/tags" Target="../tags/tag138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1.xml"/><Relationship Id="rId13" Type="http://schemas.openxmlformats.org/officeDocument/2006/relationships/theme" Target="../theme/theme28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36.xml"/><Relationship Id="rId7" Type="http://schemas.openxmlformats.org/officeDocument/2006/relationships/slideLayout" Target="../slideLayouts/slideLayout340.xml"/><Relationship Id="rId12" Type="http://schemas.openxmlformats.org/officeDocument/2006/relationships/slideLayout" Target="../slideLayouts/slideLayout345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335.xml"/><Relationship Id="rId16" Type="http://schemas.openxmlformats.org/officeDocument/2006/relationships/oleObject" Target="../embeddings/oleObject89.bin"/><Relationship Id="rId1" Type="http://schemas.openxmlformats.org/officeDocument/2006/relationships/slideLayout" Target="../slideLayouts/slideLayout334.xml"/><Relationship Id="rId6" Type="http://schemas.openxmlformats.org/officeDocument/2006/relationships/slideLayout" Target="../slideLayouts/slideLayout339.xml"/><Relationship Id="rId11" Type="http://schemas.openxmlformats.org/officeDocument/2006/relationships/slideLayout" Target="../slideLayouts/slideLayout344.xml"/><Relationship Id="rId5" Type="http://schemas.openxmlformats.org/officeDocument/2006/relationships/slideLayout" Target="../slideLayouts/slideLayout338.xml"/><Relationship Id="rId15" Type="http://schemas.openxmlformats.org/officeDocument/2006/relationships/tags" Target="../tags/tag140.xml"/><Relationship Id="rId10" Type="http://schemas.openxmlformats.org/officeDocument/2006/relationships/slideLayout" Target="../slideLayouts/slideLayout343.xml"/><Relationship Id="rId4" Type="http://schemas.openxmlformats.org/officeDocument/2006/relationships/slideLayout" Target="../slideLayouts/slideLayout337.xml"/><Relationship Id="rId9" Type="http://schemas.openxmlformats.org/officeDocument/2006/relationships/slideLayout" Target="../slideLayouts/slideLayout342.xml"/><Relationship Id="rId14" Type="http://schemas.openxmlformats.org/officeDocument/2006/relationships/vmlDrawing" Target="../drawings/vmlDrawing89.v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3.xml"/><Relationship Id="rId13" Type="http://schemas.openxmlformats.org/officeDocument/2006/relationships/theme" Target="../theme/theme2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48.xml"/><Relationship Id="rId7" Type="http://schemas.openxmlformats.org/officeDocument/2006/relationships/slideLayout" Target="../slideLayouts/slideLayout352.xml"/><Relationship Id="rId12" Type="http://schemas.openxmlformats.org/officeDocument/2006/relationships/slideLayout" Target="../slideLayouts/slideLayout35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7.xml"/><Relationship Id="rId16" Type="http://schemas.openxmlformats.org/officeDocument/2006/relationships/oleObject" Target="../embeddings/oleObject92.bin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11" Type="http://schemas.openxmlformats.org/officeDocument/2006/relationships/slideLayout" Target="../slideLayouts/slideLayout356.xml"/><Relationship Id="rId5" Type="http://schemas.openxmlformats.org/officeDocument/2006/relationships/slideLayout" Target="../slideLayouts/slideLayout350.xml"/><Relationship Id="rId15" Type="http://schemas.openxmlformats.org/officeDocument/2006/relationships/tags" Target="../tags/tag143.xml"/><Relationship Id="rId10" Type="http://schemas.openxmlformats.org/officeDocument/2006/relationships/slideLayout" Target="../slideLayouts/slideLayout355.xml"/><Relationship Id="rId4" Type="http://schemas.openxmlformats.org/officeDocument/2006/relationships/slideLayout" Target="../slideLayouts/slideLayout349.xml"/><Relationship Id="rId9" Type="http://schemas.openxmlformats.org/officeDocument/2006/relationships/slideLayout" Target="../slideLayouts/slideLayout354.xml"/><Relationship Id="rId14" Type="http://schemas.openxmlformats.org/officeDocument/2006/relationships/vmlDrawing" Target="../drawings/vmlDrawing9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5.xml"/><Relationship Id="rId13" Type="http://schemas.openxmlformats.org/officeDocument/2006/relationships/theme" Target="../theme/theme30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60.xml"/><Relationship Id="rId7" Type="http://schemas.openxmlformats.org/officeDocument/2006/relationships/slideLayout" Target="../slideLayouts/slideLayout364.xml"/><Relationship Id="rId12" Type="http://schemas.openxmlformats.org/officeDocument/2006/relationships/slideLayout" Target="../slideLayouts/slideLayout369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359.xml"/><Relationship Id="rId16" Type="http://schemas.openxmlformats.org/officeDocument/2006/relationships/oleObject" Target="../embeddings/oleObject95.bin"/><Relationship Id="rId1" Type="http://schemas.openxmlformats.org/officeDocument/2006/relationships/slideLayout" Target="../slideLayouts/slideLayout358.xml"/><Relationship Id="rId6" Type="http://schemas.openxmlformats.org/officeDocument/2006/relationships/slideLayout" Target="../slideLayouts/slideLayout363.xml"/><Relationship Id="rId11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62.xml"/><Relationship Id="rId15" Type="http://schemas.openxmlformats.org/officeDocument/2006/relationships/tags" Target="../tags/tag146.xml"/><Relationship Id="rId10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61.xml"/><Relationship Id="rId9" Type="http://schemas.openxmlformats.org/officeDocument/2006/relationships/slideLayout" Target="../slideLayouts/slideLayout366.xml"/><Relationship Id="rId14" Type="http://schemas.openxmlformats.org/officeDocument/2006/relationships/vmlDrawing" Target="../drawings/vmlDrawing95.v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7.xml"/><Relationship Id="rId13" Type="http://schemas.openxmlformats.org/officeDocument/2006/relationships/slideLayout" Target="../slideLayouts/slideLayout382.xml"/><Relationship Id="rId18" Type="http://schemas.openxmlformats.org/officeDocument/2006/relationships/oleObject" Target="../embeddings/oleObject98.bin"/><Relationship Id="rId3" Type="http://schemas.openxmlformats.org/officeDocument/2006/relationships/slideLayout" Target="../slideLayouts/slideLayout372.xml"/><Relationship Id="rId7" Type="http://schemas.openxmlformats.org/officeDocument/2006/relationships/slideLayout" Target="../slideLayouts/slideLayout376.xml"/><Relationship Id="rId12" Type="http://schemas.openxmlformats.org/officeDocument/2006/relationships/slideLayout" Target="../slideLayouts/slideLayout381.xml"/><Relationship Id="rId17" Type="http://schemas.openxmlformats.org/officeDocument/2006/relationships/tags" Target="../tags/tag149.xml"/><Relationship Id="rId2" Type="http://schemas.openxmlformats.org/officeDocument/2006/relationships/slideLayout" Target="../slideLayouts/slideLayout371.xml"/><Relationship Id="rId16" Type="http://schemas.openxmlformats.org/officeDocument/2006/relationships/vmlDrawing" Target="../drawings/vmlDrawing9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70.xml"/><Relationship Id="rId6" Type="http://schemas.openxmlformats.org/officeDocument/2006/relationships/slideLayout" Target="../slideLayouts/slideLayout375.xml"/><Relationship Id="rId11" Type="http://schemas.openxmlformats.org/officeDocument/2006/relationships/slideLayout" Target="../slideLayouts/slideLayout380.xml"/><Relationship Id="rId5" Type="http://schemas.openxmlformats.org/officeDocument/2006/relationships/slideLayout" Target="../slideLayouts/slideLayout374.xml"/><Relationship Id="rId15" Type="http://schemas.openxmlformats.org/officeDocument/2006/relationships/theme" Target="../theme/theme31.xml"/><Relationship Id="rId10" Type="http://schemas.openxmlformats.org/officeDocument/2006/relationships/slideLayout" Target="../slideLayouts/slideLayout37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73.xml"/><Relationship Id="rId9" Type="http://schemas.openxmlformats.org/officeDocument/2006/relationships/slideLayout" Target="../slideLayouts/slideLayout378.xml"/><Relationship Id="rId14" Type="http://schemas.openxmlformats.org/officeDocument/2006/relationships/slideLayout" Target="../slideLayouts/slideLayout383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1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386.xml"/><Relationship Id="rId7" Type="http://schemas.openxmlformats.org/officeDocument/2006/relationships/slideLayout" Target="../slideLayouts/slideLayout390.xml"/><Relationship Id="rId12" Type="http://schemas.openxmlformats.org/officeDocument/2006/relationships/slideLayout" Target="../slideLayouts/slideLayout395.xml"/><Relationship Id="rId2" Type="http://schemas.openxmlformats.org/officeDocument/2006/relationships/slideLayout" Target="../slideLayouts/slideLayout385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88.xml"/><Relationship Id="rId10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Relationship Id="rId14" Type="http://schemas.openxmlformats.org/officeDocument/2006/relationships/image" Target="../media/image2.pn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98.xml"/><Relationship Id="rId7" Type="http://schemas.openxmlformats.org/officeDocument/2006/relationships/slideLayout" Target="../slideLayouts/slideLayout402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97.xml"/><Relationship Id="rId1" Type="http://schemas.openxmlformats.org/officeDocument/2006/relationships/slideLayout" Target="../slideLayouts/slideLayout396.xml"/><Relationship Id="rId6" Type="http://schemas.openxmlformats.org/officeDocument/2006/relationships/slideLayout" Target="../slideLayouts/slideLayout401.xml"/><Relationship Id="rId11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400.xml"/><Relationship Id="rId10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399.xml"/><Relationship Id="rId9" Type="http://schemas.openxmlformats.org/officeDocument/2006/relationships/slideLayout" Target="../slideLayouts/slideLayout404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4.xml"/><Relationship Id="rId13" Type="http://schemas.openxmlformats.org/officeDocument/2006/relationships/theme" Target="../theme/theme3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09.xml"/><Relationship Id="rId7" Type="http://schemas.openxmlformats.org/officeDocument/2006/relationships/slideLayout" Target="../slideLayouts/slideLayout413.xml"/><Relationship Id="rId12" Type="http://schemas.openxmlformats.org/officeDocument/2006/relationships/slideLayout" Target="../slideLayouts/slideLayout41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08.xml"/><Relationship Id="rId16" Type="http://schemas.openxmlformats.org/officeDocument/2006/relationships/oleObject" Target="../embeddings/oleObject102.bin"/><Relationship Id="rId1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12.xml"/><Relationship Id="rId11" Type="http://schemas.openxmlformats.org/officeDocument/2006/relationships/slideLayout" Target="../slideLayouts/slideLayout417.xml"/><Relationship Id="rId5" Type="http://schemas.openxmlformats.org/officeDocument/2006/relationships/slideLayout" Target="../slideLayouts/slideLayout411.xml"/><Relationship Id="rId15" Type="http://schemas.openxmlformats.org/officeDocument/2006/relationships/tags" Target="../tags/tag163.xml"/><Relationship Id="rId10" Type="http://schemas.openxmlformats.org/officeDocument/2006/relationships/slideLayout" Target="../slideLayouts/slideLayout416.xml"/><Relationship Id="rId4" Type="http://schemas.openxmlformats.org/officeDocument/2006/relationships/slideLayout" Target="../slideLayouts/slideLayout410.xml"/><Relationship Id="rId9" Type="http://schemas.openxmlformats.org/officeDocument/2006/relationships/slideLayout" Target="../slideLayouts/slideLayout415.xml"/><Relationship Id="rId14" Type="http://schemas.openxmlformats.org/officeDocument/2006/relationships/vmlDrawing" Target="../drawings/vmlDrawing102.v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6.xml"/><Relationship Id="rId13" Type="http://schemas.openxmlformats.org/officeDocument/2006/relationships/vmlDrawing" Target="../drawings/vmlDrawing105.vml"/><Relationship Id="rId3" Type="http://schemas.openxmlformats.org/officeDocument/2006/relationships/slideLayout" Target="../slideLayouts/slideLayout421.xml"/><Relationship Id="rId7" Type="http://schemas.openxmlformats.org/officeDocument/2006/relationships/slideLayout" Target="../slideLayouts/slideLayout425.xml"/><Relationship Id="rId12" Type="http://schemas.openxmlformats.org/officeDocument/2006/relationships/theme" Target="../theme/theme3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9.xml"/><Relationship Id="rId6" Type="http://schemas.openxmlformats.org/officeDocument/2006/relationships/slideLayout" Target="../slideLayouts/slideLayout424.xml"/><Relationship Id="rId11" Type="http://schemas.openxmlformats.org/officeDocument/2006/relationships/slideLayout" Target="../slideLayouts/slideLayout429.xml"/><Relationship Id="rId5" Type="http://schemas.openxmlformats.org/officeDocument/2006/relationships/slideLayout" Target="../slideLayouts/slideLayout423.xml"/><Relationship Id="rId15" Type="http://schemas.openxmlformats.org/officeDocument/2006/relationships/oleObject" Target="../embeddings/oleObject105.bin"/><Relationship Id="rId10" Type="http://schemas.openxmlformats.org/officeDocument/2006/relationships/slideLayout" Target="../slideLayouts/slideLayout428.xml"/><Relationship Id="rId4" Type="http://schemas.openxmlformats.org/officeDocument/2006/relationships/slideLayout" Target="../slideLayouts/slideLayout422.xml"/><Relationship Id="rId9" Type="http://schemas.openxmlformats.org/officeDocument/2006/relationships/slideLayout" Target="../slideLayouts/slideLayout427.xml"/><Relationship Id="rId14" Type="http://schemas.openxmlformats.org/officeDocument/2006/relationships/tags" Target="../tags/tag166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7.xml"/><Relationship Id="rId13" Type="http://schemas.openxmlformats.org/officeDocument/2006/relationships/theme" Target="../theme/theme3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32.xml"/><Relationship Id="rId7" Type="http://schemas.openxmlformats.org/officeDocument/2006/relationships/slideLayout" Target="../slideLayouts/slideLayout436.xml"/><Relationship Id="rId12" Type="http://schemas.openxmlformats.org/officeDocument/2006/relationships/slideLayout" Target="../slideLayouts/slideLayout441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431.xml"/><Relationship Id="rId16" Type="http://schemas.openxmlformats.org/officeDocument/2006/relationships/oleObject" Target="../embeddings/oleObject107.bin"/><Relationship Id="rId1" Type="http://schemas.openxmlformats.org/officeDocument/2006/relationships/slideLayout" Target="../slideLayouts/slideLayout430.xml"/><Relationship Id="rId6" Type="http://schemas.openxmlformats.org/officeDocument/2006/relationships/slideLayout" Target="../slideLayouts/slideLayout435.xml"/><Relationship Id="rId11" Type="http://schemas.openxmlformats.org/officeDocument/2006/relationships/slideLayout" Target="../slideLayouts/slideLayout440.xml"/><Relationship Id="rId5" Type="http://schemas.openxmlformats.org/officeDocument/2006/relationships/slideLayout" Target="../slideLayouts/slideLayout434.xml"/><Relationship Id="rId15" Type="http://schemas.openxmlformats.org/officeDocument/2006/relationships/tags" Target="../tags/tag168.xml"/><Relationship Id="rId10" Type="http://schemas.openxmlformats.org/officeDocument/2006/relationships/slideLayout" Target="../slideLayouts/slideLayout439.xml"/><Relationship Id="rId4" Type="http://schemas.openxmlformats.org/officeDocument/2006/relationships/slideLayout" Target="../slideLayouts/slideLayout433.xml"/><Relationship Id="rId9" Type="http://schemas.openxmlformats.org/officeDocument/2006/relationships/slideLayout" Target="../slideLayouts/slideLayout438.xml"/><Relationship Id="rId14" Type="http://schemas.openxmlformats.org/officeDocument/2006/relationships/vmlDrawing" Target="../drawings/vmlDrawing107.v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9.xml"/><Relationship Id="rId13" Type="http://schemas.openxmlformats.org/officeDocument/2006/relationships/theme" Target="../theme/theme3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44.xml"/><Relationship Id="rId7" Type="http://schemas.openxmlformats.org/officeDocument/2006/relationships/slideLayout" Target="../slideLayouts/slideLayout448.xml"/><Relationship Id="rId12" Type="http://schemas.openxmlformats.org/officeDocument/2006/relationships/slideLayout" Target="../slideLayouts/slideLayout45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43.xml"/><Relationship Id="rId16" Type="http://schemas.openxmlformats.org/officeDocument/2006/relationships/oleObject" Target="../embeddings/oleObject110.bin"/><Relationship Id="rId1" Type="http://schemas.openxmlformats.org/officeDocument/2006/relationships/slideLayout" Target="../slideLayouts/slideLayout442.xml"/><Relationship Id="rId6" Type="http://schemas.openxmlformats.org/officeDocument/2006/relationships/slideLayout" Target="../slideLayouts/slideLayout447.xml"/><Relationship Id="rId11" Type="http://schemas.openxmlformats.org/officeDocument/2006/relationships/slideLayout" Target="../slideLayouts/slideLayout452.xml"/><Relationship Id="rId5" Type="http://schemas.openxmlformats.org/officeDocument/2006/relationships/slideLayout" Target="../slideLayouts/slideLayout446.xml"/><Relationship Id="rId15" Type="http://schemas.openxmlformats.org/officeDocument/2006/relationships/tags" Target="../tags/tag171.xml"/><Relationship Id="rId10" Type="http://schemas.openxmlformats.org/officeDocument/2006/relationships/slideLayout" Target="../slideLayouts/slideLayout451.xml"/><Relationship Id="rId4" Type="http://schemas.openxmlformats.org/officeDocument/2006/relationships/slideLayout" Target="../slideLayouts/slideLayout445.xml"/><Relationship Id="rId9" Type="http://schemas.openxmlformats.org/officeDocument/2006/relationships/slideLayout" Target="../slideLayouts/slideLayout450.xml"/><Relationship Id="rId14" Type="http://schemas.openxmlformats.org/officeDocument/2006/relationships/vmlDrawing" Target="../drawings/vmlDrawing110.v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1.xml"/><Relationship Id="rId13" Type="http://schemas.openxmlformats.org/officeDocument/2006/relationships/theme" Target="../theme/theme38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56.xml"/><Relationship Id="rId7" Type="http://schemas.openxmlformats.org/officeDocument/2006/relationships/slideLayout" Target="../slideLayouts/slideLayout460.xml"/><Relationship Id="rId12" Type="http://schemas.openxmlformats.org/officeDocument/2006/relationships/slideLayout" Target="../slideLayouts/slideLayout465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455.xml"/><Relationship Id="rId16" Type="http://schemas.openxmlformats.org/officeDocument/2006/relationships/oleObject" Target="../embeddings/oleObject113.bin"/><Relationship Id="rId1" Type="http://schemas.openxmlformats.org/officeDocument/2006/relationships/slideLayout" Target="../slideLayouts/slideLayout454.xml"/><Relationship Id="rId6" Type="http://schemas.openxmlformats.org/officeDocument/2006/relationships/slideLayout" Target="../slideLayouts/slideLayout459.xml"/><Relationship Id="rId11" Type="http://schemas.openxmlformats.org/officeDocument/2006/relationships/slideLayout" Target="../slideLayouts/slideLayout464.xml"/><Relationship Id="rId5" Type="http://schemas.openxmlformats.org/officeDocument/2006/relationships/slideLayout" Target="../slideLayouts/slideLayout458.xml"/><Relationship Id="rId15" Type="http://schemas.openxmlformats.org/officeDocument/2006/relationships/tags" Target="../tags/tag174.xml"/><Relationship Id="rId10" Type="http://schemas.openxmlformats.org/officeDocument/2006/relationships/slideLayout" Target="../slideLayouts/slideLayout463.xml"/><Relationship Id="rId4" Type="http://schemas.openxmlformats.org/officeDocument/2006/relationships/slideLayout" Target="../slideLayouts/slideLayout457.xml"/><Relationship Id="rId9" Type="http://schemas.openxmlformats.org/officeDocument/2006/relationships/slideLayout" Target="../slideLayouts/slideLayout462.xml"/><Relationship Id="rId14" Type="http://schemas.openxmlformats.org/officeDocument/2006/relationships/vmlDrawing" Target="../drawings/vmlDrawing113.v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3.xml"/><Relationship Id="rId13" Type="http://schemas.openxmlformats.org/officeDocument/2006/relationships/theme" Target="../theme/theme3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68.xml"/><Relationship Id="rId7" Type="http://schemas.openxmlformats.org/officeDocument/2006/relationships/slideLayout" Target="../slideLayouts/slideLayout472.xml"/><Relationship Id="rId12" Type="http://schemas.openxmlformats.org/officeDocument/2006/relationships/slideLayout" Target="../slideLayouts/slideLayout47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67.xml"/><Relationship Id="rId16" Type="http://schemas.openxmlformats.org/officeDocument/2006/relationships/oleObject" Target="../embeddings/oleObject116.bin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11" Type="http://schemas.openxmlformats.org/officeDocument/2006/relationships/slideLayout" Target="../slideLayouts/slideLayout476.xml"/><Relationship Id="rId5" Type="http://schemas.openxmlformats.org/officeDocument/2006/relationships/slideLayout" Target="../slideLayouts/slideLayout470.xml"/><Relationship Id="rId15" Type="http://schemas.openxmlformats.org/officeDocument/2006/relationships/tags" Target="../tags/tag177.xml"/><Relationship Id="rId10" Type="http://schemas.openxmlformats.org/officeDocument/2006/relationships/slideLayout" Target="../slideLayouts/slideLayout475.xml"/><Relationship Id="rId4" Type="http://schemas.openxmlformats.org/officeDocument/2006/relationships/slideLayout" Target="../slideLayouts/slideLayout469.xml"/><Relationship Id="rId9" Type="http://schemas.openxmlformats.org/officeDocument/2006/relationships/slideLayout" Target="../slideLayouts/slideLayout474.xml"/><Relationship Id="rId14" Type="http://schemas.openxmlformats.org/officeDocument/2006/relationships/vmlDrawing" Target="../drawings/vmlDrawing11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vmlDrawing" Target="../drawings/vmlDrawing10.v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21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5.xml"/><Relationship Id="rId13" Type="http://schemas.openxmlformats.org/officeDocument/2006/relationships/slideLayout" Target="../slideLayouts/slideLayout49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80.xml"/><Relationship Id="rId7" Type="http://schemas.openxmlformats.org/officeDocument/2006/relationships/slideLayout" Target="../slideLayouts/slideLayout484.xml"/><Relationship Id="rId12" Type="http://schemas.openxmlformats.org/officeDocument/2006/relationships/slideLayout" Target="../slideLayouts/slideLayout489.xml"/><Relationship Id="rId17" Type="http://schemas.openxmlformats.org/officeDocument/2006/relationships/oleObject" Target="../embeddings/oleObject119.bin"/><Relationship Id="rId2" Type="http://schemas.openxmlformats.org/officeDocument/2006/relationships/slideLayout" Target="../slideLayouts/slideLayout479.xml"/><Relationship Id="rId16" Type="http://schemas.openxmlformats.org/officeDocument/2006/relationships/tags" Target="../tags/tag180.xml"/><Relationship Id="rId1" Type="http://schemas.openxmlformats.org/officeDocument/2006/relationships/slideLayout" Target="../slideLayouts/slideLayout478.xml"/><Relationship Id="rId6" Type="http://schemas.openxmlformats.org/officeDocument/2006/relationships/slideLayout" Target="../slideLayouts/slideLayout483.xml"/><Relationship Id="rId11" Type="http://schemas.openxmlformats.org/officeDocument/2006/relationships/slideLayout" Target="../slideLayouts/slideLayout488.xml"/><Relationship Id="rId5" Type="http://schemas.openxmlformats.org/officeDocument/2006/relationships/slideLayout" Target="../slideLayouts/slideLayout482.xml"/><Relationship Id="rId15" Type="http://schemas.openxmlformats.org/officeDocument/2006/relationships/vmlDrawing" Target="../drawings/vmlDrawing119.vml"/><Relationship Id="rId10" Type="http://schemas.openxmlformats.org/officeDocument/2006/relationships/slideLayout" Target="../slideLayouts/slideLayout487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81.xml"/><Relationship Id="rId9" Type="http://schemas.openxmlformats.org/officeDocument/2006/relationships/slideLayout" Target="../slideLayouts/slideLayout486.xml"/><Relationship Id="rId14" Type="http://schemas.openxmlformats.org/officeDocument/2006/relationships/theme" Target="../theme/theme4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8.xml"/><Relationship Id="rId13" Type="http://schemas.openxmlformats.org/officeDocument/2006/relationships/slideLayout" Target="../slideLayouts/slideLayout50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93.xml"/><Relationship Id="rId7" Type="http://schemas.openxmlformats.org/officeDocument/2006/relationships/slideLayout" Target="../slideLayouts/slideLayout497.xml"/><Relationship Id="rId12" Type="http://schemas.openxmlformats.org/officeDocument/2006/relationships/slideLayout" Target="../slideLayouts/slideLayout502.xml"/><Relationship Id="rId17" Type="http://schemas.openxmlformats.org/officeDocument/2006/relationships/oleObject" Target="../embeddings/oleObject122.bin"/><Relationship Id="rId2" Type="http://schemas.openxmlformats.org/officeDocument/2006/relationships/slideLayout" Target="../slideLayouts/slideLayout492.xml"/><Relationship Id="rId16" Type="http://schemas.openxmlformats.org/officeDocument/2006/relationships/tags" Target="../tags/tag183.xml"/><Relationship Id="rId1" Type="http://schemas.openxmlformats.org/officeDocument/2006/relationships/slideLayout" Target="../slideLayouts/slideLayout491.xml"/><Relationship Id="rId6" Type="http://schemas.openxmlformats.org/officeDocument/2006/relationships/slideLayout" Target="../slideLayouts/slideLayout496.xml"/><Relationship Id="rId11" Type="http://schemas.openxmlformats.org/officeDocument/2006/relationships/slideLayout" Target="../slideLayouts/slideLayout501.xml"/><Relationship Id="rId5" Type="http://schemas.openxmlformats.org/officeDocument/2006/relationships/slideLayout" Target="../slideLayouts/slideLayout495.xml"/><Relationship Id="rId15" Type="http://schemas.openxmlformats.org/officeDocument/2006/relationships/vmlDrawing" Target="../drawings/vmlDrawing122.vml"/><Relationship Id="rId10" Type="http://schemas.openxmlformats.org/officeDocument/2006/relationships/slideLayout" Target="../slideLayouts/slideLayout50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94.xml"/><Relationship Id="rId9" Type="http://schemas.openxmlformats.org/officeDocument/2006/relationships/slideLayout" Target="../slideLayouts/slideLayout499.xml"/><Relationship Id="rId14" Type="http://schemas.openxmlformats.org/officeDocument/2006/relationships/theme" Target="../theme/theme41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1.xml"/><Relationship Id="rId13" Type="http://schemas.openxmlformats.org/officeDocument/2006/relationships/theme" Target="../theme/theme4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06.xml"/><Relationship Id="rId7" Type="http://schemas.openxmlformats.org/officeDocument/2006/relationships/slideLayout" Target="../slideLayouts/slideLayout510.xml"/><Relationship Id="rId12" Type="http://schemas.openxmlformats.org/officeDocument/2006/relationships/slideLayout" Target="../slideLayouts/slideLayout51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05.xml"/><Relationship Id="rId16" Type="http://schemas.openxmlformats.org/officeDocument/2006/relationships/oleObject" Target="../embeddings/oleObject126.bin"/><Relationship Id="rId1" Type="http://schemas.openxmlformats.org/officeDocument/2006/relationships/slideLayout" Target="../slideLayouts/slideLayout504.xml"/><Relationship Id="rId6" Type="http://schemas.openxmlformats.org/officeDocument/2006/relationships/slideLayout" Target="../slideLayouts/slideLayout509.xml"/><Relationship Id="rId11" Type="http://schemas.openxmlformats.org/officeDocument/2006/relationships/slideLayout" Target="../slideLayouts/slideLayout514.xml"/><Relationship Id="rId5" Type="http://schemas.openxmlformats.org/officeDocument/2006/relationships/slideLayout" Target="../slideLayouts/slideLayout508.xml"/><Relationship Id="rId15" Type="http://schemas.openxmlformats.org/officeDocument/2006/relationships/tags" Target="../tags/tag187.xml"/><Relationship Id="rId10" Type="http://schemas.openxmlformats.org/officeDocument/2006/relationships/slideLayout" Target="../slideLayouts/slideLayout513.xml"/><Relationship Id="rId4" Type="http://schemas.openxmlformats.org/officeDocument/2006/relationships/slideLayout" Target="../slideLayouts/slideLayout507.xml"/><Relationship Id="rId9" Type="http://schemas.openxmlformats.org/officeDocument/2006/relationships/slideLayout" Target="../slideLayouts/slideLayout512.xml"/><Relationship Id="rId14" Type="http://schemas.openxmlformats.org/officeDocument/2006/relationships/vmlDrawing" Target="../drawings/vmlDrawing126.v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3.xml"/><Relationship Id="rId13" Type="http://schemas.openxmlformats.org/officeDocument/2006/relationships/vmlDrawing" Target="../drawings/vmlDrawing129.vml"/><Relationship Id="rId3" Type="http://schemas.openxmlformats.org/officeDocument/2006/relationships/slideLayout" Target="../slideLayouts/slideLayout518.xml"/><Relationship Id="rId7" Type="http://schemas.openxmlformats.org/officeDocument/2006/relationships/slideLayout" Target="../slideLayouts/slideLayout522.xml"/><Relationship Id="rId12" Type="http://schemas.openxmlformats.org/officeDocument/2006/relationships/theme" Target="../theme/theme4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16.xml"/><Relationship Id="rId6" Type="http://schemas.openxmlformats.org/officeDocument/2006/relationships/slideLayout" Target="../slideLayouts/slideLayout521.xml"/><Relationship Id="rId11" Type="http://schemas.openxmlformats.org/officeDocument/2006/relationships/slideLayout" Target="../slideLayouts/slideLayout526.xml"/><Relationship Id="rId5" Type="http://schemas.openxmlformats.org/officeDocument/2006/relationships/slideLayout" Target="../slideLayouts/slideLayout520.xml"/><Relationship Id="rId15" Type="http://schemas.openxmlformats.org/officeDocument/2006/relationships/oleObject" Target="../embeddings/oleObject129.bin"/><Relationship Id="rId10" Type="http://schemas.openxmlformats.org/officeDocument/2006/relationships/slideLayout" Target="../slideLayouts/slideLayout525.xml"/><Relationship Id="rId4" Type="http://schemas.openxmlformats.org/officeDocument/2006/relationships/slideLayout" Target="../slideLayouts/slideLayout519.xml"/><Relationship Id="rId9" Type="http://schemas.openxmlformats.org/officeDocument/2006/relationships/slideLayout" Target="../slideLayouts/slideLayout524.xml"/><Relationship Id="rId14" Type="http://schemas.openxmlformats.org/officeDocument/2006/relationships/tags" Target="../tags/tag190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4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529.xml"/><Relationship Id="rId7" Type="http://schemas.openxmlformats.org/officeDocument/2006/relationships/slideLayout" Target="../slideLayouts/slideLayout533.xml"/><Relationship Id="rId12" Type="http://schemas.openxmlformats.org/officeDocument/2006/relationships/theme" Target="../theme/theme44.xml"/><Relationship Id="rId2" Type="http://schemas.openxmlformats.org/officeDocument/2006/relationships/slideLayout" Target="../slideLayouts/slideLayout528.xml"/><Relationship Id="rId1" Type="http://schemas.openxmlformats.org/officeDocument/2006/relationships/slideLayout" Target="../slideLayouts/slideLayout527.xml"/><Relationship Id="rId6" Type="http://schemas.openxmlformats.org/officeDocument/2006/relationships/slideLayout" Target="../slideLayouts/slideLayout532.xml"/><Relationship Id="rId11" Type="http://schemas.openxmlformats.org/officeDocument/2006/relationships/slideLayout" Target="../slideLayouts/slideLayout537.xml"/><Relationship Id="rId5" Type="http://schemas.openxmlformats.org/officeDocument/2006/relationships/slideLayout" Target="../slideLayouts/slideLayout531.xml"/><Relationship Id="rId10" Type="http://schemas.openxmlformats.org/officeDocument/2006/relationships/slideLayout" Target="../slideLayouts/slideLayout536.xml"/><Relationship Id="rId4" Type="http://schemas.openxmlformats.org/officeDocument/2006/relationships/slideLayout" Target="../slideLayouts/slideLayout530.xml"/><Relationship Id="rId9" Type="http://schemas.openxmlformats.org/officeDocument/2006/relationships/slideLayout" Target="../slideLayouts/slideLayout535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5.xml"/><Relationship Id="rId13" Type="http://schemas.openxmlformats.org/officeDocument/2006/relationships/tags" Target="../tags/tag192.xml"/><Relationship Id="rId3" Type="http://schemas.openxmlformats.org/officeDocument/2006/relationships/slideLayout" Target="../slideLayouts/slideLayout540.xml"/><Relationship Id="rId7" Type="http://schemas.openxmlformats.org/officeDocument/2006/relationships/slideLayout" Target="../slideLayouts/slideLayout544.xml"/><Relationship Id="rId12" Type="http://schemas.openxmlformats.org/officeDocument/2006/relationships/vmlDrawing" Target="../drawings/vmlDrawing131.vml"/><Relationship Id="rId2" Type="http://schemas.openxmlformats.org/officeDocument/2006/relationships/slideLayout" Target="../slideLayouts/slideLayout53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38.xml"/><Relationship Id="rId6" Type="http://schemas.openxmlformats.org/officeDocument/2006/relationships/slideLayout" Target="../slideLayouts/slideLayout543.xml"/><Relationship Id="rId11" Type="http://schemas.openxmlformats.org/officeDocument/2006/relationships/theme" Target="../theme/theme45.xml"/><Relationship Id="rId5" Type="http://schemas.openxmlformats.org/officeDocument/2006/relationships/slideLayout" Target="../slideLayouts/slideLayout542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547.xml"/><Relationship Id="rId4" Type="http://schemas.openxmlformats.org/officeDocument/2006/relationships/slideLayout" Target="../slideLayouts/slideLayout541.xml"/><Relationship Id="rId9" Type="http://schemas.openxmlformats.org/officeDocument/2006/relationships/slideLayout" Target="../slideLayouts/slideLayout546.xml"/><Relationship Id="rId14" Type="http://schemas.openxmlformats.org/officeDocument/2006/relationships/oleObject" Target="../embeddings/oleObject131.bin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5.xml"/><Relationship Id="rId13" Type="http://schemas.openxmlformats.org/officeDocument/2006/relationships/theme" Target="../theme/theme4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50.xml"/><Relationship Id="rId7" Type="http://schemas.openxmlformats.org/officeDocument/2006/relationships/slideLayout" Target="../slideLayouts/slideLayout554.xml"/><Relationship Id="rId12" Type="http://schemas.openxmlformats.org/officeDocument/2006/relationships/slideLayout" Target="../slideLayouts/slideLayout55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49.xml"/><Relationship Id="rId16" Type="http://schemas.openxmlformats.org/officeDocument/2006/relationships/oleObject" Target="../embeddings/oleObject132.bin"/><Relationship Id="rId1" Type="http://schemas.openxmlformats.org/officeDocument/2006/relationships/slideLayout" Target="../slideLayouts/slideLayout548.xml"/><Relationship Id="rId6" Type="http://schemas.openxmlformats.org/officeDocument/2006/relationships/slideLayout" Target="../slideLayouts/slideLayout553.xml"/><Relationship Id="rId11" Type="http://schemas.openxmlformats.org/officeDocument/2006/relationships/slideLayout" Target="../slideLayouts/slideLayout558.xml"/><Relationship Id="rId5" Type="http://schemas.openxmlformats.org/officeDocument/2006/relationships/slideLayout" Target="../slideLayouts/slideLayout552.xml"/><Relationship Id="rId15" Type="http://schemas.openxmlformats.org/officeDocument/2006/relationships/tags" Target="../tags/tag193.xml"/><Relationship Id="rId10" Type="http://schemas.openxmlformats.org/officeDocument/2006/relationships/slideLayout" Target="../slideLayouts/slideLayout557.xml"/><Relationship Id="rId4" Type="http://schemas.openxmlformats.org/officeDocument/2006/relationships/slideLayout" Target="../slideLayouts/slideLayout551.xml"/><Relationship Id="rId9" Type="http://schemas.openxmlformats.org/officeDocument/2006/relationships/slideLayout" Target="../slideLayouts/slideLayout556.xml"/><Relationship Id="rId14" Type="http://schemas.openxmlformats.org/officeDocument/2006/relationships/vmlDrawing" Target="../drawings/vmlDrawing132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13" Type="http://schemas.openxmlformats.org/officeDocument/2006/relationships/slideLayout" Target="../slideLayouts/slideLayout57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62.xml"/><Relationship Id="rId7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71.xml"/><Relationship Id="rId17" Type="http://schemas.openxmlformats.org/officeDocument/2006/relationships/oleObject" Target="../embeddings/oleObject136.bin"/><Relationship Id="rId2" Type="http://schemas.openxmlformats.org/officeDocument/2006/relationships/slideLayout" Target="../slideLayouts/slideLayout561.xml"/><Relationship Id="rId16" Type="http://schemas.openxmlformats.org/officeDocument/2006/relationships/tags" Target="../tags/tag197.xml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slideLayout" Target="../slideLayouts/slideLayout570.xml"/><Relationship Id="rId5" Type="http://schemas.openxmlformats.org/officeDocument/2006/relationships/slideLayout" Target="../slideLayouts/slideLayout564.xml"/><Relationship Id="rId15" Type="http://schemas.openxmlformats.org/officeDocument/2006/relationships/vmlDrawing" Target="../drawings/vmlDrawing136.vml"/><Relationship Id="rId10" Type="http://schemas.openxmlformats.org/officeDocument/2006/relationships/slideLayout" Target="../slideLayouts/slideLayout56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Relationship Id="rId14" Type="http://schemas.openxmlformats.org/officeDocument/2006/relationships/theme" Target="../theme/theme47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0.xml"/><Relationship Id="rId13" Type="http://schemas.openxmlformats.org/officeDocument/2006/relationships/vmlDrawing" Target="../drawings/vmlDrawing140.vml"/><Relationship Id="rId3" Type="http://schemas.openxmlformats.org/officeDocument/2006/relationships/slideLayout" Target="../slideLayouts/slideLayout575.xml"/><Relationship Id="rId7" Type="http://schemas.openxmlformats.org/officeDocument/2006/relationships/slideLayout" Target="../slideLayouts/slideLayout579.xml"/><Relationship Id="rId12" Type="http://schemas.openxmlformats.org/officeDocument/2006/relationships/theme" Target="../theme/theme4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74.xml"/><Relationship Id="rId16" Type="http://schemas.openxmlformats.org/officeDocument/2006/relationships/image" Target="../media/image9.emf"/><Relationship Id="rId1" Type="http://schemas.openxmlformats.org/officeDocument/2006/relationships/slideLayout" Target="../slideLayouts/slideLayout573.xml"/><Relationship Id="rId6" Type="http://schemas.openxmlformats.org/officeDocument/2006/relationships/slideLayout" Target="../slideLayouts/slideLayout578.xml"/><Relationship Id="rId11" Type="http://schemas.openxmlformats.org/officeDocument/2006/relationships/slideLayout" Target="../slideLayouts/slideLayout583.xml"/><Relationship Id="rId5" Type="http://schemas.openxmlformats.org/officeDocument/2006/relationships/slideLayout" Target="../slideLayouts/slideLayout577.xml"/><Relationship Id="rId15" Type="http://schemas.openxmlformats.org/officeDocument/2006/relationships/oleObject" Target="../embeddings/oleObject140.bin"/><Relationship Id="rId10" Type="http://schemas.openxmlformats.org/officeDocument/2006/relationships/slideLayout" Target="../slideLayouts/slideLayout582.xml"/><Relationship Id="rId4" Type="http://schemas.openxmlformats.org/officeDocument/2006/relationships/slideLayout" Target="../slideLayouts/slideLayout576.xml"/><Relationship Id="rId9" Type="http://schemas.openxmlformats.org/officeDocument/2006/relationships/slideLayout" Target="../slideLayouts/slideLayout581.xml"/><Relationship Id="rId14" Type="http://schemas.openxmlformats.org/officeDocument/2006/relationships/tags" Target="../tags/tag201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1.xml"/><Relationship Id="rId13" Type="http://schemas.openxmlformats.org/officeDocument/2006/relationships/theme" Target="../theme/theme4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586.xml"/><Relationship Id="rId7" Type="http://schemas.openxmlformats.org/officeDocument/2006/relationships/slideLayout" Target="../slideLayouts/slideLayout590.xml"/><Relationship Id="rId12" Type="http://schemas.openxmlformats.org/officeDocument/2006/relationships/slideLayout" Target="../slideLayouts/slideLayout59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85.xml"/><Relationship Id="rId16" Type="http://schemas.openxmlformats.org/officeDocument/2006/relationships/oleObject" Target="../embeddings/oleObject142.bin"/><Relationship Id="rId1" Type="http://schemas.openxmlformats.org/officeDocument/2006/relationships/slideLayout" Target="../slideLayouts/slideLayout584.xml"/><Relationship Id="rId6" Type="http://schemas.openxmlformats.org/officeDocument/2006/relationships/slideLayout" Target="../slideLayouts/slideLayout589.xml"/><Relationship Id="rId11" Type="http://schemas.openxmlformats.org/officeDocument/2006/relationships/slideLayout" Target="../slideLayouts/slideLayout594.xml"/><Relationship Id="rId5" Type="http://schemas.openxmlformats.org/officeDocument/2006/relationships/slideLayout" Target="../slideLayouts/slideLayout588.xml"/><Relationship Id="rId15" Type="http://schemas.openxmlformats.org/officeDocument/2006/relationships/tags" Target="../tags/tag203.xml"/><Relationship Id="rId10" Type="http://schemas.openxmlformats.org/officeDocument/2006/relationships/slideLayout" Target="../slideLayouts/slideLayout593.xml"/><Relationship Id="rId4" Type="http://schemas.openxmlformats.org/officeDocument/2006/relationships/slideLayout" Target="../slideLayouts/slideLayout587.xml"/><Relationship Id="rId9" Type="http://schemas.openxmlformats.org/officeDocument/2006/relationships/slideLayout" Target="../slideLayouts/slideLayout592.xml"/><Relationship Id="rId14" Type="http://schemas.openxmlformats.org/officeDocument/2006/relationships/vmlDrawing" Target="../drawings/vmlDrawing142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vmlDrawing" Target="../drawings/vmlDrawing12.v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ags" Target="../tags/tag23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3.xml"/><Relationship Id="rId13" Type="http://schemas.openxmlformats.org/officeDocument/2006/relationships/tags" Target="../tags/tag206.xml"/><Relationship Id="rId3" Type="http://schemas.openxmlformats.org/officeDocument/2006/relationships/slideLayout" Target="../slideLayouts/slideLayout598.xml"/><Relationship Id="rId7" Type="http://schemas.openxmlformats.org/officeDocument/2006/relationships/slideLayout" Target="../slideLayouts/slideLayout602.xml"/><Relationship Id="rId12" Type="http://schemas.openxmlformats.org/officeDocument/2006/relationships/vmlDrawing" Target="../drawings/vmlDrawing145.vml"/><Relationship Id="rId2" Type="http://schemas.openxmlformats.org/officeDocument/2006/relationships/slideLayout" Target="../slideLayouts/slideLayout59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601.xml"/><Relationship Id="rId11" Type="http://schemas.openxmlformats.org/officeDocument/2006/relationships/theme" Target="../theme/theme50.xml"/><Relationship Id="rId5" Type="http://schemas.openxmlformats.org/officeDocument/2006/relationships/slideLayout" Target="../slideLayouts/slideLayout60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605.xml"/><Relationship Id="rId4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4.xml"/><Relationship Id="rId14" Type="http://schemas.openxmlformats.org/officeDocument/2006/relationships/oleObject" Target="../embeddings/oleObject145.bin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3.xml"/><Relationship Id="rId13" Type="http://schemas.openxmlformats.org/officeDocument/2006/relationships/oleObject" Target="../embeddings/oleObject147.bin"/><Relationship Id="rId3" Type="http://schemas.openxmlformats.org/officeDocument/2006/relationships/slideLayout" Target="../slideLayouts/slideLayout608.xml"/><Relationship Id="rId7" Type="http://schemas.openxmlformats.org/officeDocument/2006/relationships/slideLayout" Target="../slideLayouts/slideLayout612.xml"/><Relationship Id="rId12" Type="http://schemas.openxmlformats.org/officeDocument/2006/relationships/tags" Target="../tags/tag208.xml"/><Relationship Id="rId2" Type="http://schemas.openxmlformats.org/officeDocument/2006/relationships/slideLayout" Target="../slideLayouts/slideLayout607.xml"/><Relationship Id="rId1" Type="http://schemas.openxmlformats.org/officeDocument/2006/relationships/slideLayout" Target="../slideLayouts/slideLayout606.xml"/><Relationship Id="rId6" Type="http://schemas.openxmlformats.org/officeDocument/2006/relationships/slideLayout" Target="../slideLayouts/slideLayout611.xml"/><Relationship Id="rId11" Type="http://schemas.openxmlformats.org/officeDocument/2006/relationships/vmlDrawing" Target="../drawings/vmlDrawing147.vml"/><Relationship Id="rId5" Type="http://schemas.openxmlformats.org/officeDocument/2006/relationships/slideLayout" Target="../slideLayouts/slideLayout610.xml"/><Relationship Id="rId15" Type="http://schemas.openxmlformats.org/officeDocument/2006/relationships/image" Target="../media/image2.png"/><Relationship Id="rId10" Type="http://schemas.openxmlformats.org/officeDocument/2006/relationships/theme" Target="../theme/theme51.xml"/><Relationship Id="rId4" Type="http://schemas.openxmlformats.org/officeDocument/2006/relationships/slideLayout" Target="../slideLayouts/slideLayout609.xml"/><Relationship Id="rId9" Type="http://schemas.openxmlformats.org/officeDocument/2006/relationships/slideLayout" Target="../slideLayouts/slideLayout614.xml"/><Relationship Id="rId14" Type="http://schemas.openxmlformats.org/officeDocument/2006/relationships/image" Target="../media/image1.emf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2.xml"/><Relationship Id="rId13" Type="http://schemas.openxmlformats.org/officeDocument/2006/relationships/theme" Target="../theme/theme5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17.xml"/><Relationship Id="rId7" Type="http://schemas.openxmlformats.org/officeDocument/2006/relationships/slideLayout" Target="../slideLayouts/slideLayout621.xml"/><Relationship Id="rId12" Type="http://schemas.openxmlformats.org/officeDocument/2006/relationships/slideLayout" Target="../slideLayouts/slideLayout62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616.xml"/><Relationship Id="rId16" Type="http://schemas.openxmlformats.org/officeDocument/2006/relationships/oleObject" Target="../embeddings/oleObject149.bin"/><Relationship Id="rId1" Type="http://schemas.openxmlformats.org/officeDocument/2006/relationships/slideLayout" Target="../slideLayouts/slideLayout615.xml"/><Relationship Id="rId6" Type="http://schemas.openxmlformats.org/officeDocument/2006/relationships/slideLayout" Target="../slideLayouts/slideLayout620.xml"/><Relationship Id="rId11" Type="http://schemas.openxmlformats.org/officeDocument/2006/relationships/slideLayout" Target="../slideLayouts/slideLayout625.xml"/><Relationship Id="rId5" Type="http://schemas.openxmlformats.org/officeDocument/2006/relationships/slideLayout" Target="../slideLayouts/slideLayout619.xml"/><Relationship Id="rId15" Type="http://schemas.openxmlformats.org/officeDocument/2006/relationships/tags" Target="../tags/tag210.xml"/><Relationship Id="rId10" Type="http://schemas.openxmlformats.org/officeDocument/2006/relationships/slideLayout" Target="../slideLayouts/slideLayout624.xml"/><Relationship Id="rId4" Type="http://schemas.openxmlformats.org/officeDocument/2006/relationships/slideLayout" Target="../slideLayouts/slideLayout618.xml"/><Relationship Id="rId9" Type="http://schemas.openxmlformats.org/officeDocument/2006/relationships/slideLayout" Target="../slideLayouts/slideLayout623.xml"/><Relationship Id="rId14" Type="http://schemas.openxmlformats.org/officeDocument/2006/relationships/vmlDrawing" Target="../drawings/vmlDrawing149.v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theme" Target="../theme/theme5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29.xml"/><Relationship Id="rId7" Type="http://schemas.openxmlformats.org/officeDocument/2006/relationships/slideLayout" Target="../slideLayouts/slideLayout63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28.xml"/><Relationship Id="rId1" Type="http://schemas.openxmlformats.org/officeDocument/2006/relationships/slideLayout" Target="../slideLayouts/slideLayout627.xml"/><Relationship Id="rId6" Type="http://schemas.openxmlformats.org/officeDocument/2006/relationships/slideLayout" Target="../slideLayouts/slideLayout632.xml"/><Relationship Id="rId11" Type="http://schemas.openxmlformats.org/officeDocument/2006/relationships/oleObject" Target="../embeddings/oleObject152.bin"/><Relationship Id="rId5" Type="http://schemas.openxmlformats.org/officeDocument/2006/relationships/slideLayout" Target="../slideLayouts/slideLayout631.xml"/><Relationship Id="rId10" Type="http://schemas.openxmlformats.org/officeDocument/2006/relationships/tags" Target="../tags/tag223.xml"/><Relationship Id="rId4" Type="http://schemas.openxmlformats.org/officeDocument/2006/relationships/slideLayout" Target="../slideLayouts/slideLayout630.xml"/><Relationship Id="rId9" Type="http://schemas.openxmlformats.org/officeDocument/2006/relationships/vmlDrawing" Target="../drawings/vmlDrawing152.v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1.xml"/><Relationship Id="rId13" Type="http://schemas.openxmlformats.org/officeDocument/2006/relationships/slideLayout" Target="../slideLayouts/slideLayout64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36.xml"/><Relationship Id="rId7" Type="http://schemas.openxmlformats.org/officeDocument/2006/relationships/slideLayout" Target="../slideLayouts/slideLayout640.xml"/><Relationship Id="rId12" Type="http://schemas.openxmlformats.org/officeDocument/2006/relationships/slideLayout" Target="../slideLayouts/slideLayout645.xml"/><Relationship Id="rId17" Type="http://schemas.openxmlformats.org/officeDocument/2006/relationships/oleObject" Target="../embeddings/oleObject153.bin"/><Relationship Id="rId2" Type="http://schemas.openxmlformats.org/officeDocument/2006/relationships/slideLayout" Target="../slideLayouts/slideLayout635.xml"/><Relationship Id="rId16" Type="http://schemas.openxmlformats.org/officeDocument/2006/relationships/tags" Target="../tags/tag224.xml"/><Relationship Id="rId1" Type="http://schemas.openxmlformats.org/officeDocument/2006/relationships/slideLayout" Target="../slideLayouts/slideLayout634.xml"/><Relationship Id="rId6" Type="http://schemas.openxmlformats.org/officeDocument/2006/relationships/slideLayout" Target="../slideLayouts/slideLayout639.xml"/><Relationship Id="rId11" Type="http://schemas.openxmlformats.org/officeDocument/2006/relationships/slideLayout" Target="../slideLayouts/slideLayout644.xml"/><Relationship Id="rId5" Type="http://schemas.openxmlformats.org/officeDocument/2006/relationships/slideLayout" Target="../slideLayouts/slideLayout638.xml"/><Relationship Id="rId15" Type="http://schemas.openxmlformats.org/officeDocument/2006/relationships/vmlDrawing" Target="../drawings/vmlDrawing153.vml"/><Relationship Id="rId10" Type="http://schemas.openxmlformats.org/officeDocument/2006/relationships/slideLayout" Target="../slideLayouts/slideLayout64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37.xml"/><Relationship Id="rId9" Type="http://schemas.openxmlformats.org/officeDocument/2006/relationships/slideLayout" Target="../slideLayouts/slideLayout642.xml"/><Relationship Id="rId14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4.xml"/><Relationship Id="rId13" Type="http://schemas.openxmlformats.org/officeDocument/2006/relationships/slideLayout" Target="../slideLayouts/slideLayout65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49.xml"/><Relationship Id="rId7" Type="http://schemas.openxmlformats.org/officeDocument/2006/relationships/slideLayout" Target="../slideLayouts/slideLayout653.xml"/><Relationship Id="rId12" Type="http://schemas.openxmlformats.org/officeDocument/2006/relationships/slideLayout" Target="../slideLayouts/slideLayout658.xml"/><Relationship Id="rId17" Type="http://schemas.openxmlformats.org/officeDocument/2006/relationships/oleObject" Target="../embeddings/oleObject157.bin"/><Relationship Id="rId2" Type="http://schemas.openxmlformats.org/officeDocument/2006/relationships/slideLayout" Target="../slideLayouts/slideLayout648.xml"/><Relationship Id="rId16" Type="http://schemas.openxmlformats.org/officeDocument/2006/relationships/tags" Target="../tags/tag238.xml"/><Relationship Id="rId1" Type="http://schemas.openxmlformats.org/officeDocument/2006/relationships/slideLayout" Target="../slideLayouts/slideLayout647.xml"/><Relationship Id="rId6" Type="http://schemas.openxmlformats.org/officeDocument/2006/relationships/slideLayout" Target="../slideLayouts/slideLayout652.xml"/><Relationship Id="rId11" Type="http://schemas.openxmlformats.org/officeDocument/2006/relationships/slideLayout" Target="../slideLayouts/slideLayout657.xml"/><Relationship Id="rId5" Type="http://schemas.openxmlformats.org/officeDocument/2006/relationships/slideLayout" Target="../slideLayouts/slideLayout651.xml"/><Relationship Id="rId15" Type="http://schemas.openxmlformats.org/officeDocument/2006/relationships/vmlDrawing" Target="../drawings/vmlDrawing157.vml"/><Relationship Id="rId10" Type="http://schemas.openxmlformats.org/officeDocument/2006/relationships/slideLayout" Target="../slideLayouts/slideLayout65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50.xml"/><Relationship Id="rId9" Type="http://schemas.openxmlformats.org/officeDocument/2006/relationships/slideLayout" Target="../slideLayouts/slideLayout655.xml"/><Relationship Id="rId14" Type="http://schemas.openxmlformats.org/officeDocument/2006/relationships/theme" Target="../theme/theme55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7.xml"/><Relationship Id="rId13" Type="http://schemas.openxmlformats.org/officeDocument/2006/relationships/vmlDrawing" Target="../drawings/vmlDrawing161.vml"/><Relationship Id="rId3" Type="http://schemas.openxmlformats.org/officeDocument/2006/relationships/slideLayout" Target="../slideLayouts/slideLayout662.xml"/><Relationship Id="rId7" Type="http://schemas.openxmlformats.org/officeDocument/2006/relationships/slideLayout" Target="../slideLayouts/slideLayout666.xml"/><Relationship Id="rId12" Type="http://schemas.openxmlformats.org/officeDocument/2006/relationships/theme" Target="../theme/theme5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6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60.xml"/><Relationship Id="rId6" Type="http://schemas.openxmlformats.org/officeDocument/2006/relationships/slideLayout" Target="../slideLayouts/slideLayout665.xml"/><Relationship Id="rId11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4.xml"/><Relationship Id="rId15" Type="http://schemas.openxmlformats.org/officeDocument/2006/relationships/oleObject" Target="../embeddings/oleObject161.bin"/><Relationship Id="rId10" Type="http://schemas.openxmlformats.org/officeDocument/2006/relationships/slideLayout" Target="../slideLayouts/slideLayout669.xml"/><Relationship Id="rId4" Type="http://schemas.openxmlformats.org/officeDocument/2006/relationships/slideLayout" Target="../slideLayouts/slideLayout663.xml"/><Relationship Id="rId9" Type="http://schemas.openxmlformats.org/officeDocument/2006/relationships/slideLayout" Target="../slideLayouts/slideLayout668.xml"/><Relationship Id="rId14" Type="http://schemas.openxmlformats.org/officeDocument/2006/relationships/tags" Target="../tags/tag252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8.xml"/><Relationship Id="rId13" Type="http://schemas.openxmlformats.org/officeDocument/2006/relationships/slideLayout" Target="../slideLayouts/slideLayout683.xml"/><Relationship Id="rId18" Type="http://schemas.openxmlformats.org/officeDocument/2006/relationships/tags" Target="../tags/tag254.xml"/><Relationship Id="rId3" Type="http://schemas.openxmlformats.org/officeDocument/2006/relationships/slideLayout" Target="../slideLayouts/slideLayout67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677.xml"/><Relationship Id="rId12" Type="http://schemas.openxmlformats.org/officeDocument/2006/relationships/slideLayout" Target="../slideLayouts/slideLayout682.xml"/><Relationship Id="rId17" Type="http://schemas.openxmlformats.org/officeDocument/2006/relationships/vmlDrawing" Target="../drawings/vmlDrawing163.vml"/><Relationship Id="rId2" Type="http://schemas.openxmlformats.org/officeDocument/2006/relationships/slideLayout" Target="../slideLayouts/slideLayout672.xml"/><Relationship Id="rId16" Type="http://schemas.openxmlformats.org/officeDocument/2006/relationships/theme" Target="../theme/theme5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71.xml"/><Relationship Id="rId6" Type="http://schemas.openxmlformats.org/officeDocument/2006/relationships/slideLayout" Target="../slideLayouts/slideLayout676.xml"/><Relationship Id="rId11" Type="http://schemas.openxmlformats.org/officeDocument/2006/relationships/slideLayout" Target="../slideLayouts/slideLayout681.xml"/><Relationship Id="rId5" Type="http://schemas.openxmlformats.org/officeDocument/2006/relationships/slideLayout" Target="../slideLayouts/slideLayout675.xml"/><Relationship Id="rId15" Type="http://schemas.openxmlformats.org/officeDocument/2006/relationships/slideLayout" Target="../slideLayouts/slideLayout685.xml"/><Relationship Id="rId10" Type="http://schemas.openxmlformats.org/officeDocument/2006/relationships/slideLayout" Target="../slideLayouts/slideLayout680.xml"/><Relationship Id="rId19" Type="http://schemas.openxmlformats.org/officeDocument/2006/relationships/oleObject" Target="../embeddings/oleObject163.bin"/><Relationship Id="rId4" Type="http://schemas.openxmlformats.org/officeDocument/2006/relationships/slideLayout" Target="../slideLayouts/slideLayout674.xml"/><Relationship Id="rId9" Type="http://schemas.openxmlformats.org/officeDocument/2006/relationships/slideLayout" Target="../slideLayouts/slideLayout679.xml"/><Relationship Id="rId14" Type="http://schemas.openxmlformats.org/officeDocument/2006/relationships/slideLayout" Target="../slideLayouts/slideLayout684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3.xml"/><Relationship Id="rId13" Type="http://schemas.openxmlformats.org/officeDocument/2006/relationships/vmlDrawing" Target="../drawings/vmlDrawing168.vml"/><Relationship Id="rId3" Type="http://schemas.openxmlformats.org/officeDocument/2006/relationships/slideLayout" Target="../slideLayouts/slideLayout688.xml"/><Relationship Id="rId7" Type="http://schemas.openxmlformats.org/officeDocument/2006/relationships/slideLayout" Target="../slideLayouts/slideLayout692.xml"/><Relationship Id="rId12" Type="http://schemas.openxmlformats.org/officeDocument/2006/relationships/theme" Target="../theme/theme5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68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86.xml"/><Relationship Id="rId6" Type="http://schemas.openxmlformats.org/officeDocument/2006/relationships/slideLayout" Target="../slideLayouts/slideLayout691.xml"/><Relationship Id="rId11" Type="http://schemas.openxmlformats.org/officeDocument/2006/relationships/slideLayout" Target="../slideLayouts/slideLayout696.xml"/><Relationship Id="rId5" Type="http://schemas.openxmlformats.org/officeDocument/2006/relationships/slideLayout" Target="../slideLayouts/slideLayout690.xml"/><Relationship Id="rId15" Type="http://schemas.openxmlformats.org/officeDocument/2006/relationships/oleObject" Target="../embeddings/oleObject168.bin"/><Relationship Id="rId10" Type="http://schemas.openxmlformats.org/officeDocument/2006/relationships/slideLayout" Target="../slideLayouts/slideLayout695.xml"/><Relationship Id="rId4" Type="http://schemas.openxmlformats.org/officeDocument/2006/relationships/slideLayout" Target="../slideLayouts/slideLayout689.xml"/><Relationship Id="rId9" Type="http://schemas.openxmlformats.org/officeDocument/2006/relationships/slideLayout" Target="../slideLayouts/slideLayout694.xml"/><Relationship Id="rId14" Type="http://schemas.openxmlformats.org/officeDocument/2006/relationships/tags" Target="../tags/tag269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4.xml"/><Relationship Id="rId13" Type="http://schemas.openxmlformats.org/officeDocument/2006/relationships/slideLayout" Target="../slideLayouts/slideLayout709.xml"/><Relationship Id="rId18" Type="http://schemas.openxmlformats.org/officeDocument/2006/relationships/tags" Target="../tags/tag271.xml"/><Relationship Id="rId3" Type="http://schemas.openxmlformats.org/officeDocument/2006/relationships/slideLayout" Target="../slideLayouts/slideLayout699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03.xml"/><Relationship Id="rId12" Type="http://schemas.openxmlformats.org/officeDocument/2006/relationships/slideLayout" Target="../slideLayouts/slideLayout708.xml"/><Relationship Id="rId17" Type="http://schemas.openxmlformats.org/officeDocument/2006/relationships/vmlDrawing" Target="../drawings/vmlDrawing170.vml"/><Relationship Id="rId2" Type="http://schemas.openxmlformats.org/officeDocument/2006/relationships/slideLayout" Target="../slideLayouts/slideLayout698.xml"/><Relationship Id="rId16" Type="http://schemas.openxmlformats.org/officeDocument/2006/relationships/theme" Target="../theme/theme59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97.xml"/><Relationship Id="rId6" Type="http://schemas.openxmlformats.org/officeDocument/2006/relationships/slideLayout" Target="../slideLayouts/slideLayout702.xml"/><Relationship Id="rId11" Type="http://schemas.openxmlformats.org/officeDocument/2006/relationships/slideLayout" Target="../slideLayouts/slideLayout707.xml"/><Relationship Id="rId5" Type="http://schemas.openxmlformats.org/officeDocument/2006/relationships/slideLayout" Target="../slideLayouts/slideLayout701.xml"/><Relationship Id="rId15" Type="http://schemas.openxmlformats.org/officeDocument/2006/relationships/slideLayout" Target="../slideLayouts/slideLayout711.xml"/><Relationship Id="rId10" Type="http://schemas.openxmlformats.org/officeDocument/2006/relationships/slideLayout" Target="../slideLayouts/slideLayout706.xml"/><Relationship Id="rId19" Type="http://schemas.openxmlformats.org/officeDocument/2006/relationships/oleObject" Target="../embeddings/oleObject170.bin"/><Relationship Id="rId4" Type="http://schemas.openxmlformats.org/officeDocument/2006/relationships/slideLayout" Target="../slideLayouts/slideLayout700.xml"/><Relationship Id="rId9" Type="http://schemas.openxmlformats.org/officeDocument/2006/relationships/slideLayout" Target="../slideLayouts/slideLayout705.xml"/><Relationship Id="rId14" Type="http://schemas.openxmlformats.org/officeDocument/2006/relationships/slideLayout" Target="../slideLayouts/slideLayout7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9.xml"/><Relationship Id="rId13" Type="http://schemas.openxmlformats.org/officeDocument/2006/relationships/slideLayout" Target="../slideLayouts/slideLayout72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14.xml"/><Relationship Id="rId7" Type="http://schemas.openxmlformats.org/officeDocument/2006/relationships/slideLayout" Target="../slideLayouts/slideLayout718.xml"/><Relationship Id="rId12" Type="http://schemas.openxmlformats.org/officeDocument/2006/relationships/slideLayout" Target="../slideLayouts/slideLayout723.xml"/><Relationship Id="rId17" Type="http://schemas.openxmlformats.org/officeDocument/2006/relationships/oleObject" Target="../embeddings/oleObject175.bin"/><Relationship Id="rId2" Type="http://schemas.openxmlformats.org/officeDocument/2006/relationships/slideLayout" Target="../slideLayouts/slideLayout713.xml"/><Relationship Id="rId16" Type="http://schemas.openxmlformats.org/officeDocument/2006/relationships/tags" Target="../tags/tag286.xml"/><Relationship Id="rId1" Type="http://schemas.openxmlformats.org/officeDocument/2006/relationships/slideLayout" Target="../slideLayouts/slideLayout712.xml"/><Relationship Id="rId6" Type="http://schemas.openxmlformats.org/officeDocument/2006/relationships/slideLayout" Target="../slideLayouts/slideLayout717.xml"/><Relationship Id="rId11" Type="http://schemas.openxmlformats.org/officeDocument/2006/relationships/slideLayout" Target="../slideLayouts/slideLayout722.xml"/><Relationship Id="rId5" Type="http://schemas.openxmlformats.org/officeDocument/2006/relationships/slideLayout" Target="../slideLayouts/slideLayout716.xml"/><Relationship Id="rId15" Type="http://schemas.openxmlformats.org/officeDocument/2006/relationships/vmlDrawing" Target="../drawings/vmlDrawing175.vml"/><Relationship Id="rId10" Type="http://schemas.openxmlformats.org/officeDocument/2006/relationships/slideLayout" Target="../slideLayouts/slideLayout72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15.xml"/><Relationship Id="rId9" Type="http://schemas.openxmlformats.org/officeDocument/2006/relationships/slideLayout" Target="../slideLayouts/slideLayout720.xml"/><Relationship Id="rId14" Type="http://schemas.openxmlformats.org/officeDocument/2006/relationships/theme" Target="../theme/theme60.xml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2.xml"/><Relationship Id="rId13" Type="http://schemas.openxmlformats.org/officeDocument/2006/relationships/slideLayout" Target="../slideLayouts/slideLayout737.xml"/><Relationship Id="rId18" Type="http://schemas.openxmlformats.org/officeDocument/2006/relationships/theme" Target="../theme/theme61.xml"/><Relationship Id="rId3" Type="http://schemas.openxmlformats.org/officeDocument/2006/relationships/slideLayout" Target="../slideLayouts/slideLayout727.xml"/><Relationship Id="rId21" Type="http://schemas.openxmlformats.org/officeDocument/2006/relationships/oleObject" Target="../embeddings/oleObject179.bin"/><Relationship Id="rId7" Type="http://schemas.openxmlformats.org/officeDocument/2006/relationships/slideLayout" Target="../slideLayouts/slideLayout731.xml"/><Relationship Id="rId12" Type="http://schemas.openxmlformats.org/officeDocument/2006/relationships/slideLayout" Target="../slideLayouts/slideLayout736.xml"/><Relationship Id="rId17" Type="http://schemas.openxmlformats.org/officeDocument/2006/relationships/slideLayout" Target="../slideLayouts/slideLayout741.xml"/><Relationship Id="rId2" Type="http://schemas.openxmlformats.org/officeDocument/2006/relationships/slideLayout" Target="../slideLayouts/slideLayout726.xml"/><Relationship Id="rId16" Type="http://schemas.openxmlformats.org/officeDocument/2006/relationships/slideLayout" Target="../slideLayouts/slideLayout740.xml"/><Relationship Id="rId20" Type="http://schemas.openxmlformats.org/officeDocument/2006/relationships/tags" Target="../tags/tag300.xml"/><Relationship Id="rId1" Type="http://schemas.openxmlformats.org/officeDocument/2006/relationships/slideLayout" Target="../slideLayouts/slideLayout725.xml"/><Relationship Id="rId6" Type="http://schemas.openxmlformats.org/officeDocument/2006/relationships/slideLayout" Target="../slideLayouts/slideLayout730.xml"/><Relationship Id="rId11" Type="http://schemas.openxmlformats.org/officeDocument/2006/relationships/slideLayout" Target="../slideLayouts/slideLayout735.xml"/><Relationship Id="rId5" Type="http://schemas.openxmlformats.org/officeDocument/2006/relationships/slideLayout" Target="../slideLayouts/slideLayout729.xml"/><Relationship Id="rId15" Type="http://schemas.openxmlformats.org/officeDocument/2006/relationships/slideLayout" Target="../slideLayouts/slideLayout739.xml"/><Relationship Id="rId23" Type="http://schemas.openxmlformats.org/officeDocument/2006/relationships/image" Target="../media/image20.png"/><Relationship Id="rId10" Type="http://schemas.openxmlformats.org/officeDocument/2006/relationships/slideLayout" Target="../slideLayouts/slideLayout734.xml"/><Relationship Id="rId19" Type="http://schemas.openxmlformats.org/officeDocument/2006/relationships/vmlDrawing" Target="../drawings/vmlDrawing179.vml"/><Relationship Id="rId4" Type="http://schemas.openxmlformats.org/officeDocument/2006/relationships/slideLayout" Target="../slideLayouts/slideLayout728.xml"/><Relationship Id="rId9" Type="http://schemas.openxmlformats.org/officeDocument/2006/relationships/slideLayout" Target="../slideLayouts/slideLayout733.xml"/><Relationship Id="rId14" Type="http://schemas.openxmlformats.org/officeDocument/2006/relationships/slideLayout" Target="../slideLayouts/slideLayout738.xml"/><Relationship Id="rId22" Type="http://schemas.openxmlformats.org/officeDocument/2006/relationships/image" Target="../media/image16.emf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9.xml"/><Relationship Id="rId13" Type="http://schemas.openxmlformats.org/officeDocument/2006/relationships/tags" Target="../tags/tag304.xml"/><Relationship Id="rId3" Type="http://schemas.openxmlformats.org/officeDocument/2006/relationships/slideLayout" Target="../slideLayouts/slideLayout744.xml"/><Relationship Id="rId7" Type="http://schemas.openxmlformats.org/officeDocument/2006/relationships/slideLayout" Target="../slideLayouts/slideLayout748.xml"/><Relationship Id="rId12" Type="http://schemas.openxmlformats.org/officeDocument/2006/relationships/vmlDrawing" Target="../drawings/vmlDrawing183.vml"/><Relationship Id="rId2" Type="http://schemas.openxmlformats.org/officeDocument/2006/relationships/slideLayout" Target="../slideLayouts/slideLayout74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42.xml"/><Relationship Id="rId6" Type="http://schemas.openxmlformats.org/officeDocument/2006/relationships/slideLayout" Target="../slideLayouts/slideLayout747.xml"/><Relationship Id="rId11" Type="http://schemas.openxmlformats.org/officeDocument/2006/relationships/theme" Target="../theme/theme62.xml"/><Relationship Id="rId5" Type="http://schemas.openxmlformats.org/officeDocument/2006/relationships/slideLayout" Target="../slideLayouts/slideLayout74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51.xml"/><Relationship Id="rId4" Type="http://schemas.openxmlformats.org/officeDocument/2006/relationships/slideLayout" Target="../slideLayouts/slideLayout745.xml"/><Relationship Id="rId9" Type="http://schemas.openxmlformats.org/officeDocument/2006/relationships/slideLayout" Target="../slideLayouts/slideLayout750.xml"/><Relationship Id="rId14" Type="http://schemas.openxmlformats.org/officeDocument/2006/relationships/oleObject" Target="../embeddings/oleObject183.bin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9.xml"/><Relationship Id="rId13" Type="http://schemas.openxmlformats.org/officeDocument/2006/relationships/slideLayout" Target="../slideLayouts/slideLayout76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54.xml"/><Relationship Id="rId7" Type="http://schemas.openxmlformats.org/officeDocument/2006/relationships/slideLayout" Target="../slideLayouts/slideLayout758.xml"/><Relationship Id="rId12" Type="http://schemas.openxmlformats.org/officeDocument/2006/relationships/slideLayout" Target="../slideLayouts/slideLayout763.xml"/><Relationship Id="rId17" Type="http://schemas.openxmlformats.org/officeDocument/2006/relationships/oleObject" Target="../embeddings/oleObject186.bin"/><Relationship Id="rId2" Type="http://schemas.openxmlformats.org/officeDocument/2006/relationships/slideLayout" Target="../slideLayouts/slideLayout753.xml"/><Relationship Id="rId16" Type="http://schemas.openxmlformats.org/officeDocument/2006/relationships/tags" Target="../tags/tag307.xml"/><Relationship Id="rId1" Type="http://schemas.openxmlformats.org/officeDocument/2006/relationships/slideLayout" Target="../slideLayouts/slideLayout752.xml"/><Relationship Id="rId6" Type="http://schemas.openxmlformats.org/officeDocument/2006/relationships/slideLayout" Target="../slideLayouts/slideLayout757.xml"/><Relationship Id="rId11" Type="http://schemas.openxmlformats.org/officeDocument/2006/relationships/slideLayout" Target="../slideLayouts/slideLayout762.xml"/><Relationship Id="rId5" Type="http://schemas.openxmlformats.org/officeDocument/2006/relationships/slideLayout" Target="../slideLayouts/slideLayout756.xml"/><Relationship Id="rId15" Type="http://schemas.openxmlformats.org/officeDocument/2006/relationships/vmlDrawing" Target="../drawings/vmlDrawing186.vml"/><Relationship Id="rId10" Type="http://schemas.openxmlformats.org/officeDocument/2006/relationships/slideLayout" Target="../slideLayouts/slideLayout761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755.xml"/><Relationship Id="rId9" Type="http://schemas.openxmlformats.org/officeDocument/2006/relationships/slideLayout" Target="../slideLayouts/slideLayout760.xml"/><Relationship Id="rId14" Type="http://schemas.openxmlformats.org/officeDocument/2006/relationships/theme" Target="../theme/theme63.xml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2.xml"/><Relationship Id="rId13" Type="http://schemas.openxmlformats.org/officeDocument/2006/relationships/tags" Target="../tags/tag311.xml"/><Relationship Id="rId3" Type="http://schemas.openxmlformats.org/officeDocument/2006/relationships/slideLayout" Target="../slideLayouts/slideLayout767.xml"/><Relationship Id="rId7" Type="http://schemas.openxmlformats.org/officeDocument/2006/relationships/slideLayout" Target="../slideLayouts/slideLayout771.xml"/><Relationship Id="rId12" Type="http://schemas.openxmlformats.org/officeDocument/2006/relationships/vmlDrawing" Target="../drawings/vmlDrawing190.vml"/><Relationship Id="rId2" Type="http://schemas.openxmlformats.org/officeDocument/2006/relationships/slideLayout" Target="../slideLayouts/slideLayout76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65.xml"/><Relationship Id="rId6" Type="http://schemas.openxmlformats.org/officeDocument/2006/relationships/slideLayout" Target="../slideLayouts/slideLayout770.xml"/><Relationship Id="rId11" Type="http://schemas.openxmlformats.org/officeDocument/2006/relationships/theme" Target="../theme/theme64.xml"/><Relationship Id="rId5" Type="http://schemas.openxmlformats.org/officeDocument/2006/relationships/slideLayout" Target="../slideLayouts/slideLayout76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74.xml"/><Relationship Id="rId4" Type="http://schemas.openxmlformats.org/officeDocument/2006/relationships/slideLayout" Target="../slideLayouts/slideLayout768.xml"/><Relationship Id="rId9" Type="http://schemas.openxmlformats.org/officeDocument/2006/relationships/slideLayout" Target="../slideLayouts/slideLayout773.xml"/><Relationship Id="rId14" Type="http://schemas.openxmlformats.org/officeDocument/2006/relationships/oleObject" Target="../embeddings/oleObject190.bin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2.xml"/><Relationship Id="rId13" Type="http://schemas.openxmlformats.org/officeDocument/2006/relationships/slideLayout" Target="../slideLayouts/slideLayout787.xml"/><Relationship Id="rId18" Type="http://schemas.openxmlformats.org/officeDocument/2006/relationships/theme" Target="../theme/theme65.xml"/><Relationship Id="rId3" Type="http://schemas.openxmlformats.org/officeDocument/2006/relationships/slideLayout" Target="../slideLayouts/slideLayout777.xml"/><Relationship Id="rId21" Type="http://schemas.openxmlformats.org/officeDocument/2006/relationships/oleObject" Target="../embeddings/oleObject193.bin"/><Relationship Id="rId7" Type="http://schemas.openxmlformats.org/officeDocument/2006/relationships/slideLayout" Target="../slideLayouts/slideLayout781.xml"/><Relationship Id="rId12" Type="http://schemas.openxmlformats.org/officeDocument/2006/relationships/slideLayout" Target="../slideLayouts/slideLayout786.xml"/><Relationship Id="rId17" Type="http://schemas.openxmlformats.org/officeDocument/2006/relationships/slideLayout" Target="../slideLayouts/slideLayout791.xml"/><Relationship Id="rId2" Type="http://schemas.openxmlformats.org/officeDocument/2006/relationships/slideLayout" Target="../slideLayouts/slideLayout776.xml"/><Relationship Id="rId16" Type="http://schemas.openxmlformats.org/officeDocument/2006/relationships/slideLayout" Target="../slideLayouts/slideLayout790.xml"/><Relationship Id="rId20" Type="http://schemas.openxmlformats.org/officeDocument/2006/relationships/tags" Target="../tags/tag314.xml"/><Relationship Id="rId1" Type="http://schemas.openxmlformats.org/officeDocument/2006/relationships/slideLayout" Target="../slideLayouts/slideLayout775.xml"/><Relationship Id="rId6" Type="http://schemas.openxmlformats.org/officeDocument/2006/relationships/slideLayout" Target="../slideLayouts/slideLayout780.xml"/><Relationship Id="rId11" Type="http://schemas.openxmlformats.org/officeDocument/2006/relationships/slideLayout" Target="../slideLayouts/slideLayout785.xml"/><Relationship Id="rId5" Type="http://schemas.openxmlformats.org/officeDocument/2006/relationships/slideLayout" Target="../slideLayouts/slideLayout779.xml"/><Relationship Id="rId15" Type="http://schemas.openxmlformats.org/officeDocument/2006/relationships/slideLayout" Target="../slideLayouts/slideLayout789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784.xml"/><Relationship Id="rId19" Type="http://schemas.openxmlformats.org/officeDocument/2006/relationships/vmlDrawing" Target="../drawings/vmlDrawing193.vml"/><Relationship Id="rId4" Type="http://schemas.openxmlformats.org/officeDocument/2006/relationships/slideLayout" Target="../slideLayouts/slideLayout778.xml"/><Relationship Id="rId9" Type="http://schemas.openxmlformats.org/officeDocument/2006/relationships/slideLayout" Target="../slideLayouts/slideLayout783.xml"/><Relationship Id="rId14" Type="http://schemas.openxmlformats.org/officeDocument/2006/relationships/slideLayout" Target="../slideLayouts/slideLayout788.xml"/><Relationship Id="rId22" Type="http://schemas.openxmlformats.org/officeDocument/2006/relationships/image" Target="../media/image1.emf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9.xml"/><Relationship Id="rId13" Type="http://schemas.openxmlformats.org/officeDocument/2006/relationships/vmlDrawing" Target="../drawings/vmlDrawing200.vml"/><Relationship Id="rId3" Type="http://schemas.openxmlformats.org/officeDocument/2006/relationships/slideLayout" Target="../slideLayouts/slideLayout794.xml"/><Relationship Id="rId7" Type="http://schemas.openxmlformats.org/officeDocument/2006/relationships/slideLayout" Target="../slideLayouts/slideLayout798.xml"/><Relationship Id="rId12" Type="http://schemas.openxmlformats.org/officeDocument/2006/relationships/theme" Target="../theme/theme6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9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92.xml"/><Relationship Id="rId6" Type="http://schemas.openxmlformats.org/officeDocument/2006/relationships/slideLayout" Target="../slideLayouts/slideLayout797.xml"/><Relationship Id="rId11" Type="http://schemas.openxmlformats.org/officeDocument/2006/relationships/slideLayout" Target="../slideLayouts/slideLayout802.xml"/><Relationship Id="rId5" Type="http://schemas.openxmlformats.org/officeDocument/2006/relationships/slideLayout" Target="../slideLayouts/slideLayout796.xml"/><Relationship Id="rId15" Type="http://schemas.openxmlformats.org/officeDocument/2006/relationships/oleObject" Target="../embeddings/oleObject200.bin"/><Relationship Id="rId10" Type="http://schemas.openxmlformats.org/officeDocument/2006/relationships/slideLayout" Target="../slideLayouts/slideLayout801.xml"/><Relationship Id="rId4" Type="http://schemas.openxmlformats.org/officeDocument/2006/relationships/slideLayout" Target="../slideLayouts/slideLayout795.xml"/><Relationship Id="rId9" Type="http://schemas.openxmlformats.org/officeDocument/2006/relationships/slideLayout" Target="../slideLayouts/slideLayout800.xml"/><Relationship Id="rId14" Type="http://schemas.openxmlformats.org/officeDocument/2006/relationships/tags" Target="../tags/tag331.xml"/></Relationships>
</file>

<file path=ppt/slideMasters/_rels/slideMaster6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0.xml"/><Relationship Id="rId13" Type="http://schemas.openxmlformats.org/officeDocument/2006/relationships/tags" Target="../tags/tag345.xml"/><Relationship Id="rId3" Type="http://schemas.openxmlformats.org/officeDocument/2006/relationships/slideLayout" Target="../slideLayouts/slideLayout805.xml"/><Relationship Id="rId7" Type="http://schemas.openxmlformats.org/officeDocument/2006/relationships/slideLayout" Target="../slideLayouts/slideLayout809.xml"/><Relationship Id="rId12" Type="http://schemas.openxmlformats.org/officeDocument/2006/relationships/vmlDrawing" Target="../drawings/vmlDrawing204.vml"/><Relationship Id="rId2" Type="http://schemas.openxmlformats.org/officeDocument/2006/relationships/slideLayout" Target="../slideLayouts/slideLayout80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803.xml"/><Relationship Id="rId6" Type="http://schemas.openxmlformats.org/officeDocument/2006/relationships/slideLayout" Target="../slideLayouts/slideLayout808.xml"/><Relationship Id="rId11" Type="http://schemas.openxmlformats.org/officeDocument/2006/relationships/theme" Target="../theme/theme67.xml"/><Relationship Id="rId5" Type="http://schemas.openxmlformats.org/officeDocument/2006/relationships/slideLayout" Target="../slideLayouts/slideLayout80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812.xml"/><Relationship Id="rId4" Type="http://schemas.openxmlformats.org/officeDocument/2006/relationships/slideLayout" Target="../slideLayouts/slideLayout806.xml"/><Relationship Id="rId9" Type="http://schemas.openxmlformats.org/officeDocument/2006/relationships/slideLayout" Target="../slideLayouts/slideLayout811.xml"/><Relationship Id="rId14" Type="http://schemas.openxmlformats.org/officeDocument/2006/relationships/oleObject" Target="../embeddings/oleObject204.bin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0.xml"/><Relationship Id="rId13" Type="http://schemas.openxmlformats.org/officeDocument/2006/relationships/vmlDrawing" Target="../drawings/vmlDrawing207.vml"/><Relationship Id="rId3" Type="http://schemas.openxmlformats.org/officeDocument/2006/relationships/slideLayout" Target="../slideLayouts/slideLayout815.xml"/><Relationship Id="rId7" Type="http://schemas.openxmlformats.org/officeDocument/2006/relationships/slideLayout" Target="../slideLayouts/slideLayout819.xml"/><Relationship Id="rId12" Type="http://schemas.openxmlformats.org/officeDocument/2006/relationships/theme" Target="../theme/theme68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1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13.xml"/><Relationship Id="rId6" Type="http://schemas.openxmlformats.org/officeDocument/2006/relationships/slideLayout" Target="../slideLayouts/slideLayout818.xml"/><Relationship Id="rId11" Type="http://schemas.openxmlformats.org/officeDocument/2006/relationships/slideLayout" Target="../slideLayouts/slideLayout823.xml"/><Relationship Id="rId5" Type="http://schemas.openxmlformats.org/officeDocument/2006/relationships/slideLayout" Target="../slideLayouts/slideLayout817.xml"/><Relationship Id="rId15" Type="http://schemas.openxmlformats.org/officeDocument/2006/relationships/oleObject" Target="../embeddings/oleObject207.bin"/><Relationship Id="rId10" Type="http://schemas.openxmlformats.org/officeDocument/2006/relationships/slideLayout" Target="../slideLayouts/slideLayout822.xml"/><Relationship Id="rId4" Type="http://schemas.openxmlformats.org/officeDocument/2006/relationships/slideLayout" Target="../slideLayouts/slideLayout816.xml"/><Relationship Id="rId9" Type="http://schemas.openxmlformats.org/officeDocument/2006/relationships/slideLayout" Target="../slideLayouts/slideLayout821.xml"/><Relationship Id="rId14" Type="http://schemas.openxmlformats.org/officeDocument/2006/relationships/tags" Target="../tags/tag348.xml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1.xml"/><Relationship Id="rId13" Type="http://schemas.openxmlformats.org/officeDocument/2006/relationships/slideLayout" Target="../slideLayouts/slideLayout83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826.xml"/><Relationship Id="rId7" Type="http://schemas.openxmlformats.org/officeDocument/2006/relationships/slideLayout" Target="../slideLayouts/slideLayout830.xml"/><Relationship Id="rId12" Type="http://schemas.openxmlformats.org/officeDocument/2006/relationships/slideLayout" Target="../slideLayouts/slideLayout835.xml"/><Relationship Id="rId17" Type="http://schemas.openxmlformats.org/officeDocument/2006/relationships/oleObject" Target="../embeddings/oleObject209.bin"/><Relationship Id="rId2" Type="http://schemas.openxmlformats.org/officeDocument/2006/relationships/slideLayout" Target="../slideLayouts/slideLayout825.xml"/><Relationship Id="rId16" Type="http://schemas.openxmlformats.org/officeDocument/2006/relationships/tags" Target="../tags/tag350.xml"/><Relationship Id="rId1" Type="http://schemas.openxmlformats.org/officeDocument/2006/relationships/slideLayout" Target="../slideLayouts/slideLayout824.xml"/><Relationship Id="rId6" Type="http://schemas.openxmlformats.org/officeDocument/2006/relationships/slideLayout" Target="../slideLayouts/slideLayout829.xml"/><Relationship Id="rId11" Type="http://schemas.openxmlformats.org/officeDocument/2006/relationships/slideLayout" Target="../slideLayouts/slideLayout834.xml"/><Relationship Id="rId5" Type="http://schemas.openxmlformats.org/officeDocument/2006/relationships/slideLayout" Target="../slideLayouts/slideLayout828.xml"/><Relationship Id="rId15" Type="http://schemas.openxmlformats.org/officeDocument/2006/relationships/vmlDrawing" Target="../drawings/vmlDrawing209.vml"/><Relationship Id="rId10" Type="http://schemas.openxmlformats.org/officeDocument/2006/relationships/slideLayout" Target="../slideLayouts/slideLayout833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827.xml"/><Relationship Id="rId9" Type="http://schemas.openxmlformats.org/officeDocument/2006/relationships/slideLayout" Target="../slideLayouts/slideLayout832.xml"/><Relationship Id="rId14" Type="http://schemas.openxmlformats.org/officeDocument/2006/relationships/theme" Target="../theme/theme6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oleObject" Target="../embeddings/oleObject14.bin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ags" Target="../tags/tag25.xml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4.xml"/><Relationship Id="rId13" Type="http://schemas.openxmlformats.org/officeDocument/2006/relationships/slideLayout" Target="../slideLayouts/slideLayout849.xml"/><Relationship Id="rId18" Type="http://schemas.openxmlformats.org/officeDocument/2006/relationships/vmlDrawing" Target="../drawings/vmlDrawing213.vml"/><Relationship Id="rId3" Type="http://schemas.openxmlformats.org/officeDocument/2006/relationships/slideLayout" Target="../slideLayouts/slideLayout839.xml"/><Relationship Id="rId21" Type="http://schemas.openxmlformats.org/officeDocument/2006/relationships/image" Target="../media/image16.emf"/><Relationship Id="rId7" Type="http://schemas.openxmlformats.org/officeDocument/2006/relationships/slideLayout" Target="../slideLayouts/slideLayout843.xml"/><Relationship Id="rId12" Type="http://schemas.openxmlformats.org/officeDocument/2006/relationships/slideLayout" Target="../slideLayouts/slideLayout848.xml"/><Relationship Id="rId17" Type="http://schemas.openxmlformats.org/officeDocument/2006/relationships/theme" Target="../theme/theme70.xml"/><Relationship Id="rId2" Type="http://schemas.openxmlformats.org/officeDocument/2006/relationships/slideLayout" Target="../slideLayouts/slideLayout838.xml"/><Relationship Id="rId16" Type="http://schemas.openxmlformats.org/officeDocument/2006/relationships/slideLayout" Target="../slideLayouts/slideLayout852.xml"/><Relationship Id="rId20" Type="http://schemas.openxmlformats.org/officeDocument/2006/relationships/oleObject" Target="../embeddings/oleObject213.bin"/><Relationship Id="rId1" Type="http://schemas.openxmlformats.org/officeDocument/2006/relationships/slideLayout" Target="../slideLayouts/slideLayout837.xml"/><Relationship Id="rId6" Type="http://schemas.openxmlformats.org/officeDocument/2006/relationships/slideLayout" Target="../slideLayouts/slideLayout842.xml"/><Relationship Id="rId11" Type="http://schemas.openxmlformats.org/officeDocument/2006/relationships/slideLayout" Target="../slideLayouts/slideLayout847.xml"/><Relationship Id="rId5" Type="http://schemas.openxmlformats.org/officeDocument/2006/relationships/slideLayout" Target="../slideLayouts/slideLayout841.xml"/><Relationship Id="rId15" Type="http://schemas.openxmlformats.org/officeDocument/2006/relationships/slideLayout" Target="../slideLayouts/slideLayout851.xml"/><Relationship Id="rId10" Type="http://schemas.openxmlformats.org/officeDocument/2006/relationships/slideLayout" Target="../slideLayouts/slideLayout846.xml"/><Relationship Id="rId19" Type="http://schemas.openxmlformats.org/officeDocument/2006/relationships/tags" Target="../tags/tag354.xml"/><Relationship Id="rId4" Type="http://schemas.openxmlformats.org/officeDocument/2006/relationships/slideLayout" Target="../slideLayouts/slideLayout840.xml"/><Relationship Id="rId9" Type="http://schemas.openxmlformats.org/officeDocument/2006/relationships/slideLayout" Target="../slideLayouts/slideLayout845.xml"/><Relationship Id="rId14" Type="http://schemas.openxmlformats.org/officeDocument/2006/relationships/slideLayout" Target="../slideLayouts/slideLayout850.xml"/><Relationship Id="rId22" Type="http://schemas.openxmlformats.org/officeDocument/2006/relationships/image" Target="../media/image23.png"/></Relationships>
</file>

<file path=ppt/slideMasters/_rels/slideMaster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0.xml"/><Relationship Id="rId13" Type="http://schemas.openxmlformats.org/officeDocument/2006/relationships/vmlDrawing" Target="../drawings/vmlDrawing214.vml"/><Relationship Id="rId3" Type="http://schemas.openxmlformats.org/officeDocument/2006/relationships/slideLayout" Target="../slideLayouts/slideLayout855.xml"/><Relationship Id="rId7" Type="http://schemas.openxmlformats.org/officeDocument/2006/relationships/slideLayout" Target="../slideLayouts/slideLayout859.xml"/><Relationship Id="rId12" Type="http://schemas.openxmlformats.org/officeDocument/2006/relationships/theme" Target="../theme/theme7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5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53.xml"/><Relationship Id="rId6" Type="http://schemas.openxmlformats.org/officeDocument/2006/relationships/slideLayout" Target="../slideLayouts/slideLayout858.xml"/><Relationship Id="rId11" Type="http://schemas.openxmlformats.org/officeDocument/2006/relationships/slideLayout" Target="../slideLayouts/slideLayout863.xml"/><Relationship Id="rId5" Type="http://schemas.openxmlformats.org/officeDocument/2006/relationships/slideLayout" Target="../slideLayouts/slideLayout857.xml"/><Relationship Id="rId15" Type="http://schemas.openxmlformats.org/officeDocument/2006/relationships/oleObject" Target="../embeddings/oleObject214.bin"/><Relationship Id="rId10" Type="http://schemas.openxmlformats.org/officeDocument/2006/relationships/slideLayout" Target="../slideLayouts/slideLayout862.xml"/><Relationship Id="rId4" Type="http://schemas.openxmlformats.org/officeDocument/2006/relationships/slideLayout" Target="../slideLayouts/slideLayout856.xml"/><Relationship Id="rId9" Type="http://schemas.openxmlformats.org/officeDocument/2006/relationships/slideLayout" Target="../slideLayouts/slideLayout861.xml"/><Relationship Id="rId14" Type="http://schemas.openxmlformats.org/officeDocument/2006/relationships/tags" Target="../tags/tag35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vmlDrawing" Target="../drawings/vmlDrawing16.v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8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8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ags" Target="../tags/tag2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8.xml"/><Relationship Id="rId16" Type="http://schemas.openxmlformats.org/officeDocument/2006/relationships/oleObject" Target="../embeddings/oleObject18.bin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tags" Target="../tags/tag29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vmlDrawing" Target="../drawings/vmlDrawing1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0323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60" r:id="rId4"/>
    <p:sldLayoutId id="2147483652" r:id="rId5"/>
    <p:sldLayoutId id="2147483657" r:id="rId6"/>
    <p:sldLayoutId id="2147483659" r:id="rId7"/>
    <p:sldLayoutId id="2147483658" r:id="rId8"/>
    <p:sldLayoutId id="2147483653" r:id="rId9"/>
    <p:sldLayoutId id="2147483654" r:id="rId10"/>
    <p:sldLayoutId id="2147483655" r:id="rId11"/>
    <p:sldLayoutId id="2147487199" r:id="rId12"/>
    <p:sldLayoutId id="2147483661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8029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479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788539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7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892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  <p:sldLayoutId id="2147483982" r:id="rId31"/>
    <p:sldLayoutId id="2147483983" r:id="rId3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147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71343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040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18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30" y="13069638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8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8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r>
              <a:rPr lang="nb-NO"/>
              <a:t> Side </a:t>
            </a:r>
            <a:fld id="{5751DFAA-887F-4071-8EAD-E8CA316FCF06}" type="slidenum">
              <a:rPr lang="nb-NO" smtClean="0"/>
              <a:pPr defTabSz="182779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8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036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</p:sldLayoutIdLst>
  <p:hf hdr="0" ftr="0" dt="0"/>
  <p:txStyles>
    <p:titleStyle>
      <a:lvl1pPr algn="l" defTabSz="182779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735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517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300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082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6871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6439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40335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54233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8128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89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7799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1695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5593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9488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8338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7280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1117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887017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24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6" r:id="rId1"/>
    <p:sldLayoutId id="2147484197" r:id="rId2"/>
    <p:sldLayoutId id="2147484198" r:id="rId3"/>
    <p:sldLayoutId id="2147484199" r:id="rId4"/>
    <p:sldLayoutId id="2147484200" r:id="rId5"/>
    <p:sldLayoutId id="2147484201" r:id="rId6"/>
    <p:sldLayoutId id="2147484202" r:id="rId7"/>
    <p:sldLayoutId id="2147484203" r:id="rId8"/>
    <p:sldLayoutId id="2147484204" r:id="rId9"/>
    <p:sldLayoutId id="2147484205" r:id="rId10"/>
    <p:sldLayoutId id="2147484206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77159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2" y="13069637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15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7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15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7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159"/>
            <a:r>
              <a:rPr lang="nb-NO"/>
              <a:t> Side </a:t>
            </a:r>
            <a:fld id="{5751DFAA-887F-4071-8EAD-E8CA316FCF06}" type="slidenum">
              <a:rPr lang="nb-NO" smtClean="0"/>
              <a:pPr defTabSz="182815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7" y="13094837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29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  <p:sldLayoutId id="2147484306" r:id="rId6"/>
    <p:sldLayoutId id="2147484307" r:id="rId7"/>
    <p:sldLayoutId id="2147484308" r:id="rId8"/>
    <p:sldLayoutId id="2147484309" r:id="rId9"/>
    <p:sldLayoutId id="2147484310" r:id="rId10"/>
    <p:sldLayoutId id="2147484311" r:id="rId11"/>
  </p:sldLayoutIdLst>
  <p:hf hdr="0" ftr="0" dt="0"/>
  <p:txStyles>
    <p:titleStyle>
      <a:lvl1pPr algn="l" defTabSz="182815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39" indent="-539839" algn="l" defTabSz="182815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709" indent="-539839" algn="l" defTabSz="182815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580" indent="-539839" algn="l" defTabSz="182815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7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450" indent="-539839" algn="l" defTabSz="182815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320" indent="-539839" algn="l" defTabSz="182815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439" indent="-457041" algn="l" defTabSz="182815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941519" indent="-457041" algn="l" defTabSz="182815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855601" indent="-457041" algn="l" defTabSz="182815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769680" indent="-457041" algn="l" defTabSz="182815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079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159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239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321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400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484481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398560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312639" algn="l" defTabSz="1828159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52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52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525"/>
            <a:r>
              <a:rPr lang="nb-NO"/>
              <a:t> Side </a:t>
            </a:r>
            <a:fld id="{5751DFAA-887F-4071-8EAD-E8CA316FCF06}" type="slidenum">
              <a:rPr lang="nb-NO" smtClean="0"/>
              <a:pPr defTabSz="182852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7" y="13094837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046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  <p:sldLayoutId id="2147484316" r:id="rId4"/>
    <p:sldLayoutId id="2147484317" r:id="rId5"/>
    <p:sldLayoutId id="2147484318" r:id="rId6"/>
    <p:sldLayoutId id="2147484319" r:id="rId7"/>
    <p:sldLayoutId id="2147484320" r:id="rId8"/>
    <p:sldLayoutId id="2147484321" r:id="rId9"/>
    <p:sldLayoutId id="2147484322" r:id="rId10"/>
    <p:sldLayoutId id="2147484323" r:id="rId11"/>
    <p:sldLayoutId id="2147484324" r:id="rId12"/>
    <p:sldLayoutId id="2147484325" r:id="rId13"/>
  </p:sldLayoutIdLst>
  <p:hf hdr="0" ftr="0" dt="0"/>
  <p:txStyles>
    <p:titleStyle>
      <a:lvl1pPr algn="l" defTabSz="182852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46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903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860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7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816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773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445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709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971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234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62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525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789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051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314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578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840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102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4812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62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  <p:sldLayoutId id="2147484329" r:id="rId3"/>
    <p:sldLayoutId id="2147484330" r:id="rId4"/>
    <p:sldLayoutId id="2147484331" r:id="rId5"/>
    <p:sldLayoutId id="2147484332" r:id="rId6"/>
    <p:sldLayoutId id="2147484333" r:id="rId7"/>
    <p:sldLayoutId id="2147484334" r:id="rId8"/>
    <p:sldLayoutId id="2147484335" r:id="rId9"/>
    <p:sldLayoutId id="2147484336" r:id="rId10"/>
    <p:sldLayoutId id="2147484337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352969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147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6" r:id="rId1"/>
    <p:sldLayoutId id="2147485177" r:id="rId2"/>
    <p:sldLayoutId id="2147485178" r:id="rId3"/>
    <p:sldLayoutId id="2147485179" r:id="rId4"/>
    <p:sldLayoutId id="2147485180" r:id="rId5"/>
    <p:sldLayoutId id="2147485181" r:id="rId6"/>
    <p:sldLayoutId id="2147485182" r:id="rId7"/>
    <p:sldLayoutId id="2147485183" r:id="rId8"/>
    <p:sldLayoutId id="2147485184" r:id="rId9"/>
    <p:sldLayoutId id="2147485185" r:id="rId10"/>
    <p:sldLayoutId id="2147485186" r:id="rId11"/>
    <p:sldLayoutId id="2147485187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10" r:id="rId4"/>
    <p:sldLayoutId id="214748823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8231" r:id="rId14"/>
    <p:sldLayoutId id="2147483709" r:id="rId15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8398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2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1" r:id="rId1"/>
    <p:sldLayoutId id="2147485262" r:id="rId2"/>
    <p:sldLayoutId id="2147485263" r:id="rId3"/>
    <p:sldLayoutId id="2147485264" r:id="rId4"/>
    <p:sldLayoutId id="2147485265" r:id="rId5"/>
    <p:sldLayoutId id="2147485266" r:id="rId6"/>
    <p:sldLayoutId id="2147485267" r:id="rId7"/>
    <p:sldLayoutId id="2147485268" r:id="rId8"/>
    <p:sldLayoutId id="2147485269" r:id="rId9"/>
    <p:sldLayoutId id="2147485270" r:id="rId10"/>
    <p:sldLayoutId id="2147485271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61458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674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3" r:id="rId1"/>
    <p:sldLayoutId id="2147485294" r:id="rId2"/>
    <p:sldLayoutId id="2147485295" r:id="rId3"/>
    <p:sldLayoutId id="2147485296" r:id="rId4"/>
    <p:sldLayoutId id="2147485297" r:id="rId5"/>
    <p:sldLayoutId id="2147485298" r:id="rId6"/>
    <p:sldLayoutId id="2147485299" r:id="rId7"/>
    <p:sldLayoutId id="2147485300" r:id="rId8"/>
    <p:sldLayoutId id="2147485301" r:id="rId9"/>
    <p:sldLayoutId id="2147485302" r:id="rId10"/>
    <p:sldLayoutId id="2147485303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017875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02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7" r:id="rId1"/>
    <p:sldLayoutId id="2147485478" r:id="rId2"/>
    <p:sldLayoutId id="2147485479" r:id="rId3"/>
    <p:sldLayoutId id="2147485480" r:id="rId4"/>
    <p:sldLayoutId id="2147485481" r:id="rId5"/>
    <p:sldLayoutId id="2147485482" r:id="rId6"/>
    <p:sldLayoutId id="2147485483" r:id="rId7"/>
    <p:sldLayoutId id="2147485484" r:id="rId8"/>
    <p:sldLayoutId id="2147485485" r:id="rId9"/>
    <p:sldLayoutId id="2147485486" r:id="rId10"/>
    <p:sldLayoutId id="2147485487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0323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4" r:id="rId1"/>
    <p:sldLayoutId id="2147485665" r:id="rId2"/>
    <p:sldLayoutId id="2147485666" r:id="rId3"/>
    <p:sldLayoutId id="2147485667" r:id="rId4"/>
    <p:sldLayoutId id="2147485668" r:id="rId5"/>
    <p:sldLayoutId id="2147485669" r:id="rId6"/>
    <p:sldLayoutId id="2147485670" r:id="rId7"/>
    <p:sldLayoutId id="2147485671" r:id="rId8"/>
    <p:sldLayoutId id="2147485672" r:id="rId9"/>
    <p:sldLayoutId id="2147485673" r:id="rId10"/>
    <p:sldLayoutId id="2147485674" r:id="rId11"/>
    <p:sldLayoutId id="2147485675" r:id="rId12"/>
    <p:sldLayoutId id="2147485677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20802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22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1" r:id="rId1"/>
    <p:sldLayoutId id="2147485752" r:id="rId2"/>
    <p:sldLayoutId id="2147485753" r:id="rId3"/>
    <p:sldLayoutId id="2147485754" r:id="rId4"/>
    <p:sldLayoutId id="2147485755" r:id="rId5"/>
    <p:sldLayoutId id="2147485756" r:id="rId6"/>
    <p:sldLayoutId id="2147485757" r:id="rId7"/>
    <p:sldLayoutId id="2147485758" r:id="rId8"/>
    <p:sldLayoutId id="2147485759" r:id="rId9"/>
    <p:sldLayoutId id="2147485760" r:id="rId10"/>
    <p:sldLayoutId id="2147485761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7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9" y="13069636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27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6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27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8" y="13069636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275"/>
            <a:r>
              <a:rPr lang="nb-NO"/>
              <a:t> Side </a:t>
            </a:r>
            <a:fld id="{5751DFAA-887F-4071-8EAD-E8CA316FCF06}" type="slidenum">
              <a:rPr lang="nb-NO" smtClean="0"/>
              <a:pPr defTabSz="182827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7" y="13094837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105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3" r:id="rId1"/>
    <p:sldLayoutId id="2147485764" r:id="rId2"/>
    <p:sldLayoutId id="2147485765" r:id="rId3"/>
    <p:sldLayoutId id="2147485766" r:id="rId4"/>
    <p:sldLayoutId id="2147485767" r:id="rId5"/>
    <p:sldLayoutId id="2147485768" r:id="rId6"/>
    <p:sldLayoutId id="2147485769" r:id="rId7"/>
    <p:sldLayoutId id="2147485770" r:id="rId8"/>
    <p:sldLayoutId id="2147485771" r:id="rId9"/>
    <p:sldLayoutId id="2147485772" r:id="rId10"/>
    <p:sldLayoutId id="2147485773" r:id="rId11"/>
  </p:sldLayoutIdLst>
  <p:hf hdr="0" ftr="0" dt="0"/>
  <p:txStyles>
    <p:titleStyle>
      <a:lvl1pPr algn="l" defTabSz="182827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73" indent="-539873" algn="l" defTabSz="182827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768" indent="-539873" algn="l" defTabSz="182827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664" indent="-539873" algn="l" defTabSz="182827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558" indent="-539873" algn="l" defTabSz="182827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461" indent="-539873" algn="l" defTabSz="182827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747" indent="-457070" algn="l" defTabSz="182827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1881" indent="-457070" algn="l" defTabSz="182827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014" indent="-457070" algn="l" defTabSz="182827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148" indent="-457070" algn="l" defTabSz="182827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33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275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409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542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675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4811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8944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077" algn="l" defTabSz="182827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7992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72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92" r:id="rId1"/>
    <p:sldLayoutId id="2147485793" r:id="rId2"/>
    <p:sldLayoutId id="2147485794" r:id="rId3"/>
    <p:sldLayoutId id="2147485795" r:id="rId4"/>
    <p:sldLayoutId id="2147485796" r:id="rId5"/>
    <p:sldLayoutId id="2147485797" r:id="rId6"/>
    <p:sldLayoutId id="2147485798" r:id="rId7"/>
    <p:sldLayoutId id="2147485799" r:id="rId8"/>
    <p:sldLayoutId id="2147485800" r:id="rId9"/>
    <p:sldLayoutId id="2147485801" r:id="rId10"/>
    <p:sldLayoutId id="2147485802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03842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03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04" r:id="rId1"/>
    <p:sldLayoutId id="2147485805" r:id="rId2"/>
    <p:sldLayoutId id="2147485806" r:id="rId3"/>
    <p:sldLayoutId id="2147485807" r:id="rId4"/>
    <p:sldLayoutId id="2147485808" r:id="rId5"/>
    <p:sldLayoutId id="2147485809" r:id="rId6"/>
    <p:sldLayoutId id="2147485810" r:id="rId7"/>
    <p:sldLayoutId id="2147485811" r:id="rId8"/>
    <p:sldLayoutId id="2147485812" r:id="rId9"/>
    <p:sldLayoutId id="2147485813" r:id="rId10"/>
    <p:sldLayoutId id="2147485814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59213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172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6" r:id="rId1"/>
    <p:sldLayoutId id="2147485817" r:id="rId2"/>
    <p:sldLayoutId id="2147485818" r:id="rId3"/>
    <p:sldLayoutId id="2147485819" r:id="rId4"/>
    <p:sldLayoutId id="2147485820" r:id="rId5"/>
    <p:sldLayoutId id="2147485821" r:id="rId6"/>
    <p:sldLayoutId id="2147485822" r:id="rId7"/>
    <p:sldLayoutId id="2147485823" r:id="rId8"/>
    <p:sldLayoutId id="2147485824" r:id="rId9"/>
    <p:sldLayoutId id="2147485825" r:id="rId10"/>
    <p:sldLayoutId id="2147485826" r:id="rId11"/>
    <p:sldLayoutId id="2147485827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72001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194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8" r:id="rId1"/>
    <p:sldLayoutId id="2147485889" r:id="rId2"/>
    <p:sldLayoutId id="2147485890" r:id="rId3"/>
    <p:sldLayoutId id="2147485891" r:id="rId4"/>
    <p:sldLayoutId id="2147485892" r:id="rId5"/>
    <p:sldLayoutId id="2147485893" r:id="rId6"/>
    <p:sldLayoutId id="2147485894" r:id="rId7"/>
    <p:sldLayoutId id="2147485895" r:id="rId8"/>
    <p:sldLayoutId id="2147485896" r:id="rId9"/>
    <p:sldLayoutId id="2147485897" r:id="rId10"/>
    <p:sldLayoutId id="2147485898" r:id="rId11"/>
    <p:sldLayoutId id="2147485899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16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16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165"/>
            <a:r>
              <a:rPr lang="nb-NO"/>
              <a:t> Side </a:t>
            </a:r>
            <a:fld id="{5751DFAA-887F-4071-8EAD-E8CA316FCF06}" type="slidenum">
              <a:rPr lang="nb-NO" smtClean="0"/>
              <a:pPr defTabSz="182816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8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85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</p:sldLayoutIdLst>
  <p:hf hdr="0" ftr="0" dt="0"/>
  <p:txStyles>
    <p:titleStyle>
      <a:lvl1pPr algn="l" defTabSz="182816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41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711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580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448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325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445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41525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55603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9681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4078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165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245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323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401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84482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8560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12638" algn="l" defTabSz="182816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33430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207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75" r:id="rId1"/>
    <p:sldLayoutId id="2147485876" r:id="rId2"/>
    <p:sldLayoutId id="2147485877" r:id="rId3"/>
    <p:sldLayoutId id="2147485878" r:id="rId4"/>
    <p:sldLayoutId id="2147485879" r:id="rId5"/>
    <p:sldLayoutId id="2147485880" r:id="rId6"/>
    <p:sldLayoutId id="2147485881" r:id="rId7"/>
    <p:sldLayoutId id="2147485882" r:id="rId8"/>
    <p:sldLayoutId id="2147485883" r:id="rId9"/>
    <p:sldLayoutId id="2147485884" r:id="rId10"/>
    <p:sldLayoutId id="2147485885" r:id="rId11"/>
    <p:sldLayoutId id="2147485886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496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14" r:id="rId1"/>
    <p:sldLayoutId id="2147485915" r:id="rId2"/>
    <p:sldLayoutId id="2147485916" r:id="rId3"/>
    <p:sldLayoutId id="2147485917" r:id="rId4"/>
    <p:sldLayoutId id="2147485918" r:id="rId5"/>
    <p:sldLayoutId id="2147485919" r:id="rId6"/>
    <p:sldLayoutId id="2147485920" r:id="rId7"/>
    <p:sldLayoutId id="2147485921" r:id="rId8"/>
    <p:sldLayoutId id="2147485922" r:id="rId9"/>
    <p:sldLayoutId id="2147485923" r:id="rId10"/>
    <p:sldLayoutId id="2147485924" r:id="rId11"/>
    <p:sldLayoutId id="2147485925" r:id="rId12"/>
    <p:sldLayoutId id="2147485977" r:id="rId13"/>
    <p:sldLayoutId id="2147485978" r:id="rId14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966918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2823411"/>
            <a:ext cx="21966918" cy="990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253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27" r:id="rId1"/>
    <p:sldLayoutId id="2147485928" r:id="rId2"/>
    <p:sldLayoutId id="2147485929" r:id="rId3"/>
    <p:sldLayoutId id="2147485930" r:id="rId4"/>
    <p:sldLayoutId id="2147485931" r:id="rId5"/>
    <p:sldLayoutId id="2147485932" r:id="rId6"/>
    <p:sldLayoutId id="2147485933" r:id="rId7"/>
    <p:sldLayoutId id="2147485934" r:id="rId8"/>
    <p:sldLayoutId id="2147485935" r:id="rId9"/>
    <p:sldLayoutId id="2147485936" r:id="rId10"/>
    <p:sldLayoutId id="2147485937" r:id="rId11"/>
    <p:sldLayoutId id="2147485938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28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28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20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995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0" r:id="rId1"/>
    <p:sldLayoutId id="2147485941" r:id="rId2"/>
    <p:sldLayoutId id="2147485942" r:id="rId3"/>
    <p:sldLayoutId id="2147485943" r:id="rId4"/>
    <p:sldLayoutId id="2147485944" r:id="rId5"/>
    <p:sldLayoutId id="2147485945" r:id="rId6"/>
    <p:sldLayoutId id="2147485946" r:id="rId7"/>
    <p:sldLayoutId id="2147485947" r:id="rId8"/>
    <p:sldLayoutId id="2147485948" r:id="rId9"/>
    <p:sldLayoutId id="2147485949" r:id="rId10"/>
    <p:sldLayoutId id="2147485950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11269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455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52" r:id="rId1"/>
    <p:sldLayoutId id="2147485953" r:id="rId2"/>
    <p:sldLayoutId id="2147485954" r:id="rId3"/>
    <p:sldLayoutId id="2147485955" r:id="rId4"/>
    <p:sldLayoutId id="2147485956" r:id="rId5"/>
    <p:sldLayoutId id="2147485957" r:id="rId6"/>
    <p:sldLayoutId id="2147485958" r:id="rId7"/>
    <p:sldLayoutId id="2147485959" r:id="rId8"/>
    <p:sldLayoutId id="2147485960" r:id="rId9"/>
    <p:sldLayoutId id="2147485961" r:id="rId10"/>
    <p:sldLayoutId id="2147485962" r:id="rId11"/>
    <p:sldLayoutId id="2147485963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3527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243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80" r:id="rId1"/>
    <p:sldLayoutId id="2147485981" r:id="rId2"/>
    <p:sldLayoutId id="2147485982" r:id="rId3"/>
    <p:sldLayoutId id="2147485983" r:id="rId4"/>
    <p:sldLayoutId id="2147485984" r:id="rId5"/>
    <p:sldLayoutId id="2147485985" r:id="rId6"/>
    <p:sldLayoutId id="2147485986" r:id="rId7"/>
    <p:sldLayoutId id="2147485987" r:id="rId8"/>
    <p:sldLayoutId id="2147485988" r:id="rId9"/>
    <p:sldLayoutId id="2147485989" r:id="rId10"/>
    <p:sldLayoutId id="2147485990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05920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32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2" r:id="rId1"/>
    <p:sldLayoutId id="2147485993" r:id="rId2"/>
    <p:sldLayoutId id="2147485994" r:id="rId3"/>
    <p:sldLayoutId id="2147485995" r:id="rId4"/>
    <p:sldLayoutId id="2147485996" r:id="rId5"/>
    <p:sldLayoutId id="2147485997" r:id="rId6"/>
    <p:sldLayoutId id="2147485998" r:id="rId7"/>
    <p:sldLayoutId id="2147485999" r:id="rId8"/>
    <p:sldLayoutId id="2147486000" r:id="rId9"/>
    <p:sldLayoutId id="2147486001" r:id="rId10"/>
    <p:sldLayoutId id="2147486002" r:id="rId11"/>
    <p:sldLayoutId id="2147486003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53993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155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05" r:id="rId1"/>
    <p:sldLayoutId id="2147486006" r:id="rId2"/>
    <p:sldLayoutId id="2147486007" r:id="rId3"/>
    <p:sldLayoutId id="2147486008" r:id="rId4"/>
    <p:sldLayoutId id="2147486009" r:id="rId5"/>
    <p:sldLayoutId id="2147486010" r:id="rId6"/>
    <p:sldLayoutId id="2147486011" r:id="rId7"/>
    <p:sldLayoutId id="2147486012" r:id="rId8"/>
    <p:sldLayoutId id="2147486013" r:id="rId9"/>
    <p:sldLayoutId id="2147486014" r:id="rId10"/>
    <p:sldLayoutId id="2147486015" r:id="rId11"/>
    <p:sldLayoutId id="2147486016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458413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109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0" r:id="rId1"/>
    <p:sldLayoutId id="2147486181" r:id="rId2"/>
    <p:sldLayoutId id="2147486182" r:id="rId3"/>
    <p:sldLayoutId id="2147486183" r:id="rId4"/>
    <p:sldLayoutId id="2147486184" r:id="rId5"/>
    <p:sldLayoutId id="2147486185" r:id="rId6"/>
    <p:sldLayoutId id="2147486186" r:id="rId7"/>
    <p:sldLayoutId id="2147486187" r:id="rId8"/>
    <p:sldLayoutId id="2147486188" r:id="rId9"/>
    <p:sldLayoutId id="2147486189" r:id="rId10"/>
    <p:sldLayoutId id="2147486190" r:id="rId11"/>
    <p:sldLayoutId id="2147486191" r:id="rId12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01835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230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5" r:id="rId1"/>
    <p:sldLayoutId id="2147486196" r:id="rId2"/>
    <p:sldLayoutId id="2147486197" r:id="rId3"/>
    <p:sldLayoutId id="2147486198" r:id="rId4"/>
    <p:sldLayoutId id="2147486199" r:id="rId5"/>
    <p:sldLayoutId id="2147486200" r:id="rId6"/>
    <p:sldLayoutId id="2147486201" r:id="rId7"/>
    <p:sldLayoutId id="2147486202" r:id="rId8"/>
    <p:sldLayoutId id="2147486203" r:id="rId9"/>
    <p:sldLayoutId id="2147486204" r:id="rId10"/>
    <p:sldLayoutId id="2147486205" r:id="rId11"/>
    <p:sldLayoutId id="2147486206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0421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30" y="13069638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8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8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r>
              <a:rPr lang="nb-NO"/>
              <a:t> Side </a:t>
            </a:r>
            <a:fld id="{5751DFAA-887F-4071-8EAD-E8CA316FCF06}" type="slidenum">
              <a:rPr lang="nb-NO" smtClean="0"/>
              <a:pPr defTabSz="182779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8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19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hf hdr="0" ftr="0" dt="0"/>
  <p:txStyles>
    <p:titleStyle>
      <a:lvl1pPr algn="l" defTabSz="182779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735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517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300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082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6871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6439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40335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54233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8128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89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7799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1695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5593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9488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8338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7280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1117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20267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705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08" r:id="rId1"/>
    <p:sldLayoutId id="2147486209" r:id="rId2"/>
    <p:sldLayoutId id="2147486210" r:id="rId3"/>
    <p:sldLayoutId id="2147486211" r:id="rId4"/>
    <p:sldLayoutId id="2147486212" r:id="rId5"/>
    <p:sldLayoutId id="2147486213" r:id="rId6"/>
    <p:sldLayoutId id="2147486214" r:id="rId7"/>
    <p:sldLayoutId id="2147486215" r:id="rId8"/>
    <p:sldLayoutId id="2147486216" r:id="rId9"/>
    <p:sldLayoutId id="2147486217" r:id="rId10"/>
    <p:sldLayoutId id="2147486218" r:id="rId11"/>
    <p:sldLayoutId id="2147486219" r:id="rId12"/>
    <p:sldLayoutId id="2147486220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85118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7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173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9" r:id="rId1"/>
    <p:sldLayoutId id="2147486610" r:id="rId2"/>
    <p:sldLayoutId id="2147486611" r:id="rId3"/>
    <p:sldLayoutId id="2147486612" r:id="rId4"/>
    <p:sldLayoutId id="2147486613" r:id="rId5"/>
    <p:sldLayoutId id="2147486614" r:id="rId6"/>
    <p:sldLayoutId id="2147486615" r:id="rId7"/>
    <p:sldLayoutId id="2147486616" r:id="rId8"/>
    <p:sldLayoutId id="2147486617" r:id="rId9"/>
    <p:sldLayoutId id="2147486618" r:id="rId10"/>
    <p:sldLayoutId id="2147486619" r:id="rId11"/>
    <p:sldLayoutId id="2147486620" r:id="rId12"/>
    <p:sldLayoutId id="2147486621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04402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415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708" r:id="rId1"/>
    <p:sldLayoutId id="2147487709" r:id="rId2"/>
    <p:sldLayoutId id="2147487710" r:id="rId3"/>
    <p:sldLayoutId id="2147487711" r:id="rId4"/>
    <p:sldLayoutId id="2147487712" r:id="rId5"/>
    <p:sldLayoutId id="2147487713" r:id="rId6"/>
    <p:sldLayoutId id="2147487714" r:id="rId7"/>
    <p:sldLayoutId id="2147487715" r:id="rId8"/>
    <p:sldLayoutId id="2147487716" r:id="rId9"/>
    <p:sldLayoutId id="2147487717" r:id="rId10"/>
    <p:sldLayoutId id="2147487718" r:id="rId11"/>
    <p:sldLayoutId id="2147487719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49278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955" r:id="rId1"/>
    <p:sldLayoutId id="2147487956" r:id="rId2"/>
    <p:sldLayoutId id="2147487957" r:id="rId3"/>
    <p:sldLayoutId id="2147487958" r:id="rId4"/>
    <p:sldLayoutId id="2147487959" r:id="rId5"/>
    <p:sldLayoutId id="2147487960" r:id="rId6"/>
    <p:sldLayoutId id="2147487961" r:id="rId7"/>
    <p:sldLayoutId id="2147487962" r:id="rId8"/>
    <p:sldLayoutId id="2147487963" r:id="rId9"/>
    <p:sldLayoutId id="2147487964" r:id="rId10"/>
    <p:sldLayoutId id="2147487965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1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52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52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525"/>
            <a:r>
              <a:rPr lang="nb-NO"/>
              <a:t> Side </a:t>
            </a:r>
            <a:fld id="{5751DFAA-887F-4071-8EAD-E8CA316FCF06}" type="slidenum">
              <a:rPr lang="nb-NO" smtClean="0"/>
              <a:pPr defTabSz="182852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7" y="13094837"/>
            <a:ext cx="4054053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538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07" r:id="rId1"/>
    <p:sldLayoutId id="2147488108" r:id="rId2"/>
    <p:sldLayoutId id="2147488109" r:id="rId3"/>
    <p:sldLayoutId id="2147488110" r:id="rId4"/>
    <p:sldLayoutId id="2147488111" r:id="rId5"/>
    <p:sldLayoutId id="2147488112" r:id="rId6"/>
    <p:sldLayoutId id="2147488113" r:id="rId7"/>
    <p:sldLayoutId id="2147488114" r:id="rId8"/>
    <p:sldLayoutId id="2147488115" r:id="rId9"/>
    <p:sldLayoutId id="2147488116" r:id="rId10"/>
    <p:sldLayoutId id="2147488117" r:id="rId11"/>
  </p:sldLayoutIdLst>
  <p:hf hdr="0" ftr="0" dt="0"/>
  <p:txStyles>
    <p:titleStyle>
      <a:lvl1pPr algn="l" defTabSz="182852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46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3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903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860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7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816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773" indent="-539946" algn="l" defTabSz="182852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445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709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971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234" indent="-457131" algn="l" defTabSz="182852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62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525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789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051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314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578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840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102" algn="l" defTabSz="1828525" rtl="0" eaLnBrk="1" latinLnBrk="0" hangingPunct="1">
        <a:defRPr sz="3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93963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95"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713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19" r:id="rId1"/>
    <p:sldLayoutId id="2147488120" r:id="rId2"/>
    <p:sldLayoutId id="2147488122" r:id="rId3"/>
    <p:sldLayoutId id="2147488123" r:id="rId4"/>
    <p:sldLayoutId id="2147488124" r:id="rId5"/>
    <p:sldLayoutId id="2147488125" r:id="rId6"/>
    <p:sldLayoutId id="2147488126" r:id="rId7"/>
    <p:sldLayoutId id="2147488127" r:id="rId8"/>
    <p:sldLayoutId id="2147488128" r:id="rId9"/>
    <p:sldLayoutId id="2147488129" r:id="rId10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38794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 dirty="0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96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31" r:id="rId1"/>
    <p:sldLayoutId id="2147488132" r:id="rId2"/>
    <p:sldLayoutId id="2147488133" r:id="rId3"/>
    <p:sldLayoutId id="2147488134" r:id="rId4"/>
    <p:sldLayoutId id="2147488135" r:id="rId5"/>
    <p:sldLayoutId id="2147488136" r:id="rId6"/>
    <p:sldLayoutId id="2147488137" r:id="rId7"/>
    <p:sldLayoutId id="2147488138" r:id="rId8"/>
    <p:sldLayoutId id="2147488139" r:id="rId9"/>
    <p:sldLayoutId id="2147488140" r:id="rId10"/>
    <p:sldLayoutId id="2147488141" r:id="rId11"/>
    <p:sldLayoutId id="2147488142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9667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861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44" r:id="rId1"/>
    <p:sldLayoutId id="2147488145" r:id="rId2"/>
    <p:sldLayoutId id="2147488146" r:id="rId3"/>
    <p:sldLayoutId id="2147488147" r:id="rId4"/>
    <p:sldLayoutId id="2147488148" r:id="rId5"/>
    <p:sldLayoutId id="2147488149" r:id="rId6"/>
    <p:sldLayoutId id="2147488150" r:id="rId7"/>
    <p:sldLayoutId id="2147488151" r:id="rId8"/>
    <p:sldLayoutId id="2147488152" r:id="rId9"/>
    <p:sldLayoutId id="2147488153" r:id="rId10"/>
    <p:sldLayoutId id="2147488154" r:id="rId11"/>
    <p:sldLayoutId id="2147488155" r:id="rId12"/>
    <p:sldLayoutId id="2147488156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93963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11"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9" y="703095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9" y="3636477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0" y="13069633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3"/>
            <a:ext cx="10801350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0" y="13069633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709"/>
            <a:r>
              <a:rPr lang="nb-NO"/>
              <a:t> Side </a:t>
            </a:r>
            <a:fld id="{5751DFAA-887F-4071-8EAD-E8CA316FCF06}" type="slidenum">
              <a:rPr lang="nb-NO" smtClean="0"/>
              <a:pPr defTabSz="182870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722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58" r:id="rId1"/>
    <p:sldLayoutId id="2147488159" r:id="rId2"/>
    <p:sldLayoutId id="2147488160" r:id="rId3"/>
    <p:sldLayoutId id="2147488161" r:id="rId4"/>
    <p:sldLayoutId id="2147488162" r:id="rId5"/>
    <p:sldLayoutId id="2147488163" r:id="rId6"/>
    <p:sldLayoutId id="2147488164" r:id="rId7"/>
    <p:sldLayoutId id="2147488165" r:id="rId8"/>
    <p:sldLayoutId id="2147488166" r:id="rId9"/>
    <p:sldLayoutId id="2147488167" r:id="rId10"/>
    <p:sldLayoutId id="2147488168" r:id="rId11"/>
  </p:sldLayoutIdLst>
  <p:hf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2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4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6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8000" indent="-540000" algn="l" defTabSz="182870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5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34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34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349"/>
            <a:r>
              <a:rPr lang="nb-NO"/>
              <a:t> Side </a:t>
            </a:r>
            <a:fld id="{5751DFAA-887F-4071-8EAD-E8CA316FCF06}" type="slidenum">
              <a:rPr lang="nb-NO" smtClean="0"/>
              <a:pPr defTabSz="182834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66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70" r:id="rId1"/>
    <p:sldLayoutId id="2147488171" r:id="rId2"/>
    <p:sldLayoutId id="2147488172" r:id="rId3"/>
    <p:sldLayoutId id="2147488173" r:id="rId4"/>
    <p:sldLayoutId id="2147488174" r:id="rId5"/>
    <p:sldLayoutId id="2147488175" r:id="rId6"/>
    <p:sldLayoutId id="2147488176" r:id="rId7"/>
    <p:sldLayoutId id="2147488177" r:id="rId8"/>
    <p:sldLayoutId id="2147488178" r:id="rId9"/>
    <p:sldLayoutId id="2147488179" r:id="rId10"/>
    <p:sldLayoutId id="2147488180" r:id="rId11"/>
    <p:sldLayoutId id="2147488181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580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30" y="13069638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8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8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7799"/>
            <a:r>
              <a:rPr lang="nb-NO"/>
              <a:t> Side </a:t>
            </a:r>
            <a:fld id="{5751DFAA-887F-4071-8EAD-E8CA316FCF06}" type="slidenum">
              <a:rPr lang="nb-NO" smtClean="0"/>
              <a:pPr defTabSz="182779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8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790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hf hdr="0" ftr="0" dt="0"/>
  <p:txStyles>
    <p:titleStyle>
      <a:lvl1pPr algn="l" defTabSz="182779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735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517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300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082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6871" indent="-539735" algn="l" defTabSz="182779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6439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40335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54233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8128" indent="-456953" algn="l" defTabSz="182779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89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7799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1695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5593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9488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8338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7280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11176" algn="l" defTabSz="182779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98936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3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50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83" r:id="rId1"/>
    <p:sldLayoutId id="2147488184" r:id="rId2"/>
    <p:sldLayoutId id="2147488185" r:id="rId3"/>
    <p:sldLayoutId id="2147488187" r:id="rId4"/>
    <p:sldLayoutId id="2147488188" r:id="rId5"/>
    <p:sldLayoutId id="2147488189" r:id="rId6"/>
    <p:sldLayoutId id="2147488190" r:id="rId7"/>
    <p:sldLayoutId id="2147488191" r:id="rId8"/>
    <p:sldLayoutId id="2147488192" r:id="rId9"/>
    <p:sldLayoutId id="2147488193" r:id="rId10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7836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7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50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07" r:id="rId1"/>
    <p:sldLayoutId id="2147488208" r:id="rId2"/>
    <p:sldLayoutId id="2147488209" r:id="rId3"/>
    <p:sldLayoutId id="2147488210" r:id="rId4"/>
    <p:sldLayoutId id="2147488211" r:id="rId5"/>
    <p:sldLayoutId id="2147488212" r:id="rId6"/>
    <p:sldLayoutId id="2147488213" r:id="rId7"/>
    <p:sldLayoutId id="2147488214" r:id="rId8"/>
    <p:sldLayoutId id="2147488215" r:id="rId9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2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1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r>
              <a:rPr lang="nb-NO"/>
              <a:t> Side </a:t>
            </a:r>
            <a:fld id="{5751DFAA-887F-4071-8EAD-E8CA316FCF06}" type="slidenum">
              <a:rPr lang="nb-NO" smtClean="0"/>
              <a:pPr defTabSz="182861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592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17" r:id="rId1"/>
    <p:sldLayoutId id="2147488218" r:id="rId2"/>
    <p:sldLayoutId id="2147488220" r:id="rId3"/>
    <p:sldLayoutId id="2147488221" r:id="rId4"/>
    <p:sldLayoutId id="2147488222" r:id="rId5"/>
    <p:sldLayoutId id="2147488223" r:id="rId6"/>
    <p:sldLayoutId id="2147488224" r:id="rId7"/>
    <p:sldLayoutId id="2147488225" r:id="rId8"/>
    <p:sldLayoutId id="2147488226" r:id="rId9"/>
    <p:sldLayoutId id="2147488227" r:id="rId10"/>
    <p:sldLayoutId id="2147488228" r:id="rId11"/>
    <p:sldLayoutId id="2147488229" r:id="rId12"/>
  </p:sldLayoutIdLst>
  <p:hf hdr="0" ftr="0" dt="0"/>
  <p:txStyles>
    <p:titleStyle>
      <a:lvl1pPr algn="l" defTabSz="182861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73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951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930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908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887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59186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99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50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195" r:id="rId1"/>
    <p:sldLayoutId id="2147488196" r:id="rId2"/>
    <p:sldLayoutId id="2147488200" r:id="rId3"/>
    <p:sldLayoutId id="2147488201" r:id="rId4"/>
    <p:sldLayoutId id="2147488202" r:id="rId5"/>
    <p:sldLayoutId id="2147488203" r:id="rId6"/>
    <p:sldLayoutId id="2147488205" r:id="rId7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71843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2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2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1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r>
              <a:rPr lang="nb-NO"/>
              <a:t> Side </a:t>
            </a:r>
            <a:fld id="{5751DFAA-887F-4071-8EAD-E8CA316FCF06}" type="slidenum">
              <a:rPr lang="nb-NO" smtClean="0"/>
              <a:pPr defTabSz="182861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70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33" r:id="rId1"/>
    <p:sldLayoutId id="2147488234" r:id="rId2"/>
    <p:sldLayoutId id="2147488235" r:id="rId3"/>
    <p:sldLayoutId id="2147488236" r:id="rId4"/>
    <p:sldLayoutId id="2147488237" r:id="rId5"/>
    <p:sldLayoutId id="2147488238" r:id="rId6"/>
    <p:sldLayoutId id="2147488239" r:id="rId7"/>
    <p:sldLayoutId id="2147488240" r:id="rId8"/>
    <p:sldLayoutId id="2147488241" r:id="rId9"/>
    <p:sldLayoutId id="2147488242" r:id="rId10"/>
    <p:sldLayoutId id="2147488243" r:id="rId11"/>
    <p:sldLayoutId id="2147488244" r:id="rId12"/>
    <p:sldLayoutId id="2147488245" r:id="rId13"/>
  </p:sldLayoutIdLst>
  <p:hf hdr="0" ftr="0" dt="0"/>
  <p:txStyles>
    <p:titleStyle>
      <a:lvl1pPr algn="l" defTabSz="182861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73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951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930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908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887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1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2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1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r>
              <a:rPr lang="nb-NO"/>
              <a:t> Side </a:t>
            </a:r>
            <a:fld id="{5751DFAA-887F-4071-8EAD-E8CA316FCF06}" type="slidenum">
              <a:rPr lang="nb-NO" smtClean="0"/>
              <a:pPr defTabSz="182861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820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47" r:id="rId1"/>
    <p:sldLayoutId id="2147488248" r:id="rId2"/>
    <p:sldLayoutId id="2147488249" r:id="rId3"/>
    <p:sldLayoutId id="2147488250" r:id="rId4"/>
    <p:sldLayoutId id="2147488251" r:id="rId5"/>
    <p:sldLayoutId id="2147488252" r:id="rId6"/>
    <p:sldLayoutId id="2147488253" r:id="rId7"/>
    <p:sldLayoutId id="2147488254" r:id="rId8"/>
    <p:sldLayoutId id="2147488255" r:id="rId9"/>
    <p:sldLayoutId id="2147488256" r:id="rId10"/>
    <p:sldLayoutId id="2147488257" r:id="rId11"/>
    <p:sldLayoutId id="2147488258" r:id="rId12"/>
    <p:sldLayoutId id="2147488259" r:id="rId13"/>
  </p:sldLayoutIdLst>
  <p:hf hdr="0" ftr="0" dt="0"/>
  <p:txStyles>
    <p:titleStyle>
      <a:lvl1pPr algn="l" defTabSz="182861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73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951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930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908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887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124242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1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0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61" r:id="rId1"/>
    <p:sldLayoutId id="2147488262" r:id="rId2"/>
    <p:sldLayoutId id="2147488263" r:id="rId3"/>
    <p:sldLayoutId id="2147488264" r:id="rId4"/>
    <p:sldLayoutId id="2147488265" r:id="rId5"/>
    <p:sldLayoutId id="2147488266" r:id="rId6"/>
    <p:sldLayoutId id="2147488267" r:id="rId7"/>
    <p:sldLayoutId id="2147488268" r:id="rId8"/>
    <p:sldLayoutId id="2147488269" r:id="rId9"/>
    <p:sldLayoutId id="2147488270" r:id="rId10"/>
    <p:sldLayoutId id="2147488271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6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79" r:id="rId1"/>
    <p:sldLayoutId id="2147488380" r:id="rId2"/>
    <p:sldLayoutId id="2147488381" r:id="rId3"/>
    <p:sldLayoutId id="2147488382" r:id="rId4"/>
    <p:sldLayoutId id="2147488383" r:id="rId5"/>
    <p:sldLayoutId id="2147488384" r:id="rId6"/>
    <p:sldLayoutId id="2147488385" r:id="rId7"/>
    <p:sldLayoutId id="2147488386" r:id="rId8"/>
    <p:sldLayoutId id="2147488387" r:id="rId9"/>
    <p:sldLayoutId id="2147488388" r:id="rId10"/>
    <p:sldLayoutId id="2147488389" r:id="rId11"/>
    <p:sldLayoutId id="2147488390" r:id="rId12"/>
    <p:sldLayoutId id="2147488391" r:id="rId13"/>
    <p:sldLayoutId id="2147488392" r:id="rId14"/>
    <p:sldLayoutId id="2147488393" r:id="rId15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43293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8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05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80" r:id="rId1"/>
    <p:sldLayoutId id="2147488481" r:id="rId2"/>
    <p:sldLayoutId id="2147488482" r:id="rId3"/>
    <p:sldLayoutId id="2147488483" r:id="rId4"/>
    <p:sldLayoutId id="2147488484" r:id="rId5"/>
    <p:sldLayoutId id="2147488485" r:id="rId6"/>
    <p:sldLayoutId id="2147488486" r:id="rId7"/>
    <p:sldLayoutId id="2147488487" r:id="rId8"/>
    <p:sldLayoutId id="2147488488" r:id="rId9"/>
    <p:sldLayoutId id="2147488489" r:id="rId10"/>
    <p:sldLayoutId id="2147488490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30" r:id="rId1"/>
    <p:sldLayoutId id="2147488531" r:id="rId2"/>
    <p:sldLayoutId id="2147488532" r:id="rId3"/>
    <p:sldLayoutId id="2147488533" r:id="rId4"/>
    <p:sldLayoutId id="2147488534" r:id="rId5"/>
    <p:sldLayoutId id="2147488536" r:id="rId6"/>
    <p:sldLayoutId id="2147488537" r:id="rId7"/>
    <p:sldLayoutId id="2147488538" r:id="rId8"/>
    <p:sldLayoutId id="2147488539" r:id="rId9"/>
    <p:sldLayoutId id="2147488540" r:id="rId10"/>
    <p:sldLayoutId id="2147488541" r:id="rId11"/>
    <p:sldLayoutId id="2147488542" r:id="rId12"/>
    <p:sldLayoutId id="2147488543" r:id="rId13"/>
    <p:sldLayoutId id="2147488544" r:id="rId14"/>
    <p:sldLayoutId id="2147488545" r:id="rId15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30" y="13069638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688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8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688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8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6885"/>
            <a:r>
              <a:rPr lang="nb-NO"/>
              <a:t> Side </a:t>
            </a:r>
            <a:fld id="{5751DFAA-887F-4071-8EAD-E8CA316FCF06}" type="slidenum">
              <a:rPr lang="nb-NO" smtClean="0"/>
              <a:pPr defTabSz="182688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8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10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</p:sldLayoutIdLst>
  <p:hf hdr="0" ftr="0" dt="0"/>
  <p:txStyles>
    <p:titleStyle>
      <a:lvl1pPr algn="l" defTabSz="182688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459" indent="-539459" algn="l" defTabSz="182688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033" indent="-539459" algn="l" defTabSz="182688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2600" indent="-539459" algn="l" defTabSz="182688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8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4166" indent="-539459" algn="l" defTabSz="182688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5739" indent="-539459" algn="l" defTabSz="182688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3925" indent="-456727" algn="l" defTabSz="182688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937359" indent="-456727" algn="l" defTabSz="182688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850807" indent="-456727" algn="l" defTabSz="182688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764246" indent="-456727" algn="l" defTabSz="182688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436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6885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40319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3767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7204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80644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4080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07525" algn="l" defTabSz="1826885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5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2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1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1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619"/>
            <a:r>
              <a:rPr lang="nb-NO"/>
              <a:t> Side </a:t>
            </a:r>
            <a:fld id="{5751DFAA-887F-4071-8EAD-E8CA316FCF06}" type="slidenum">
              <a:rPr lang="nb-NO" smtClean="0"/>
              <a:pPr defTabSz="1828619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600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75" r:id="rId1"/>
    <p:sldLayoutId id="2147488576" r:id="rId2"/>
    <p:sldLayoutId id="2147488577" r:id="rId3"/>
    <p:sldLayoutId id="2147488578" r:id="rId4"/>
    <p:sldLayoutId id="2147488579" r:id="rId5"/>
    <p:sldLayoutId id="2147488580" r:id="rId6"/>
    <p:sldLayoutId id="2147488581" r:id="rId7"/>
    <p:sldLayoutId id="2147488582" r:id="rId8"/>
    <p:sldLayoutId id="2147488583" r:id="rId9"/>
    <p:sldLayoutId id="2147488584" r:id="rId10"/>
    <p:sldLayoutId id="2147488585" r:id="rId11"/>
    <p:sldLayoutId id="2147488586" r:id="rId12"/>
    <p:sldLayoutId id="2147488587" r:id="rId13"/>
  </p:sldLayoutIdLst>
  <p:hf hdr="0" ftr="0" dt="0"/>
  <p:txStyles>
    <p:titleStyle>
      <a:lvl1pPr algn="l" defTabSz="182861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973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951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930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908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887" indent="-539973" algn="l" defTabSz="182861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2655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7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655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212080" y="1098138"/>
            <a:ext cx="22159956" cy="144018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2073" y="3258408"/>
            <a:ext cx="22159958" cy="86410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746463" y="12721592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600" b="1">
                <a:solidFill>
                  <a:schemeClr val="tx2"/>
                </a:solidFill>
              </a:defRPr>
            </a:lvl1pPr>
          </a:lstStyle>
          <a:p>
            <a:pPr defTabSz="1828367"/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754456" y="12721592"/>
            <a:ext cx="61758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600" b="1">
                <a:solidFill>
                  <a:schemeClr val="tx2"/>
                </a:solidFill>
              </a:defRPr>
            </a:lvl1pPr>
          </a:lstStyle>
          <a:p>
            <a:pPr defTabSz="1828367"/>
            <a:fld id="{5751DFAA-887F-4071-8EAD-E8CA316FCF06}" type="slidenum">
              <a:rPr lang="nb-NO" smtClean="0">
                <a:solidFill>
                  <a:srgbClr val="2C4457"/>
                </a:solidFill>
              </a:rPr>
              <a:pPr defTabSz="1828367"/>
              <a:t>‹#›</a:t>
            </a:fld>
            <a:endParaRPr lang="nb-NO" dirty="0">
              <a:solidFill>
                <a:srgbClr val="2C4457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03670"/>
            <a:ext cx="6504601" cy="121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862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06" r:id="rId1"/>
    <p:sldLayoutId id="2147488607" r:id="rId2"/>
    <p:sldLayoutId id="2147488608" r:id="rId3"/>
    <p:sldLayoutId id="2147488609" r:id="rId4"/>
    <p:sldLayoutId id="2147488610" r:id="rId5"/>
    <p:sldLayoutId id="2147488611" r:id="rId6"/>
    <p:sldLayoutId id="2147488612" r:id="rId7"/>
    <p:sldLayoutId id="2147488613" r:id="rId8"/>
    <p:sldLayoutId id="2147488614" r:id="rId9"/>
    <p:sldLayoutId id="2147488615" r:id="rId10"/>
    <p:sldLayoutId id="2147488616" r:id="rId11"/>
    <p:sldLayoutId id="2147488617" r:id="rId12"/>
    <p:sldLayoutId id="2147488618" r:id="rId13"/>
    <p:sldLayoutId id="2147488619" r:id="rId14"/>
    <p:sldLayoutId id="2147488620" r:id="rId15"/>
    <p:sldLayoutId id="2147488621" r:id="rId16"/>
    <p:sldLayoutId id="2147488775" r:id="rId17"/>
  </p:sldLayoutIdLst>
  <p:hf sldNum="0" hdr="0" dt="0"/>
  <p:txStyles>
    <p:titleStyle>
      <a:lvl1pPr algn="l" defTabSz="1828367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914" indent="-359914" algn="l" defTabSz="1828367" rtl="0" eaLnBrk="1" latinLnBrk="0" hangingPunct="1">
        <a:lnSpc>
          <a:spcPct val="100000"/>
        </a:lnSpc>
        <a:spcBef>
          <a:spcPts val="20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3400" kern="1200">
          <a:solidFill>
            <a:schemeClr val="tx2"/>
          </a:solidFill>
          <a:latin typeface="+mn-lt"/>
          <a:ea typeface="+mn-ea"/>
          <a:cs typeface="+mn-cs"/>
        </a:defRPr>
      </a:lvl1pPr>
      <a:lvl2pPr marL="719828" indent="-359914" algn="l" defTabSz="1828367" rtl="0" eaLnBrk="1" latinLnBrk="0" hangingPunct="1">
        <a:lnSpc>
          <a:spcPct val="100000"/>
        </a:lnSpc>
        <a:spcBef>
          <a:spcPts val="2000"/>
        </a:spcBef>
        <a:spcAft>
          <a:spcPts val="0"/>
        </a:spcAft>
        <a:buClrTx/>
        <a:buFont typeface="Arial" panose="020B0604020202020204" pitchFamily="34" charset="0"/>
        <a:buChar char="•"/>
        <a:defRPr sz="3400" kern="1200">
          <a:solidFill>
            <a:schemeClr val="tx2"/>
          </a:solidFill>
          <a:latin typeface="+mn-lt"/>
          <a:ea typeface="+mn-ea"/>
          <a:cs typeface="+mn-cs"/>
        </a:defRPr>
      </a:lvl2pPr>
      <a:lvl3pPr marL="1079742" indent="-359914" algn="l" defTabSz="1828367" rtl="0" eaLnBrk="1" latinLnBrk="0" hangingPunct="1">
        <a:lnSpc>
          <a:spcPct val="100000"/>
        </a:lnSpc>
        <a:spcBef>
          <a:spcPts val="668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3pPr>
      <a:lvl4pPr marL="1439654" indent="-359914" algn="l" defTabSz="1828367" rtl="0" eaLnBrk="1" latinLnBrk="0" hangingPunct="1">
        <a:lnSpc>
          <a:spcPct val="100000"/>
        </a:lnSpc>
        <a:spcBef>
          <a:spcPts val="668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4pPr>
      <a:lvl5pPr marL="1799568" indent="-359914" algn="l" defTabSz="1828367" rtl="0" eaLnBrk="1" latinLnBrk="0" hangingPunct="1">
        <a:lnSpc>
          <a:spcPct val="100000"/>
        </a:lnSpc>
        <a:spcBef>
          <a:spcPts val="668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5pPr>
      <a:lvl6pPr marL="5027999" indent="-457093" algn="l" defTabSz="182836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77" indent="-457093" algn="l" defTabSz="182836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357" indent="-457093" algn="l" defTabSz="182836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537" indent="-457093" algn="l" defTabSz="182836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80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67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45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725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905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86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64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444" algn="l" defTabSz="1828367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2325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43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77" r:id="rId1"/>
    <p:sldLayoutId id="2147488778" r:id="rId2"/>
    <p:sldLayoutId id="2147488781" r:id="rId3"/>
    <p:sldLayoutId id="2147488782" r:id="rId4"/>
    <p:sldLayoutId id="2147488783" r:id="rId5"/>
    <p:sldLayoutId id="2147488784" r:id="rId6"/>
    <p:sldLayoutId id="2147488785" r:id="rId7"/>
    <p:sldLayoutId id="2147488787" r:id="rId8"/>
    <p:sldLayoutId id="2147488788" r:id="rId9"/>
    <p:sldLayoutId id="2147488789" r:id="rId10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2186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1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926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91" r:id="rId1"/>
    <p:sldLayoutId id="2147488792" r:id="rId2"/>
    <p:sldLayoutId id="2147488793" r:id="rId3"/>
    <p:sldLayoutId id="2147488794" r:id="rId4"/>
    <p:sldLayoutId id="2147488795" r:id="rId5"/>
    <p:sldLayoutId id="2147488796" r:id="rId6"/>
    <p:sldLayoutId id="2147488797" r:id="rId7"/>
    <p:sldLayoutId id="2147488798" r:id="rId8"/>
    <p:sldLayoutId id="2147488799" r:id="rId9"/>
    <p:sldLayoutId id="2147488800" r:id="rId10"/>
    <p:sldLayoutId id="2147488801" r:id="rId11"/>
    <p:sldLayoutId id="2147488802" r:id="rId12"/>
    <p:sldLayoutId id="2147488803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7279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1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417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19" r:id="rId1"/>
    <p:sldLayoutId id="2147488820" r:id="rId2"/>
    <p:sldLayoutId id="2147488823" r:id="rId3"/>
    <p:sldLayoutId id="2147488824" r:id="rId4"/>
    <p:sldLayoutId id="2147488825" r:id="rId5"/>
    <p:sldLayoutId id="2147488826" r:id="rId6"/>
    <p:sldLayoutId id="2147488827" r:id="rId7"/>
    <p:sldLayoutId id="2147488829" r:id="rId8"/>
    <p:sldLayoutId id="2147488830" r:id="rId9"/>
    <p:sldLayoutId id="2147488831" r:id="rId10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87591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83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33" r:id="rId1"/>
    <p:sldLayoutId id="2147488850" r:id="rId2"/>
    <p:sldLayoutId id="2147488834" r:id="rId3"/>
    <p:sldLayoutId id="2147488835" r:id="rId4"/>
    <p:sldLayoutId id="2147488836" r:id="rId5"/>
    <p:sldLayoutId id="2147488837" r:id="rId6"/>
    <p:sldLayoutId id="2147488838" r:id="rId7"/>
    <p:sldLayoutId id="2147488839" r:id="rId8"/>
    <p:sldLayoutId id="2147488840" r:id="rId9"/>
    <p:sldLayoutId id="2147488841" r:id="rId10"/>
    <p:sldLayoutId id="2147488842" r:id="rId11"/>
    <p:sldLayoutId id="2147488843" r:id="rId12"/>
    <p:sldLayoutId id="2147488844" r:id="rId13"/>
    <p:sldLayoutId id="2147488845" r:id="rId14"/>
    <p:sldLayoutId id="2147488846" r:id="rId15"/>
    <p:sldLayoutId id="2147488847" r:id="rId16"/>
    <p:sldLayoutId id="2147488848" r:id="rId17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55884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0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52" r:id="rId1"/>
    <p:sldLayoutId id="2147488853" r:id="rId2"/>
    <p:sldLayoutId id="2147488854" r:id="rId3"/>
    <p:sldLayoutId id="2147488855" r:id="rId4"/>
    <p:sldLayoutId id="2147488856" r:id="rId5"/>
    <p:sldLayoutId id="2147488857" r:id="rId6"/>
    <p:sldLayoutId id="2147488858" r:id="rId7"/>
    <p:sldLayoutId id="2147488859" r:id="rId8"/>
    <p:sldLayoutId id="2147488860" r:id="rId9"/>
    <p:sldLayoutId id="2147488861" r:id="rId10"/>
    <p:sldLayoutId id="2147488862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939532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4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417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64" r:id="rId1"/>
    <p:sldLayoutId id="2147488865" r:id="rId2"/>
    <p:sldLayoutId id="2147488868" r:id="rId3"/>
    <p:sldLayoutId id="2147488869" r:id="rId4"/>
    <p:sldLayoutId id="2147488870" r:id="rId5"/>
    <p:sldLayoutId id="2147488871" r:id="rId6"/>
    <p:sldLayoutId id="2147488872" r:id="rId7"/>
    <p:sldLayoutId id="2147488874" r:id="rId8"/>
    <p:sldLayoutId id="2147488875" r:id="rId9"/>
    <p:sldLayoutId id="2147488876" r:id="rId10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7847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310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81" r:id="rId1"/>
    <p:sldLayoutId id="2147488882" r:id="rId2"/>
    <p:sldLayoutId id="2147488883" r:id="rId3"/>
    <p:sldLayoutId id="2147488884" r:id="rId4"/>
    <p:sldLayoutId id="2147488885" r:id="rId5"/>
    <p:sldLayoutId id="2147488886" r:id="rId6"/>
    <p:sldLayoutId id="2147488887" r:id="rId7"/>
    <p:sldLayoutId id="2147488888" r:id="rId8"/>
    <p:sldLayoutId id="2147488889" r:id="rId9"/>
    <p:sldLayoutId id="2147488890" r:id="rId10"/>
    <p:sldLayoutId id="2147488891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5360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74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893" r:id="rId1"/>
    <p:sldLayoutId id="2147488894" r:id="rId2"/>
    <p:sldLayoutId id="2147488895" r:id="rId3"/>
    <p:sldLayoutId id="2147488896" r:id="rId4"/>
    <p:sldLayoutId id="2147488897" r:id="rId5"/>
    <p:sldLayoutId id="2147488898" r:id="rId6"/>
    <p:sldLayoutId id="2147488899" r:id="rId7"/>
    <p:sldLayoutId id="2147488900" r:id="rId8"/>
    <p:sldLayoutId id="2147488901" r:id="rId9"/>
    <p:sldLayoutId id="2147488902" r:id="rId10"/>
    <p:sldLayoutId id="2147488903" r:id="rId11"/>
    <p:sldLayoutId id="2147488904" r:id="rId12"/>
    <p:sldLayoutId id="2147488905" r:id="rId13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1116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82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2649" y="2647"/>
          <a:ext cx="2646" cy="26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63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649" y="2647"/>
                        <a:ext cx="2646" cy="26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212072" y="1098136"/>
            <a:ext cx="22159956" cy="144018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12073" y="3258406"/>
            <a:ext cx="22159958" cy="86410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746467" y="12721590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600" b="1">
                <a:solidFill>
                  <a:schemeClr val="tx2"/>
                </a:solidFill>
              </a:defRPr>
            </a:lvl1pPr>
          </a:lstStyle>
          <a:p>
            <a:pPr defTabSz="1828269"/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2754460" y="12721590"/>
            <a:ext cx="61758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600" b="1">
                <a:solidFill>
                  <a:schemeClr val="tx2"/>
                </a:solidFill>
              </a:defRPr>
            </a:lvl1pPr>
          </a:lstStyle>
          <a:p>
            <a:pPr defTabSz="1828269"/>
            <a:fld id="{5751DFAA-887F-4071-8EAD-E8CA316FCF06}" type="slidenum">
              <a:rPr lang="nb-NO" smtClean="0">
                <a:solidFill>
                  <a:srgbClr val="2C4457"/>
                </a:solidFill>
              </a:rPr>
              <a:pPr defTabSz="1828269"/>
              <a:t>‹#›</a:t>
            </a:fld>
            <a:endParaRPr lang="nb-NO" dirty="0">
              <a:solidFill>
                <a:srgbClr val="2C4457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03670"/>
            <a:ext cx="6504601" cy="121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36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907" r:id="rId1"/>
    <p:sldLayoutId id="2147488908" r:id="rId2"/>
    <p:sldLayoutId id="2147488909" r:id="rId3"/>
    <p:sldLayoutId id="2147488910" r:id="rId4"/>
    <p:sldLayoutId id="2147488911" r:id="rId5"/>
    <p:sldLayoutId id="2147488912" r:id="rId6"/>
    <p:sldLayoutId id="2147488913" r:id="rId7"/>
    <p:sldLayoutId id="2147488914" r:id="rId8"/>
    <p:sldLayoutId id="2147488915" r:id="rId9"/>
    <p:sldLayoutId id="2147488916" r:id="rId10"/>
    <p:sldLayoutId id="2147488917" r:id="rId11"/>
    <p:sldLayoutId id="2147488918" r:id="rId12"/>
    <p:sldLayoutId id="2147488919" r:id="rId13"/>
    <p:sldLayoutId id="2147488920" r:id="rId14"/>
    <p:sldLayoutId id="2147488921" r:id="rId15"/>
    <p:sldLayoutId id="2147488922" r:id="rId16"/>
  </p:sldLayoutIdLst>
  <p:hf sldNum="0" hdr="0" dt="0"/>
  <p:txStyles>
    <p:titleStyle>
      <a:lvl1pPr algn="l" defTabSz="1828269" rtl="0" eaLnBrk="1" latinLnBrk="0" hangingPunct="1">
        <a:lnSpc>
          <a:spcPct val="100000"/>
        </a:lnSpc>
        <a:spcBef>
          <a:spcPct val="0"/>
        </a:spcBef>
        <a:buNone/>
        <a:defRPr sz="4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9896" indent="-359896" algn="l" defTabSz="1828269" rtl="0" eaLnBrk="1" latinLnBrk="0" hangingPunct="1">
        <a:lnSpc>
          <a:spcPct val="100000"/>
        </a:lnSpc>
        <a:spcBef>
          <a:spcPts val="200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3400" kern="1200">
          <a:solidFill>
            <a:schemeClr val="tx2"/>
          </a:solidFill>
          <a:latin typeface="+mn-lt"/>
          <a:ea typeface="+mn-ea"/>
          <a:cs typeface="+mn-cs"/>
        </a:defRPr>
      </a:lvl1pPr>
      <a:lvl2pPr marL="719786" indent="-359896" algn="l" defTabSz="1828269" rtl="0" eaLnBrk="1" latinLnBrk="0" hangingPunct="1">
        <a:lnSpc>
          <a:spcPct val="100000"/>
        </a:lnSpc>
        <a:spcBef>
          <a:spcPts val="2000"/>
        </a:spcBef>
        <a:spcAft>
          <a:spcPts val="0"/>
        </a:spcAft>
        <a:buClrTx/>
        <a:buFont typeface="Arial" panose="020B0604020202020204" pitchFamily="34" charset="0"/>
        <a:buChar char="•"/>
        <a:defRPr sz="3400" kern="1200">
          <a:solidFill>
            <a:schemeClr val="tx2"/>
          </a:solidFill>
          <a:latin typeface="+mn-lt"/>
          <a:ea typeface="+mn-ea"/>
          <a:cs typeface="+mn-cs"/>
        </a:defRPr>
      </a:lvl2pPr>
      <a:lvl3pPr marL="1079686" indent="-359896" algn="l" defTabSz="1828269" rtl="0" eaLnBrk="1" latinLnBrk="0" hangingPunct="1">
        <a:lnSpc>
          <a:spcPct val="100000"/>
        </a:lnSpc>
        <a:spcBef>
          <a:spcPts val="666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3pPr>
      <a:lvl4pPr marL="1439582" indent="-359896" algn="l" defTabSz="1828269" rtl="0" eaLnBrk="1" latinLnBrk="0" hangingPunct="1">
        <a:lnSpc>
          <a:spcPct val="100000"/>
        </a:lnSpc>
        <a:spcBef>
          <a:spcPts val="666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4pPr>
      <a:lvl5pPr marL="1799478" indent="-359896" algn="l" defTabSz="1828269" rtl="0" eaLnBrk="1" latinLnBrk="0" hangingPunct="1">
        <a:lnSpc>
          <a:spcPct val="100000"/>
        </a:lnSpc>
        <a:spcBef>
          <a:spcPts val="666"/>
        </a:spcBef>
        <a:spcAft>
          <a:spcPts val="0"/>
        </a:spcAft>
        <a:buClrTx/>
        <a:buFont typeface="Arial" panose="020B0604020202020204" pitchFamily="34" charset="0"/>
        <a:buChar char="•"/>
        <a:defRPr sz="2600" kern="1200">
          <a:solidFill>
            <a:schemeClr val="tx2"/>
          </a:solidFill>
          <a:latin typeface="+mn-lt"/>
          <a:ea typeface="+mn-ea"/>
          <a:cs typeface="+mn-cs"/>
        </a:defRPr>
      </a:lvl5pPr>
      <a:lvl6pPr marL="5027747" indent="-457069" algn="l" defTabSz="182826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1875" indent="-457069" algn="l" defTabSz="182826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013" indent="-457069" algn="l" defTabSz="182826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151" indent="-457069" algn="l" defTabSz="182826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34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269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403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541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677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4806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8944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080" algn="l" defTabSz="182826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8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7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925" r:id="rId1"/>
    <p:sldLayoutId id="2147488926" r:id="rId2"/>
    <p:sldLayoutId id="2147488927" r:id="rId3"/>
    <p:sldLayoutId id="2147488928" r:id="rId4"/>
    <p:sldLayoutId id="2147488929" r:id="rId5"/>
    <p:sldLayoutId id="2147488930" r:id="rId6"/>
    <p:sldLayoutId id="2147488931" r:id="rId7"/>
    <p:sldLayoutId id="2147488932" r:id="rId8"/>
    <p:sldLayoutId id="2147488933" r:id="rId9"/>
    <p:sldLayoutId id="2147488934" r:id="rId10"/>
    <p:sldLayoutId id="2147488935" r:id="rId11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4773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80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80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pPr defTabSz="1828165"/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pPr defTabSz="1828165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pPr defTabSz="1828165"/>
            <a:r>
              <a:rPr lang="nb-NO"/>
              <a:t> Side </a:t>
            </a:r>
            <a:fld id="{5751DFAA-887F-4071-8EAD-E8CA316FCF06}" type="slidenum">
              <a:rPr lang="nb-NO" smtClean="0"/>
              <a:pPr defTabSz="1828165"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8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456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</p:sldLayoutIdLst>
  <p:hf hdr="0" ftr="0" dt="0"/>
  <p:txStyles>
    <p:titleStyle>
      <a:lvl1pPr algn="l" defTabSz="1828165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41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711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580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448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325" indent="-539841" algn="l" defTabSz="1828165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445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1525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5603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69681" indent="-457043" algn="l" defTabSz="18281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078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165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245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323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401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4482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8560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2638" algn="l" defTabSz="1828165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793371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40178" y="703096"/>
            <a:ext cx="21566696" cy="167362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40178" y="3636476"/>
            <a:ext cx="21566696" cy="86590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5760728" y="13069634"/>
            <a:ext cx="1692332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2000">
                <a:solidFill>
                  <a:srgbClr val="C1C1C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9311357" y="13069634"/>
            <a:ext cx="10801351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2000">
                <a:solidFill>
                  <a:srgbClr val="C1C1C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1971007" y="13069634"/>
            <a:ext cx="1436097" cy="3693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2000">
                <a:solidFill>
                  <a:srgbClr val="C1C1C1"/>
                </a:solidFill>
              </a:defRPr>
            </a:lvl1pPr>
          </a:lstStyle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108" y="13094836"/>
            <a:ext cx="4054052" cy="30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530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</p:sldLayoutIdLst>
  <p:hf hdr="0" ftr="0" dt="0"/>
  <p:txStyles>
    <p:titleStyle>
      <a:lvl1pPr algn="l" defTabSz="1828349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539895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400" kern="1200">
          <a:solidFill>
            <a:srgbClr val="000000"/>
          </a:solidFill>
          <a:latin typeface="+mn-lt"/>
          <a:ea typeface="+mn-ea"/>
          <a:cs typeface="+mn-cs"/>
        </a:defRPr>
      </a:lvl1pPr>
      <a:lvl2pPr marL="971807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4000" kern="1200">
          <a:solidFill>
            <a:srgbClr val="000000"/>
          </a:solidFill>
          <a:latin typeface="+mn-lt"/>
          <a:ea typeface="+mn-ea"/>
          <a:cs typeface="+mn-cs"/>
        </a:defRPr>
      </a:lvl2pPr>
      <a:lvl3pPr marL="1403720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600" kern="1200">
          <a:solidFill>
            <a:srgbClr val="000000"/>
          </a:solidFill>
          <a:latin typeface="+mn-lt"/>
          <a:ea typeface="+mn-ea"/>
          <a:cs typeface="+mn-cs"/>
        </a:defRPr>
      </a:lvl3pPr>
      <a:lvl4pPr marL="1835632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4pPr>
      <a:lvl5pPr marL="2267551" indent="-539895" algn="l" defTabSz="1828349" rtl="0" eaLnBrk="1" latinLnBrk="0" hangingPunct="1">
        <a:lnSpc>
          <a:spcPct val="100000"/>
        </a:lnSpc>
        <a:spcBef>
          <a:spcPts val="500"/>
        </a:spcBef>
        <a:buClr>
          <a:schemeClr val="tx2"/>
        </a:buClr>
        <a:buFont typeface="Wingdings 2" panose="05020102010507070707" pitchFamily="18" charset="2"/>
        <a:buChar char=""/>
        <a:defRPr sz="3200" kern="1200">
          <a:solidFill>
            <a:srgbClr val="000000"/>
          </a:solidFill>
          <a:latin typeface="+mn-lt"/>
          <a:ea typeface="+mn-ea"/>
          <a:cs typeface="+mn-cs"/>
        </a:defRPr>
      </a:lvl5pPr>
      <a:lvl6pPr marL="502794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11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28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459" indent="-457089" algn="l" defTabSz="182834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34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51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68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0859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03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20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370" algn="l" defTabSz="182834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9.png"/><Relationship Id="rId2" Type="http://schemas.openxmlformats.org/officeDocument/2006/relationships/tags" Target="../tags/tag371.xml"/><Relationship Id="rId1" Type="http://schemas.openxmlformats.org/officeDocument/2006/relationships/vmlDrawing" Target="../drawings/vmlDrawing220.vml"/><Relationship Id="rId6" Type="http://schemas.openxmlformats.org/officeDocument/2006/relationships/image" Target="NULL"/><Relationship Id="rId5" Type="http://schemas.openxmlformats.org/officeDocument/2006/relationships/oleObject" Target="../embeddings/oleObject220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2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26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49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8.svg"/><Relationship Id="rId5" Type="http://schemas.openxmlformats.org/officeDocument/2006/relationships/image" Target="../media/image50.png"/><Relationship Id="rId10" Type="http://schemas.openxmlformats.org/officeDocument/2006/relationships/image" Target="../media/image62.svg"/><Relationship Id="rId4" Type="http://schemas.openxmlformats.org/officeDocument/2006/relationships/image" Target="../media/image56.svg"/><Relationship Id="rId9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7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28.xml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2" Type="http://schemas.openxmlformats.org/officeDocument/2006/relationships/tags" Target="../tags/tag372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9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221.bin"/><Relationship Id="rId10" Type="http://schemas.openxmlformats.org/officeDocument/2006/relationships/image" Target="../media/image63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73.xml"/><Relationship Id="rId1" Type="http://schemas.openxmlformats.org/officeDocument/2006/relationships/vmlDrawing" Target="../drawings/vmlDrawing222.vml"/><Relationship Id="rId6" Type="http://schemas.openxmlformats.org/officeDocument/2006/relationships/chart" Target="../charts/chart7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2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ehelse.no/helsedataprogrammet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16.xml"/><Relationship Id="rId7" Type="http://schemas.openxmlformats.org/officeDocument/2006/relationships/chart" Target="../charts/chart4.xml"/><Relationship Id="rId2" Type="http://schemas.openxmlformats.org/officeDocument/2006/relationships/tags" Target="../tags/tag369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8.bin"/><Relationship Id="rId4" Type="http://schemas.openxmlformats.org/officeDocument/2006/relationships/notesSlide" Target="../notesSlides/notesSlide7.xml"/><Relationship Id="rId9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9.png"/><Relationship Id="rId2" Type="http://schemas.openxmlformats.org/officeDocument/2006/relationships/tags" Target="../tags/tag370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9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382DF320-1D8C-D644-B0DB-63FA442764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2234" y="1501333"/>
            <a:ext cx="18119180" cy="1934292"/>
          </a:xfrm>
          <a:prstGeom prst="rect">
            <a:avLst/>
          </a:prstGeom>
        </p:spPr>
      </p:pic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de </a:t>
            </a:r>
            <a:fld id="{5751DFAA-887F-4071-8EAD-E8CA316FCF06}" type="slidenum">
              <a:rPr kumimoji="0" lang="nb-NO" sz="2000" b="0" i="0" u="none" strike="noStrike" kern="1200" cap="none" spc="0" normalizeH="0" baseline="0" noProof="0" smtClean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1122043" y="4086647"/>
            <a:ext cx="22354681" cy="6000750"/>
          </a:xfrm>
          <a:prstGeom prst="rect">
            <a:avLst/>
          </a:prstGeom>
        </p:spPr>
        <p:txBody>
          <a:bodyPr anchor="ctr"/>
          <a:lstStyle>
            <a:lvl1pPr marL="539895" indent="-539895" algn="l" defTabSz="182834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971807" indent="-539895" algn="l" defTabSz="182834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4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403720" indent="-539895" algn="l" defTabSz="182834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835632" indent="-539895" algn="l" defTabSz="182834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267551" indent="-539895" algn="l" defTabSz="1828349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 2" panose="05020102010507070707" pitchFamily="18" charset="2"/>
              <a:buChar char=""/>
              <a:defRPr sz="3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5027949" indent="-457089" algn="l" defTabSz="182834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2119" indent="-457089" algn="l" defTabSz="182834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289" indent="-457089" algn="l" defTabSz="182834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459" indent="-457089" algn="l" defTabSz="182834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nb-NO" sz="8800" b="1" dirty="0" smtClean="0"/>
          </a:p>
          <a:p>
            <a:pPr marL="0" indent="0" algn="ctr">
              <a:buNone/>
            </a:pPr>
            <a:endParaRPr lang="nb-NO" sz="8800" b="1" dirty="0"/>
          </a:p>
          <a:p>
            <a:pPr marL="0" indent="0" algn="ctr">
              <a:buNone/>
            </a:pPr>
            <a:r>
              <a:rPr lang="nb-NO" sz="8800" b="1" dirty="0" smtClean="0"/>
              <a:t>Helsedataprogrammet</a:t>
            </a:r>
            <a:endParaRPr lang="nb-NO" sz="8800" b="1" dirty="0"/>
          </a:p>
          <a:p>
            <a:pPr marL="0" indent="0" algn="ctr">
              <a:buNone/>
            </a:pPr>
            <a:endParaRPr lang="nb-NO" sz="4800" b="1" dirty="0"/>
          </a:p>
          <a:p>
            <a:pPr marL="0" indent="0" algn="ctr">
              <a:buNone/>
            </a:pPr>
            <a:r>
              <a:rPr lang="nb-NO" i="1" dirty="0" smtClean="0"/>
              <a:t>Nasjonalt forskningsdekanmøte</a:t>
            </a:r>
            <a:endParaRPr lang="nb-NO" i="1" dirty="0"/>
          </a:p>
          <a:p>
            <a:pPr marL="0" indent="0" algn="ctr">
              <a:buNone/>
            </a:pPr>
            <a:r>
              <a:rPr lang="nb-NO" sz="2400" i="1" dirty="0" smtClean="0"/>
              <a:t>24. Oktober 2018</a:t>
            </a:r>
          </a:p>
          <a:p>
            <a:pPr marL="0" indent="0" algn="ctr">
              <a:buNone/>
            </a:pPr>
            <a:endParaRPr lang="nb-NO" sz="2400" i="1" dirty="0" smtClean="0"/>
          </a:p>
          <a:p>
            <a:pPr marL="0" indent="0" algn="ctr">
              <a:buNone/>
            </a:pPr>
            <a:r>
              <a:rPr lang="nb-NO" sz="2400" i="1" dirty="0" smtClean="0"/>
              <a:t>- </a:t>
            </a:r>
          </a:p>
          <a:p>
            <a:pPr marL="0" indent="0" algn="ctr">
              <a:buNone/>
            </a:pPr>
            <a:endParaRPr lang="nb-NO" sz="2400" i="1" dirty="0"/>
          </a:p>
          <a:p>
            <a:pPr marL="0" indent="0" algn="ctr">
              <a:buNone/>
            </a:pPr>
            <a:r>
              <a:rPr lang="nb-NO" sz="2400" b="1" i="1" dirty="0" smtClean="0"/>
              <a:t>Alexander Gray</a:t>
            </a:r>
          </a:p>
          <a:p>
            <a:pPr marL="0" indent="0" algn="ctr">
              <a:buNone/>
            </a:pPr>
            <a:r>
              <a:rPr lang="nb-NO" sz="2400" i="1" dirty="0" smtClean="0"/>
              <a:t>Fagansvarlig / assisterende programleder - Helsedataprogrammet</a:t>
            </a:r>
            <a:endParaRPr lang="nb-NO" sz="2000" i="1" dirty="0"/>
          </a:p>
        </p:txBody>
      </p:sp>
    </p:spTree>
    <p:extLst>
      <p:ext uri="{BB962C8B-B14F-4D97-AF65-F5344CB8AC3E}">
        <p14:creationId xmlns:p14="http://schemas.microsoft.com/office/powerpoint/2010/main" val="21068048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19"/>
          <p:cNvSpPr/>
          <p:nvPr/>
        </p:nvSpPr>
        <p:spPr>
          <a:xfrm>
            <a:off x="4878302" y="3587738"/>
            <a:ext cx="14628893" cy="867102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5400" b="0" dirty="0"/>
              <a:t>Helsedataprogrammets resultatmål (2017-2020)</a:t>
            </a:r>
            <a:endParaRPr lang="en-US" sz="5400" b="0" dirty="0"/>
          </a:p>
        </p:txBody>
      </p:sp>
      <p:sp>
        <p:nvSpPr>
          <p:cNvPr id="6" name="Freeform 5"/>
          <p:cNvSpPr/>
          <p:nvPr/>
        </p:nvSpPr>
        <p:spPr>
          <a:xfrm>
            <a:off x="6825392" y="4103422"/>
            <a:ext cx="12254522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passe regelverk og bidra til likere tolkning på tvers</a:t>
            </a:r>
          </a:p>
        </p:txBody>
      </p:sp>
      <p:sp>
        <p:nvSpPr>
          <p:cNvPr id="7" name="Oval 6"/>
          <p:cNvSpPr/>
          <p:nvPr/>
        </p:nvSpPr>
        <p:spPr bwMode="ltGray">
          <a:xfrm>
            <a:off x="5425358" y="4088428"/>
            <a:ext cx="1080000" cy="108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§</a:t>
            </a:r>
          </a:p>
        </p:txBody>
      </p:sp>
      <p:sp>
        <p:nvSpPr>
          <p:cNvPr id="12" name="Freeform 11"/>
          <p:cNvSpPr/>
          <p:nvPr/>
        </p:nvSpPr>
        <p:spPr>
          <a:xfrm>
            <a:off x="6825392" y="7223771"/>
            <a:ext cx="12254522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dra til standardiserte og harmoniserte helseopplysninger</a:t>
            </a:r>
          </a:p>
        </p:txBody>
      </p:sp>
      <p:sp>
        <p:nvSpPr>
          <p:cNvPr id="14" name="Freeform 13"/>
          <p:cNvSpPr/>
          <p:nvPr/>
        </p:nvSpPr>
        <p:spPr>
          <a:xfrm>
            <a:off x="6825392" y="5585351"/>
            <a:ext cx="12254522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ablere mer effektive forvaltningstjenester for helsedata og forskning</a:t>
            </a:r>
          </a:p>
        </p:txBody>
      </p:sp>
      <p:sp>
        <p:nvSpPr>
          <p:cNvPr id="15" name="Freeform 14"/>
          <p:cNvSpPr/>
          <p:nvPr/>
        </p:nvSpPr>
        <p:spPr>
          <a:xfrm>
            <a:off x="6825392" y="8816701"/>
            <a:ext cx="12254522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rettelegge for teknisk interoperabilitet (API)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5425358" y="7227251"/>
            <a:ext cx="1080000" cy="1080000"/>
            <a:chOff x="9839311" y="10274560"/>
            <a:chExt cx="1080000" cy="1080000"/>
          </a:xfrm>
        </p:grpSpPr>
        <p:sp>
          <p:nvSpPr>
            <p:cNvPr id="17" name="Oval 16"/>
            <p:cNvSpPr/>
            <p:nvPr/>
          </p:nvSpPr>
          <p:spPr bwMode="ltGray">
            <a:xfrm>
              <a:off x="9839311" y="1027456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Picture 6" descr="http://clipartbarn.com/wp-content/uploads/2016/11/Puzzle-piece-clipart-hostted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5778" y="10508904"/>
              <a:ext cx="882265" cy="604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 18"/>
          <p:cNvGrpSpPr/>
          <p:nvPr/>
        </p:nvGrpSpPr>
        <p:grpSpPr>
          <a:xfrm>
            <a:off x="5425358" y="8788734"/>
            <a:ext cx="1080000" cy="1080000"/>
            <a:chOff x="13178740" y="10410062"/>
            <a:chExt cx="1080000" cy="1080000"/>
          </a:xfrm>
        </p:grpSpPr>
        <p:sp>
          <p:nvSpPr>
            <p:cNvPr id="20" name="Oval 19"/>
            <p:cNvSpPr/>
            <p:nvPr/>
          </p:nvSpPr>
          <p:spPr bwMode="ltGray">
            <a:xfrm>
              <a:off x="13178740" y="10410062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4958"/>
            <p:cNvSpPr>
              <a:spLocks noEditPoints="1"/>
            </p:cNvSpPr>
            <p:nvPr/>
          </p:nvSpPr>
          <p:spPr bwMode="auto">
            <a:xfrm>
              <a:off x="13413715" y="10618970"/>
              <a:ext cx="706471" cy="728576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3" name="Oval 22"/>
          <p:cNvSpPr/>
          <p:nvPr/>
        </p:nvSpPr>
        <p:spPr bwMode="ltGray">
          <a:xfrm>
            <a:off x="5425358" y="5694923"/>
            <a:ext cx="1080000" cy="108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 err="1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Freeform 4974"/>
          <p:cNvSpPr>
            <a:spLocks noEditPoints="1"/>
          </p:cNvSpPr>
          <p:nvPr/>
        </p:nvSpPr>
        <p:spPr bwMode="auto">
          <a:xfrm>
            <a:off x="5586594" y="6027799"/>
            <a:ext cx="757529" cy="511025"/>
          </a:xfrm>
          <a:custGeom>
            <a:avLst/>
            <a:gdLst>
              <a:gd name="T0" fmla="*/ 160 w 404"/>
              <a:gd name="T1" fmla="*/ 0 h 236"/>
              <a:gd name="T2" fmla="*/ 226 w 404"/>
              <a:gd name="T3" fmla="*/ 66 h 236"/>
              <a:gd name="T4" fmla="*/ 124 w 404"/>
              <a:gd name="T5" fmla="*/ 86 h 236"/>
              <a:gd name="T6" fmla="*/ 58 w 404"/>
              <a:gd name="T7" fmla="*/ 20 h 236"/>
              <a:gd name="T8" fmla="*/ 58 w 404"/>
              <a:gd name="T9" fmla="*/ 20 h 236"/>
              <a:gd name="T10" fmla="*/ 282 w 404"/>
              <a:gd name="T11" fmla="*/ 0 h 236"/>
              <a:gd name="T12" fmla="*/ 74 w 404"/>
              <a:gd name="T13" fmla="*/ 196 h 236"/>
              <a:gd name="T14" fmla="*/ 44 w 404"/>
              <a:gd name="T15" fmla="*/ 190 h 236"/>
              <a:gd name="T16" fmla="*/ 38 w 404"/>
              <a:gd name="T17" fmla="*/ 162 h 236"/>
              <a:gd name="T18" fmla="*/ 50 w 404"/>
              <a:gd name="T19" fmla="*/ 170 h 236"/>
              <a:gd name="T20" fmla="*/ 58 w 404"/>
              <a:gd name="T21" fmla="*/ 166 h 236"/>
              <a:gd name="T22" fmla="*/ 58 w 404"/>
              <a:gd name="T23" fmla="*/ 152 h 236"/>
              <a:gd name="T24" fmla="*/ 68 w 404"/>
              <a:gd name="T25" fmla="*/ 146 h 236"/>
              <a:gd name="T26" fmla="*/ 88 w 404"/>
              <a:gd name="T27" fmla="*/ 162 h 236"/>
              <a:gd name="T28" fmla="*/ 82 w 404"/>
              <a:gd name="T29" fmla="*/ 190 h 236"/>
              <a:gd name="T30" fmla="*/ 230 w 404"/>
              <a:gd name="T31" fmla="*/ 172 h 236"/>
              <a:gd name="T32" fmla="*/ 202 w 404"/>
              <a:gd name="T33" fmla="*/ 198 h 236"/>
              <a:gd name="T34" fmla="*/ 178 w 404"/>
              <a:gd name="T35" fmla="*/ 182 h 236"/>
              <a:gd name="T36" fmla="*/ 182 w 404"/>
              <a:gd name="T37" fmla="*/ 152 h 236"/>
              <a:gd name="T38" fmla="*/ 212 w 404"/>
              <a:gd name="T39" fmla="*/ 146 h 236"/>
              <a:gd name="T40" fmla="*/ 204 w 404"/>
              <a:gd name="T41" fmla="*/ 160 h 236"/>
              <a:gd name="T42" fmla="*/ 210 w 404"/>
              <a:gd name="T43" fmla="*/ 168 h 236"/>
              <a:gd name="T44" fmla="*/ 222 w 404"/>
              <a:gd name="T45" fmla="*/ 166 h 236"/>
              <a:gd name="T46" fmla="*/ 340 w 404"/>
              <a:gd name="T47" fmla="*/ 198 h 236"/>
              <a:gd name="T48" fmla="*/ 316 w 404"/>
              <a:gd name="T49" fmla="*/ 182 h 236"/>
              <a:gd name="T50" fmla="*/ 322 w 404"/>
              <a:gd name="T51" fmla="*/ 152 h 236"/>
              <a:gd name="T52" fmla="*/ 352 w 404"/>
              <a:gd name="T53" fmla="*/ 146 h 236"/>
              <a:gd name="T54" fmla="*/ 368 w 404"/>
              <a:gd name="T55" fmla="*/ 172 h 236"/>
              <a:gd name="T56" fmla="*/ 358 w 404"/>
              <a:gd name="T57" fmla="*/ 176 h 236"/>
              <a:gd name="T58" fmla="*/ 346 w 404"/>
              <a:gd name="T59" fmla="*/ 178 h 236"/>
              <a:gd name="T60" fmla="*/ 346 w 404"/>
              <a:gd name="T61" fmla="*/ 192 h 236"/>
              <a:gd name="T62" fmla="*/ 282 w 404"/>
              <a:gd name="T63" fmla="*/ 236 h 236"/>
              <a:gd name="T64" fmla="*/ 272 w 404"/>
              <a:gd name="T65" fmla="*/ 226 h 236"/>
              <a:gd name="T66" fmla="*/ 278 w 404"/>
              <a:gd name="T67" fmla="*/ 216 h 236"/>
              <a:gd name="T68" fmla="*/ 350 w 404"/>
              <a:gd name="T69" fmla="*/ 214 h 236"/>
              <a:gd name="T70" fmla="*/ 378 w 404"/>
              <a:gd name="T71" fmla="*/ 196 h 236"/>
              <a:gd name="T72" fmla="*/ 384 w 404"/>
              <a:gd name="T73" fmla="*/ 172 h 236"/>
              <a:gd name="T74" fmla="*/ 372 w 404"/>
              <a:gd name="T75" fmla="*/ 140 h 236"/>
              <a:gd name="T76" fmla="*/ 340 w 404"/>
              <a:gd name="T77" fmla="*/ 128 h 236"/>
              <a:gd name="T78" fmla="*/ 150 w 404"/>
              <a:gd name="T79" fmla="*/ 124 h 236"/>
              <a:gd name="T80" fmla="*/ 148 w 404"/>
              <a:gd name="T81" fmla="*/ 114 h 236"/>
              <a:gd name="T82" fmla="*/ 340 w 404"/>
              <a:gd name="T83" fmla="*/ 108 h 236"/>
              <a:gd name="T84" fmla="*/ 376 w 404"/>
              <a:gd name="T85" fmla="*/ 118 h 236"/>
              <a:gd name="T86" fmla="*/ 404 w 404"/>
              <a:gd name="T87" fmla="*/ 158 h 236"/>
              <a:gd name="T88" fmla="*/ 400 w 404"/>
              <a:gd name="T89" fmla="*/ 196 h 236"/>
              <a:gd name="T90" fmla="*/ 366 w 404"/>
              <a:gd name="T91" fmla="*/ 230 h 236"/>
              <a:gd name="T92" fmla="*/ 246 w 404"/>
              <a:gd name="T93" fmla="*/ 236 h 236"/>
              <a:gd name="T94" fmla="*/ 38 w 404"/>
              <a:gd name="T95" fmla="*/ 230 h 236"/>
              <a:gd name="T96" fmla="*/ 4 w 404"/>
              <a:gd name="T97" fmla="*/ 196 h 236"/>
              <a:gd name="T98" fmla="*/ 0 w 404"/>
              <a:gd name="T99" fmla="*/ 158 h 236"/>
              <a:gd name="T100" fmla="*/ 28 w 404"/>
              <a:gd name="T101" fmla="*/ 118 h 236"/>
              <a:gd name="T102" fmla="*/ 122 w 404"/>
              <a:gd name="T103" fmla="*/ 108 h 236"/>
              <a:gd name="T104" fmla="*/ 130 w 404"/>
              <a:gd name="T105" fmla="*/ 114 h 236"/>
              <a:gd name="T106" fmla="*/ 128 w 404"/>
              <a:gd name="T107" fmla="*/ 124 h 236"/>
              <a:gd name="T108" fmla="*/ 64 w 404"/>
              <a:gd name="T109" fmla="*/ 128 h 236"/>
              <a:gd name="T110" fmla="*/ 32 w 404"/>
              <a:gd name="T111" fmla="*/ 140 h 236"/>
              <a:gd name="T112" fmla="*/ 20 w 404"/>
              <a:gd name="T113" fmla="*/ 172 h 236"/>
              <a:gd name="T114" fmla="*/ 26 w 404"/>
              <a:gd name="T115" fmla="*/ 196 h 236"/>
              <a:gd name="T116" fmla="*/ 54 w 404"/>
              <a:gd name="T117" fmla="*/ 214 h 236"/>
              <a:gd name="T118" fmla="*/ 250 w 404"/>
              <a:gd name="T119" fmla="*/ 216 h 236"/>
              <a:gd name="T120" fmla="*/ 256 w 404"/>
              <a:gd name="T121" fmla="*/ 226 h 236"/>
              <a:gd name="T122" fmla="*/ 246 w 404"/>
              <a:gd name="T123" fmla="*/ 236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4" h="236">
                <a:moveTo>
                  <a:pt x="160" y="86"/>
                </a:moveTo>
                <a:lnTo>
                  <a:pt x="246" y="86"/>
                </a:lnTo>
                <a:lnTo>
                  <a:pt x="246" y="0"/>
                </a:lnTo>
                <a:lnTo>
                  <a:pt x="160" y="0"/>
                </a:lnTo>
                <a:lnTo>
                  <a:pt x="160" y="86"/>
                </a:lnTo>
                <a:close/>
                <a:moveTo>
                  <a:pt x="180" y="20"/>
                </a:moveTo>
                <a:lnTo>
                  <a:pt x="226" y="20"/>
                </a:lnTo>
                <a:lnTo>
                  <a:pt x="226" y="66"/>
                </a:lnTo>
                <a:lnTo>
                  <a:pt x="180" y="66"/>
                </a:lnTo>
                <a:lnTo>
                  <a:pt x="180" y="20"/>
                </a:lnTo>
                <a:close/>
                <a:moveTo>
                  <a:pt x="38" y="86"/>
                </a:moveTo>
                <a:lnTo>
                  <a:pt x="124" y="86"/>
                </a:lnTo>
                <a:lnTo>
                  <a:pt x="124" y="0"/>
                </a:lnTo>
                <a:lnTo>
                  <a:pt x="38" y="0"/>
                </a:lnTo>
                <a:lnTo>
                  <a:pt x="38" y="86"/>
                </a:lnTo>
                <a:close/>
                <a:moveTo>
                  <a:pt x="58" y="20"/>
                </a:moveTo>
                <a:lnTo>
                  <a:pt x="104" y="20"/>
                </a:lnTo>
                <a:lnTo>
                  <a:pt x="104" y="66"/>
                </a:lnTo>
                <a:lnTo>
                  <a:pt x="58" y="66"/>
                </a:lnTo>
                <a:lnTo>
                  <a:pt x="58" y="20"/>
                </a:lnTo>
                <a:close/>
                <a:moveTo>
                  <a:pt x="368" y="0"/>
                </a:moveTo>
                <a:lnTo>
                  <a:pt x="368" y="86"/>
                </a:lnTo>
                <a:lnTo>
                  <a:pt x="282" y="86"/>
                </a:lnTo>
                <a:lnTo>
                  <a:pt x="282" y="0"/>
                </a:lnTo>
                <a:lnTo>
                  <a:pt x="368" y="0"/>
                </a:lnTo>
                <a:close/>
                <a:moveTo>
                  <a:pt x="82" y="190"/>
                </a:moveTo>
                <a:lnTo>
                  <a:pt x="82" y="190"/>
                </a:lnTo>
                <a:lnTo>
                  <a:pt x="74" y="196"/>
                </a:lnTo>
                <a:lnTo>
                  <a:pt x="64" y="198"/>
                </a:lnTo>
                <a:lnTo>
                  <a:pt x="54" y="196"/>
                </a:lnTo>
                <a:lnTo>
                  <a:pt x="44" y="190"/>
                </a:lnTo>
                <a:lnTo>
                  <a:pt x="44" y="190"/>
                </a:lnTo>
                <a:lnTo>
                  <a:pt x="40" y="184"/>
                </a:lnTo>
                <a:lnTo>
                  <a:pt x="36" y="176"/>
                </a:lnTo>
                <a:lnTo>
                  <a:pt x="36" y="168"/>
                </a:lnTo>
                <a:lnTo>
                  <a:pt x="38" y="162"/>
                </a:lnTo>
                <a:lnTo>
                  <a:pt x="44" y="166"/>
                </a:lnTo>
                <a:lnTo>
                  <a:pt x="44" y="166"/>
                </a:lnTo>
                <a:lnTo>
                  <a:pt x="46" y="168"/>
                </a:lnTo>
                <a:lnTo>
                  <a:pt x="50" y="170"/>
                </a:lnTo>
                <a:lnTo>
                  <a:pt x="50" y="170"/>
                </a:lnTo>
                <a:lnTo>
                  <a:pt x="54" y="168"/>
                </a:lnTo>
                <a:lnTo>
                  <a:pt x="58" y="166"/>
                </a:lnTo>
                <a:lnTo>
                  <a:pt x="58" y="166"/>
                </a:lnTo>
                <a:lnTo>
                  <a:pt x="60" y="162"/>
                </a:lnTo>
                <a:lnTo>
                  <a:pt x="60" y="160"/>
                </a:lnTo>
                <a:lnTo>
                  <a:pt x="60" y="156"/>
                </a:lnTo>
                <a:lnTo>
                  <a:pt x="58" y="152"/>
                </a:lnTo>
                <a:lnTo>
                  <a:pt x="52" y="148"/>
                </a:lnTo>
                <a:lnTo>
                  <a:pt x="52" y="148"/>
                </a:lnTo>
                <a:lnTo>
                  <a:pt x="60" y="144"/>
                </a:lnTo>
                <a:lnTo>
                  <a:pt x="68" y="146"/>
                </a:lnTo>
                <a:lnTo>
                  <a:pt x="76" y="148"/>
                </a:lnTo>
                <a:lnTo>
                  <a:pt x="82" y="152"/>
                </a:lnTo>
                <a:lnTo>
                  <a:pt x="82" y="152"/>
                </a:lnTo>
                <a:lnTo>
                  <a:pt x="88" y="162"/>
                </a:lnTo>
                <a:lnTo>
                  <a:pt x="90" y="172"/>
                </a:lnTo>
                <a:lnTo>
                  <a:pt x="88" y="182"/>
                </a:lnTo>
                <a:lnTo>
                  <a:pt x="82" y="190"/>
                </a:lnTo>
                <a:lnTo>
                  <a:pt x="82" y="190"/>
                </a:lnTo>
                <a:close/>
                <a:moveTo>
                  <a:pt x="226" y="162"/>
                </a:moveTo>
                <a:lnTo>
                  <a:pt x="226" y="162"/>
                </a:lnTo>
                <a:lnTo>
                  <a:pt x="230" y="172"/>
                </a:lnTo>
                <a:lnTo>
                  <a:pt x="230" y="172"/>
                </a:lnTo>
                <a:lnTo>
                  <a:pt x="226" y="182"/>
                </a:lnTo>
                <a:lnTo>
                  <a:pt x="222" y="190"/>
                </a:lnTo>
                <a:lnTo>
                  <a:pt x="212" y="196"/>
                </a:lnTo>
                <a:lnTo>
                  <a:pt x="202" y="198"/>
                </a:lnTo>
                <a:lnTo>
                  <a:pt x="202" y="198"/>
                </a:lnTo>
                <a:lnTo>
                  <a:pt x="192" y="196"/>
                </a:lnTo>
                <a:lnTo>
                  <a:pt x="182" y="190"/>
                </a:lnTo>
                <a:lnTo>
                  <a:pt x="178" y="182"/>
                </a:lnTo>
                <a:lnTo>
                  <a:pt x="176" y="172"/>
                </a:lnTo>
                <a:lnTo>
                  <a:pt x="176" y="172"/>
                </a:lnTo>
                <a:lnTo>
                  <a:pt x="178" y="162"/>
                </a:lnTo>
                <a:lnTo>
                  <a:pt x="182" y="152"/>
                </a:lnTo>
                <a:lnTo>
                  <a:pt x="192" y="146"/>
                </a:lnTo>
                <a:lnTo>
                  <a:pt x="202" y="144"/>
                </a:lnTo>
                <a:lnTo>
                  <a:pt x="202" y="144"/>
                </a:lnTo>
                <a:lnTo>
                  <a:pt x="212" y="146"/>
                </a:lnTo>
                <a:lnTo>
                  <a:pt x="208" y="152"/>
                </a:lnTo>
                <a:lnTo>
                  <a:pt x="208" y="152"/>
                </a:lnTo>
                <a:lnTo>
                  <a:pt x="206" y="156"/>
                </a:lnTo>
                <a:lnTo>
                  <a:pt x="204" y="160"/>
                </a:lnTo>
                <a:lnTo>
                  <a:pt x="206" y="162"/>
                </a:lnTo>
                <a:lnTo>
                  <a:pt x="208" y="166"/>
                </a:lnTo>
                <a:lnTo>
                  <a:pt x="208" y="166"/>
                </a:lnTo>
                <a:lnTo>
                  <a:pt x="210" y="168"/>
                </a:lnTo>
                <a:lnTo>
                  <a:pt x="214" y="170"/>
                </a:lnTo>
                <a:lnTo>
                  <a:pt x="214" y="170"/>
                </a:lnTo>
                <a:lnTo>
                  <a:pt x="218" y="168"/>
                </a:lnTo>
                <a:lnTo>
                  <a:pt x="222" y="166"/>
                </a:lnTo>
                <a:lnTo>
                  <a:pt x="226" y="162"/>
                </a:lnTo>
                <a:close/>
                <a:moveTo>
                  <a:pt x="352" y="196"/>
                </a:moveTo>
                <a:lnTo>
                  <a:pt x="352" y="196"/>
                </a:lnTo>
                <a:lnTo>
                  <a:pt x="340" y="198"/>
                </a:lnTo>
                <a:lnTo>
                  <a:pt x="340" y="198"/>
                </a:lnTo>
                <a:lnTo>
                  <a:pt x="330" y="196"/>
                </a:lnTo>
                <a:lnTo>
                  <a:pt x="322" y="190"/>
                </a:lnTo>
                <a:lnTo>
                  <a:pt x="316" y="182"/>
                </a:lnTo>
                <a:lnTo>
                  <a:pt x="314" y="172"/>
                </a:lnTo>
                <a:lnTo>
                  <a:pt x="314" y="172"/>
                </a:lnTo>
                <a:lnTo>
                  <a:pt x="316" y="162"/>
                </a:lnTo>
                <a:lnTo>
                  <a:pt x="322" y="152"/>
                </a:lnTo>
                <a:lnTo>
                  <a:pt x="330" y="146"/>
                </a:lnTo>
                <a:lnTo>
                  <a:pt x="340" y="144"/>
                </a:lnTo>
                <a:lnTo>
                  <a:pt x="340" y="144"/>
                </a:lnTo>
                <a:lnTo>
                  <a:pt x="352" y="146"/>
                </a:lnTo>
                <a:lnTo>
                  <a:pt x="360" y="152"/>
                </a:lnTo>
                <a:lnTo>
                  <a:pt x="366" y="162"/>
                </a:lnTo>
                <a:lnTo>
                  <a:pt x="368" y="172"/>
                </a:lnTo>
                <a:lnTo>
                  <a:pt x="368" y="172"/>
                </a:lnTo>
                <a:lnTo>
                  <a:pt x="366" y="182"/>
                </a:lnTo>
                <a:lnTo>
                  <a:pt x="360" y="178"/>
                </a:lnTo>
                <a:lnTo>
                  <a:pt x="360" y="178"/>
                </a:lnTo>
                <a:lnTo>
                  <a:pt x="358" y="176"/>
                </a:lnTo>
                <a:lnTo>
                  <a:pt x="354" y="174"/>
                </a:lnTo>
                <a:lnTo>
                  <a:pt x="350" y="176"/>
                </a:lnTo>
                <a:lnTo>
                  <a:pt x="346" y="178"/>
                </a:lnTo>
                <a:lnTo>
                  <a:pt x="346" y="178"/>
                </a:lnTo>
                <a:lnTo>
                  <a:pt x="344" y="180"/>
                </a:lnTo>
                <a:lnTo>
                  <a:pt x="344" y="184"/>
                </a:lnTo>
                <a:lnTo>
                  <a:pt x="344" y="188"/>
                </a:lnTo>
                <a:lnTo>
                  <a:pt x="346" y="192"/>
                </a:lnTo>
                <a:lnTo>
                  <a:pt x="352" y="196"/>
                </a:lnTo>
                <a:close/>
                <a:moveTo>
                  <a:pt x="340" y="236"/>
                </a:moveTo>
                <a:lnTo>
                  <a:pt x="282" y="236"/>
                </a:lnTo>
                <a:lnTo>
                  <a:pt x="282" y="236"/>
                </a:lnTo>
                <a:lnTo>
                  <a:pt x="278" y="236"/>
                </a:lnTo>
                <a:lnTo>
                  <a:pt x="276" y="232"/>
                </a:lnTo>
                <a:lnTo>
                  <a:pt x="274" y="230"/>
                </a:lnTo>
                <a:lnTo>
                  <a:pt x="272" y="226"/>
                </a:lnTo>
                <a:lnTo>
                  <a:pt x="272" y="226"/>
                </a:lnTo>
                <a:lnTo>
                  <a:pt x="274" y="222"/>
                </a:lnTo>
                <a:lnTo>
                  <a:pt x="276" y="218"/>
                </a:lnTo>
                <a:lnTo>
                  <a:pt x="278" y="216"/>
                </a:lnTo>
                <a:lnTo>
                  <a:pt x="282" y="216"/>
                </a:lnTo>
                <a:lnTo>
                  <a:pt x="340" y="216"/>
                </a:lnTo>
                <a:lnTo>
                  <a:pt x="340" y="216"/>
                </a:lnTo>
                <a:lnTo>
                  <a:pt x="350" y="214"/>
                </a:lnTo>
                <a:lnTo>
                  <a:pt x="358" y="212"/>
                </a:lnTo>
                <a:lnTo>
                  <a:pt x="366" y="208"/>
                </a:lnTo>
                <a:lnTo>
                  <a:pt x="372" y="202"/>
                </a:lnTo>
                <a:lnTo>
                  <a:pt x="378" y="196"/>
                </a:lnTo>
                <a:lnTo>
                  <a:pt x="382" y="188"/>
                </a:lnTo>
                <a:lnTo>
                  <a:pt x="384" y="180"/>
                </a:lnTo>
                <a:lnTo>
                  <a:pt x="384" y="172"/>
                </a:lnTo>
                <a:lnTo>
                  <a:pt x="384" y="172"/>
                </a:lnTo>
                <a:lnTo>
                  <a:pt x="384" y="162"/>
                </a:lnTo>
                <a:lnTo>
                  <a:pt x="382" y="154"/>
                </a:lnTo>
                <a:lnTo>
                  <a:pt x="378" y="148"/>
                </a:lnTo>
                <a:lnTo>
                  <a:pt x="372" y="140"/>
                </a:lnTo>
                <a:lnTo>
                  <a:pt x="366" y="136"/>
                </a:lnTo>
                <a:lnTo>
                  <a:pt x="358" y="132"/>
                </a:lnTo>
                <a:lnTo>
                  <a:pt x="350" y="128"/>
                </a:lnTo>
                <a:lnTo>
                  <a:pt x="340" y="128"/>
                </a:lnTo>
                <a:lnTo>
                  <a:pt x="158" y="128"/>
                </a:lnTo>
                <a:lnTo>
                  <a:pt x="158" y="128"/>
                </a:lnTo>
                <a:lnTo>
                  <a:pt x="154" y="128"/>
                </a:lnTo>
                <a:lnTo>
                  <a:pt x="150" y="124"/>
                </a:lnTo>
                <a:lnTo>
                  <a:pt x="148" y="122"/>
                </a:lnTo>
                <a:lnTo>
                  <a:pt x="148" y="118"/>
                </a:lnTo>
                <a:lnTo>
                  <a:pt x="148" y="118"/>
                </a:lnTo>
                <a:lnTo>
                  <a:pt x="148" y="114"/>
                </a:lnTo>
                <a:lnTo>
                  <a:pt x="150" y="110"/>
                </a:lnTo>
                <a:lnTo>
                  <a:pt x="154" y="108"/>
                </a:lnTo>
                <a:lnTo>
                  <a:pt x="158" y="108"/>
                </a:lnTo>
                <a:lnTo>
                  <a:pt x="340" y="108"/>
                </a:lnTo>
                <a:lnTo>
                  <a:pt x="340" y="108"/>
                </a:lnTo>
                <a:lnTo>
                  <a:pt x="354" y="110"/>
                </a:lnTo>
                <a:lnTo>
                  <a:pt x="366" y="112"/>
                </a:lnTo>
                <a:lnTo>
                  <a:pt x="376" y="118"/>
                </a:lnTo>
                <a:lnTo>
                  <a:pt x="386" y="126"/>
                </a:lnTo>
                <a:lnTo>
                  <a:pt x="394" y="136"/>
                </a:lnTo>
                <a:lnTo>
                  <a:pt x="400" y="146"/>
                </a:lnTo>
                <a:lnTo>
                  <a:pt x="404" y="158"/>
                </a:lnTo>
                <a:lnTo>
                  <a:pt x="404" y="172"/>
                </a:lnTo>
                <a:lnTo>
                  <a:pt x="404" y="172"/>
                </a:lnTo>
                <a:lnTo>
                  <a:pt x="404" y="184"/>
                </a:lnTo>
                <a:lnTo>
                  <a:pt x="400" y="196"/>
                </a:lnTo>
                <a:lnTo>
                  <a:pt x="394" y="208"/>
                </a:lnTo>
                <a:lnTo>
                  <a:pt x="386" y="218"/>
                </a:lnTo>
                <a:lnTo>
                  <a:pt x="376" y="224"/>
                </a:lnTo>
                <a:lnTo>
                  <a:pt x="366" y="230"/>
                </a:lnTo>
                <a:lnTo>
                  <a:pt x="354" y="234"/>
                </a:lnTo>
                <a:lnTo>
                  <a:pt x="340" y="236"/>
                </a:lnTo>
                <a:lnTo>
                  <a:pt x="340" y="236"/>
                </a:lnTo>
                <a:close/>
                <a:moveTo>
                  <a:pt x="246" y="236"/>
                </a:moveTo>
                <a:lnTo>
                  <a:pt x="64" y="236"/>
                </a:lnTo>
                <a:lnTo>
                  <a:pt x="64" y="236"/>
                </a:lnTo>
                <a:lnTo>
                  <a:pt x="50" y="234"/>
                </a:lnTo>
                <a:lnTo>
                  <a:pt x="38" y="230"/>
                </a:lnTo>
                <a:lnTo>
                  <a:pt x="28" y="224"/>
                </a:lnTo>
                <a:lnTo>
                  <a:pt x="18" y="218"/>
                </a:lnTo>
                <a:lnTo>
                  <a:pt x="10" y="208"/>
                </a:lnTo>
                <a:lnTo>
                  <a:pt x="4" y="196"/>
                </a:lnTo>
                <a:lnTo>
                  <a:pt x="0" y="184"/>
                </a:lnTo>
                <a:lnTo>
                  <a:pt x="0" y="172"/>
                </a:lnTo>
                <a:lnTo>
                  <a:pt x="0" y="172"/>
                </a:lnTo>
                <a:lnTo>
                  <a:pt x="0" y="158"/>
                </a:lnTo>
                <a:lnTo>
                  <a:pt x="4" y="146"/>
                </a:lnTo>
                <a:lnTo>
                  <a:pt x="10" y="136"/>
                </a:lnTo>
                <a:lnTo>
                  <a:pt x="18" y="126"/>
                </a:lnTo>
                <a:lnTo>
                  <a:pt x="28" y="118"/>
                </a:lnTo>
                <a:lnTo>
                  <a:pt x="38" y="112"/>
                </a:lnTo>
                <a:lnTo>
                  <a:pt x="50" y="110"/>
                </a:lnTo>
                <a:lnTo>
                  <a:pt x="64" y="108"/>
                </a:lnTo>
                <a:lnTo>
                  <a:pt x="122" y="108"/>
                </a:lnTo>
                <a:lnTo>
                  <a:pt x="122" y="108"/>
                </a:lnTo>
                <a:lnTo>
                  <a:pt x="126" y="108"/>
                </a:lnTo>
                <a:lnTo>
                  <a:pt x="128" y="110"/>
                </a:lnTo>
                <a:lnTo>
                  <a:pt x="130" y="114"/>
                </a:lnTo>
                <a:lnTo>
                  <a:pt x="132" y="118"/>
                </a:lnTo>
                <a:lnTo>
                  <a:pt x="132" y="118"/>
                </a:lnTo>
                <a:lnTo>
                  <a:pt x="130" y="122"/>
                </a:lnTo>
                <a:lnTo>
                  <a:pt x="128" y="124"/>
                </a:lnTo>
                <a:lnTo>
                  <a:pt x="126" y="128"/>
                </a:lnTo>
                <a:lnTo>
                  <a:pt x="122" y="128"/>
                </a:lnTo>
                <a:lnTo>
                  <a:pt x="64" y="128"/>
                </a:lnTo>
                <a:lnTo>
                  <a:pt x="64" y="128"/>
                </a:lnTo>
                <a:lnTo>
                  <a:pt x="54" y="128"/>
                </a:lnTo>
                <a:lnTo>
                  <a:pt x="46" y="132"/>
                </a:lnTo>
                <a:lnTo>
                  <a:pt x="38" y="136"/>
                </a:lnTo>
                <a:lnTo>
                  <a:pt x="32" y="140"/>
                </a:lnTo>
                <a:lnTo>
                  <a:pt x="26" y="148"/>
                </a:lnTo>
                <a:lnTo>
                  <a:pt x="22" y="154"/>
                </a:lnTo>
                <a:lnTo>
                  <a:pt x="20" y="162"/>
                </a:lnTo>
                <a:lnTo>
                  <a:pt x="20" y="172"/>
                </a:lnTo>
                <a:lnTo>
                  <a:pt x="20" y="172"/>
                </a:lnTo>
                <a:lnTo>
                  <a:pt x="20" y="180"/>
                </a:lnTo>
                <a:lnTo>
                  <a:pt x="22" y="188"/>
                </a:lnTo>
                <a:lnTo>
                  <a:pt x="26" y="196"/>
                </a:lnTo>
                <a:lnTo>
                  <a:pt x="32" y="202"/>
                </a:lnTo>
                <a:lnTo>
                  <a:pt x="38" y="208"/>
                </a:lnTo>
                <a:lnTo>
                  <a:pt x="46" y="212"/>
                </a:lnTo>
                <a:lnTo>
                  <a:pt x="54" y="214"/>
                </a:lnTo>
                <a:lnTo>
                  <a:pt x="64" y="216"/>
                </a:lnTo>
                <a:lnTo>
                  <a:pt x="246" y="216"/>
                </a:lnTo>
                <a:lnTo>
                  <a:pt x="246" y="216"/>
                </a:lnTo>
                <a:lnTo>
                  <a:pt x="250" y="216"/>
                </a:lnTo>
                <a:lnTo>
                  <a:pt x="254" y="218"/>
                </a:lnTo>
                <a:lnTo>
                  <a:pt x="256" y="222"/>
                </a:lnTo>
                <a:lnTo>
                  <a:pt x="256" y="226"/>
                </a:lnTo>
                <a:lnTo>
                  <a:pt x="256" y="226"/>
                </a:lnTo>
                <a:lnTo>
                  <a:pt x="256" y="230"/>
                </a:lnTo>
                <a:lnTo>
                  <a:pt x="254" y="232"/>
                </a:lnTo>
                <a:lnTo>
                  <a:pt x="250" y="236"/>
                </a:lnTo>
                <a:lnTo>
                  <a:pt x="246" y="236"/>
                </a:lnTo>
                <a:lnTo>
                  <a:pt x="246" y="23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reeform 38"/>
          <p:cNvSpPr/>
          <p:nvPr/>
        </p:nvSpPr>
        <p:spPr>
          <a:xfrm>
            <a:off x="6825392" y="10606254"/>
            <a:ext cx="12254522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ablere nasjonale tekniske fellestjenester og analyseinfrastruktur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5425358" y="10570523"/>
            <a:ext cx="1080000" cy="1080000"/>
            <a:chOff x="11651206" y="10770110"/>
            <a:chExt cx="1080000" cy="1080000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41" name="Oval 40"/>
            <p:cNvSpPr/>
            <p:nvPr/>
          </p:nvSpPr>
          <p:spPr bwMode="ltGray">
            <a:xfrm>
              <a:off x="11651206" y="1077011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4830"/>
            <p:cNvSpPr>
              <a:spLocks noEditPoints="1"/>
            </p:cNvSpPr>
            <p:nvPr/>
          </p:nvSpPr>
          <p:spPr bwMode="auto">
            <a:xfrm>
              <a:off x="11668316" y="10874942"/>
              <a:ext cx="1045781" cy="817052"/>
            </a:xfrm>
            <a:custGeom>
              <a:avLst/>
              <a:gdLst>
                <a:gd name="T0" fmla="*/ 478 w 500"/>
                <a:gd name="T1" fmla="*/ 164 h 400"/>
                <a:gd name="T2" fmla="*/ 422 w 500"/>
                <a:gd name="T3" fmla="*/ 150 h 400"/>
                <a:gd name="T4" fmla="*/ 374 w 500"/>
                <a:gd name="T5" fmla="*/ 120 h 400"/>
                <a:gd name="T6" fmla="*/ 358 w 500"/>
                <a:gd name="T7" fmla="*/ 106 h 400"/>
                <a:gd name="T8" fmla="*/ 356 w 500"/>
                <a:gd name="T9" fmla="*/ 104 h 400"/>
                <a:gd name="T10" fmla="*/ 260 w 500"/>
                <a:gd name="T11" fmla="*/ 8 h 400"/>
                <a:gd name="T12" fmla="*/ 260 w 500"/>
                <a:gd name="T13" fmla="*/ 6 h 400"/>
                <a:gd name="T14" fmla="*/ 256 w 500"/>
                <a:gd name="T15" fmla="*/ 4 h 400"/>
                <a:gd name="T16" fmla="*/ 256 w 500"/>
                <a:gd name="T17" fmla="*/ 2 h 400"/>
                <a:gd name="T18" fmla="*/ 252 w 500"/>
                <a:gd name="T19" fmla="*/ 0 h 400"/>
                <a:gd name="T20" fmla="*/ 252 w 500"/>
                <a:gd name="T21" fmla="*/ 0 h 400"/>
                <a:gd name="T22" fmla="*/ 248 w 500"/>
                <a:gd name="T23" fmla="*/ 0 h 400"/>
                <a:gd name="T24" fmla="*/ 248 w 500"/>
                <a:gd name="T25" fmla="*/ 0 h 400"/>
                <a:gd name="T26" fmla="*/ 244 w 500"/>
                <a:gd name="T27" fmla="*/ 2 h 400"/>
                <a:gd name="T28" fmla="*/ 244 w 500"/>
                <a:gd name="T29" fmla="*/ 4 h 400"/>
                <a:gd name="T30" fmla="*/ 240 w 500"/>
                <a:gd name="T31" fmla="*/ 6 h 400"/>
                <a:gd name="T32" fmla="*/ 214 w 500"/>
                <a:gd name="T33" fmla="*/ 102 h 400"/>
                <a:gd name="T34" fmla="*/ 144 w 500"/>
                <a:gd name="T35" fmla="*/ 104 h 400"/>
                <a:gd name="T36" fmla="*/ 142 w 500"/>
                <a:gd name="T37" fmla="*/ 106 h 400"/>
                <a:gd name="T38" fmla="*/ 126 w 500"/>
                <a:gd name="T39" fmla="*/ 120 h 400"/>
                <a:gd name="T40" fmla="*/ 78 w 500"/>
                <a:gd name="T41" fmla="*/ 150 h 400"/>
                <a:gd name="T42" fmla="*/ 22 w 500"/>
                <a:gd name="T43" fmla="*/ 164 h 400"/>
                <a:gd name="T44" fmla="*/ 0 w 500"/>
                <a:gd name="T45" fmla="*/ 186 h 400"/>
                <a:gd name="T46" fmla="*/ 0 w 500"/>
                <a:gd name="T47" fmla="*/ 186 h 400"/>
                <a:gd name="T48" fmla="*/ 20 w 500"/>
                <a:gd name="T49" fmla="*/ 184 h 400"/>
                <a:gd name="T50" fmla="*/ 80 w 500"/>
                <a:gd name="T51" fmla="*/ 170 h 400"/>
                <a:gd name="T52" fmla="*/ 134 w 500"/>
                <a:gd name="T53" fmla="*/ 140 h 400"/>
                <a:gd name="T54" fmla="*/ 138 w 500"/>
                <a:gd name="T55" fmla="*/ 388 h 400"/>
                <a:gd name="T56" fmla="*/ 140 w 500"/>
                <a:gd name="T57" fmla="*/ 394 h 400"/>
                <a:gd name="T58" fmla="*/ 146 w 500"/>
                <a:gd name="T59" fmla="*/ 400 h 400"/>
                <a:gd name="T60" fmla="*/ 154 w 500"/>
                <a:gd name="T61" fmla="*/ 398 h 400"/>
                <a:gd name="T62" fmla="*/ 250 w 500"/>
                <a:gd name="T63" fmla="*/ 322 h 400"/>
                <a:gd name="T64" fmla="*/ 342 w 500"/>
                <a:gd name="T65" fmla="*/ 392 h 400"/>
                <a:gd name="T66" fmla="*/ 352 w 500"/>
                <a:gd name="T67" fmla="*/ 400 h 400"/>
                <a:gd name="T68" fmla="*/ 358 w 500"/>
                <a:gd name="T69" fmla="*/ 398 h 400"/>
                <a:gd name="T70" fmla="*/ 362 w 500"/>
                <a:gd name="T71" fmla="*/ 388 h 400"/>
                <a:gd name="T72" fmla="*/ 350 w 500"/>
                <a:gd name="T73" fmla="*/ 126 h 400"/>
                <a:gd name="T74" fmla="*/ 402 w 500"/>
                <a:gd name="T75" fmla="*/ 162 h 400"/>
                <a:gd name="T76" fmla="*/ 458 w 500"/>
                <a:gd name="T77" fmla="*/ 182 h 400"/>
                <a:gd name="T78" fmla="*/ 500 w 500"/>
                <a:gd name="T79" fmla="*/ 186 h 400"/>
                <a:gd name="T80" fmla="*/ 500 w 500"/>
                <a:gd name="T81" fmla="*/ 186 h 400"/>
                <a:gd name="T82" fmla="*/ 498 w 500"/>
                <a:gd name="T83" fmla="*/ 166 h 400"/>
                <a:gd name="T84" fmla="*/ 282 w 500"/>
                <a:gd name="T85" fmla="*/ 166 h 400"/>
                <a:gd name="T86" fmla="*/ 250 w 500"/>
                <a:gd name="T87" fmla="*/ 220 h 400"/>
                <a:gd name="T88" fmla="*/ 280 w 500"/>
                <a:gd name="T89" fmla="*/ 202 h 400"/>
                <a:gd name="T90" fmla="*/ 236 w 500"/>
                <a:gd name="T91" fmla="*/ 102 h 400"/>
                <a:gd name="T92" fmla="*/ 270 w 500"/>
                <a:gd name="T93" fmla="*/ 122 h 400"/>
                <a:gd name="T94" fmla="*/ 224 w 500"/>
                <a:gd name="T95" fmla="*/ 146 h 400"/>
                <a:gd name="T96" fmla="*/ 230 w 500"/>
                <a:gd name="T97" fmla="*/ 172 h 400"/>
                <a:gd name="T98" fmla="*/ 184 w 500"/>
                <a:gd name="T99" fmla="*/ 122 h 400"/>
                <a:gd name="T100" fmla="*/ 184 w 500"/>
                <a:gd name="T101" fmla="*/ 122 h 400"/>
                <a:gd name="T102" fmla="*/ 196 w 500"/>
                <a:gd name="T103" fmla="*/ 250 h 400"/>
                <a:gd name="T104" fmla="*/ 186 w 500"/>
                <a:gd name="T105" fmla="*/ 286 h 400"/>
                <a:gd name="T106" fmla="*/ 200 w 500"/>
                <a:gd name="T107" fmla="*/ 272 h 400"/>
                <a:gd name="T108" fmla="*/ 250 w 500"/>
                <a:gd name="T109" fmla="*/ 300 h 400"/>
                <a:gd name="T110" fmla="*/ 270 w 500"/>
                <a:gd name="T111" fmla="*/ 312 h 400"/>
                <a:gd name="T112" fmla="*/ 304 w 500"/>
                <a:gd name="T113" fmla="*/ 250 h 400"/>
                <a:gd name="T114" fmla="*/ 304 w 500"/>
                <a:gd name="T115" fmla="*/ 250 h 400"/>
                <a:gd name="T116" fmla="*/ 316 w 500"/>
                <a:gd name="T117" fmla="*/ 12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0" h="400">
                  <a:moveTo>
                    <a:pt x="498" y="166"/>
                  </a:moveTo>
                  <a:lnTo>
                    <a:pt x="498" y="166"/>
                  </a:lnTo>
                  <a:lnTo>
                    <a:pt x="478" y="164"/>
                  </a:lnTo>
                  <a:lnTo>
                    <a:pt x="460" y="162"/>
                  </a:lnTo>
                  <a:lnTo>
                    <a:pt x="440" y="156"/>
                  </a:lnTo>
                  <a:lnTo>
                    <a:pt x="422" y="150"/>
                  </a:lnTo>
                  <a:lnTo>
                    <a:pt x="406" y="142"/>
                  </a:lnTo>
                  <a:lnTo>
                    <a:pt x="388" y="130"/>
                  </a:lnTo>
                  <a:lnTo>
                    <a:pt x="374" y="120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6" y="104"/>
                  </a:lnTo>
                  <a:lnTo>
                    <a:pt x="356" y="104"/>
                  </a:lnTo>
                  <a:lnTo>
                    <a:pt x="352" y="102"/>
                  </a:lnTo>
                  <a:lnTo>
                    <a:pt x="286" y="102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6"/>
                  </a:lnTo>
                  <a:lnTo>
                    <a:pt x="260" y="6"/>
                  </a:lnTo>
                  <a:lnTo>
                    <a:pt x="258" y="4"/>
                  </a:lnTo>
                  <a:lnTo>
                    <a:pt x="258" y="4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6" y="2"/>
                  </a:lnTo>
                  <a:lnTo>
                    <a:pt x="256" y="2"/>
                  </a:lnTo>
                  <a:lnTo>
                    <a:pt x="254" y="2"/>
                  </a:lnTo>
                  <a:lnTo>
                    <a:pt x="254" y="2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6" y="2"/>
                  </a:lnTo>
                  <a:lnTo>
                    <a:pt x="246" y="2"/>
                  </a:lnTo>
                  <a:lnTo>
                    <a:pt x="244" y="2"/>
                  </a:lnTo>
                  <a:lnTo>
                    <a:pt x="244" y="2"/>
                  </a:lnTo>
                  <a:lnTo>
                    <a:pt x="244" y="4"/>
                  </a:lnTo>
                  <a:lnTo>
                    <a:pt x="244" y="4"/>
                  </a:lnTo>
                  <a:lnTo>
                    <a:pt x="242" y="4"/>
                  </a:lnTo>
                  <a:lnTo>
                    <a:pt x="242" y="4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8"/>
                  </a:lnTo>
                  <a:lnTo>
                    <a:pt x="214" y="102"/>
                  </a:lnTo>
                  <a:lnTo>
                    <a:pt x="148" y="102"/>
                  </a:lnTo>
                  <a:lnTo>
                    <a:pt x="148" y="102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26" y="120"/>
                  </a:lnTo>
                  <a:lnTo>
                    <a:pt x="112" y="130"/>
                  </a:lnTo>
                  <a:lnTo>
                    <a:pt x="94" y="142"/>
                  </a:lnTo>
                  <a:lnTo>
                    <a:pt x="78" y="150"/>
                  </a:lnTo>
                  <a:lnTo>
                    <a:pt x="60" y="156"/>
                  </a:lnTo>
                  <a:lnTo>
                    <a:pt x="40" y="162"/>
                  </a:lnTo>
                  <a:lnTo>
                    <a:pt x="22" y="164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0" y="184"/>
                  </a:lnTo>
                  <a:lnTo>
                    <a:pt x="40" y="182"/>
                  </a:lnTo>
                  <a:lnTo>
                    <a:pt x="60" y="176"/>
                  </a:lnTo>
                  <a:lnTo>
                    <a:pt x="80" y="170"/>
                  </a:lnTo>
                  <a:lnTo>
                    <a:pt x="98" y="162"/>
                  </a:lnTo>
                  <a:lnTo>
                    <a:pt x="116" y="152"/>
                  </a:lnTo>
                  <a:lnTo>
                    <a:pt x="134" y="140"/>
                  </a:lnTo>
                  <a:lnTo>
                    <a:pt x="150" y="126"/>
                  </a:lnTo>
                  <a:lnTo>
                    <a:pt x="200" y="156"/>
                  </a:lnTo>
                  <a:lnTo>
                    <a:pt x="138" y="388"/>
                  </a:lnTo>
                  <a:lnTo>
                    <a:pt x="138" y="388"/>
                  </a:lnTo>
                  <a:lnTo>
                    <a:pt x="138" y="392"/>
                  </a:lnTo>
                  <a:lnTo>
                    <a:pt x="140" y="394"/>
                  </a:lnTo>
                  <a:lnTo>
                    <a:pt x="142" y="398"/>
                  </a:lnTo>
                  <a:lnTo>
                    <a:pt x="146" y="400"/>
                  </a:lnTo>
                  <a:lnTo>
                    <a:pt x="146" y="400"/>
                  </a:lnTo>
                  <a:lnTo>
                    <a:pt x="148" y="400"/>
                  </a:lnTo>
                  <a:lnTo>
                    <a:pt x="148" y="400"/>
                  </a:lnTo>
                  <a:lnTo>
                    <a:pt x="154" y="398"/>
                  </a:lnTo>
                  <a:lnTo>
                    <a:pt x="158" y="392"/>
                  </a:lnTo>
                  <a:lnTo>
                    <a:pt x="164" y="372"/>
                  </a:lnTo>
                  <a:lnTo>
                    <a:pt x="250" y="322"/>
                  </a:lnTo>
                  <a:lnTo>
                    <a:pt x="336" y="372"/>
                  </a:lnTo>
                  <a:lnTo>
                    <a:pt x="342" y="392"/>
                  </a:lnTo>
                  <a:lnTo>
                    <a:pt x="342" y="392"/>
                  </a:lnTo>
                  <a:lnTo>
                    <a:pt x="346" y="398"/>
                  </a:lnTo>
                  <a:lnTo>
                    <a:pt x="352" y="400"/>
                  </a:lnTo>
                  <a:lnTo>
                    <a:pt x="352" y="400"/>
                  </a:lnTo>
                  <a:lnTo>
                    <a:pt x="354" y="400"/>
                  </a:lnTo>
                  <a:lnTo>
                    <a:pt x="354" y="400"/>
                  </a:lnTo>
                  <a:lnTo>
                    <a:pt x="358" y="398"/>
                  </a:lnTo>
                  <a:lnTo>
                    <a:pt x="360" y="394"/>
                  </a:lnTo>
                  <a:lnTo>
                    <a:pt x="362" y="392"/>
                  </a:lnTo>
                  <a:lnTo>
                    <a:pt x="362" y="388"/>
                  </a:lnTo>
                  <a:lnTo>
                    <a:pt x="300" y="156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66" y="140"/>
                  </a:lnTo>
                  <a:lnTo>
                    <a:pt x="384" y="152"/>
                  </a:lnTo>
                  <a:lnTo>
                    <a:pt x="402" y="162"/>
                  </a:lnTo>
                  <a:lnTo>
                    <a:pt x="420" y="170"/>
                  </a:lnTo>
                  <a:lnTo>
                    <a:pt x="438" y="176"/>
                  </a:lnTo>
                  <a:lnTo>
                    <a:pt x="458" y="182"/>
                  </a:lnTo>
                  <a:lnTo>
                    <a:pt x="480" y="184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498" y="166"/>
                  </a:lnTo>
                  <a:lnTo>
                    <a:pt x="498" y="166"/>
                  </a:lnTo>
                  <a:close/>
                  <a:moveTo>
                    <a:pt x="286" y="182"/>
                  </a:moveTo>
                  <a:lnTo>
                    <a:pt x="270" y="172"/>
                  </a:lnTo>
                  <a:lnTo>
                    <a:pt x="282" y="166"/>
                  </a:lnTo>
                  <a:lnTo>
                    <a:pt x="286" y="182"/>
                  </a:lnTo>
                  <a:close/>
                  <a:moveTo>
                    <a:pt x="280" y="202"/>
                  </a:moveTo>
                  <a:lnTo>
                    <a:pt x="250" y="220"/>
                  </a:lnTo>
                  <a:lnTo>
                    <a:pt x="220" y="202"/>
                  </a:lnTo>
                  <a:lnTo>
                    <a:pt x="250" y="184"/>
                  </a:lnTo>
                  <a:lnTo>
                    <a:pt x="280" y="202"/>
                  </a:lnTo>
                  <a:close/>
                  <a:moveTo>
                    <a:pt x="250" y="50"/>
                  </a:moveTo>
                  <a:lnTo>
                    <a:pt x="264" y="102"/>
                  </a:lnTo>
                  <a:lnTo>
                    <a:pt x="236" y="102"/>
                  </a:lnTo>
                  <a:lnTo>
                    <a:pt x="250" y="50"/>
                  </a:lnTo>
                  <a:close/>
                  <a:moveTo>
                    <a:pt x="230" y="122"/>
                  </a:moveTo>
                  <a:lnTo>
                    <a:pt x="270" y="122"/>
                  </a:lnTo>
                  <a:lnTo>
                    <a:pt x="276" y="146"/>
                  </a:lnTo>
                  <a:lnTo>
                    <a:pt x="250" y="162"/>
                  </a:lnTo>
                  <a:lnTo>
                    <a:pt x="224" y="146"/>
                  </a:lnTo>
                  <a:lnTo>
                    <a:pt x="230" y="122"/>
                  </a:lnTo>
                  <a:close/>
                  <a:moveTo>
                    <a:pt x="218" y="166"/>
                  </a:moveTo>
                  <a:lnTo>
                    <a:pt x="230" y="172"/>
                  </a:lnTo>
                  <a:lnTo>
                    <a:pt x="214" y="182"/>
                  </a:lnTo>
                  <a:lnTo>
                    <a:pt x="218" y="166"/>
                  </a:lnTo>
                  <a:close/>
                  <a:moveTo>
                    <a:pt x="184" y="122"/>
                  </a:moveTo>
                  <a:lnTo>
                    <a:pt x="210" y="122"/>
                  </a:lnTo>
                  <a:lnTo>
                    <a:pt x="206" y="136"/>
                  </a:lnTo>
                  <a:lnTo>
                    <a:pt x="184" y="122"/>
                  </a:lnTo>
                  <a:close/>
                  <a:moveTo>
                    <a:pt x="206" y="216"/>
                  </a:moveTo>
                  <a:lnTo>
                    <a:pt x="230" y="232"/>
                  </a:lnTo>
                  <a:lnTo>
                    <a:pt x="196" y="250"/>
                  </a:lnTo>
                  <a:lnTo>
                    <a:pt x="206" y="216"/>
                  </a:lnTo>
                  <a:close/>
                  <a:moveTo>
                    <a:pt x="170" y="346"/>
                  </a:moveTo>
                  <a:lnTo>
                    <a:pt x="186" y="286"/>
                  </a:lnTo>
                  <a:lnTo>
                    <a:pt x="230" y="312"/>
                  </a:lnTo>
                  <a:lnTo>
                    <a:pt x="170" y="346"/>
                  </a:lnTo>
                  <a:close/>
                  <a:moveTo>
                    <a:pt x="200" y="272"/>
                  </a:moveTo>
                  <a:lnTo>
                    <a:pt x="250" y="242"/>
                  </a:lnTo>
                  <a:lnTo>
                    <a:pt x="300" y="272"/>
                  </a:lnTo>
                  <a:lnTo>
                    <a:pt x="250" y="300"/>
                  </a:lnTo>
                  <a:lnTo>
                    <a:pt x="200" y="272"/>
                  </a:lnTo>
                  <a:close/>
                  <a:moveTo>
                    <a:pt x="330" y="346"/>
                  </a:moveTo>
                  <a:lnTo>
                    <a:pt x="270" y="312"/>
                  </a:lnTo>
                  <a:lnTo>
                    <a:pt x="314" y="286"/>
                  </a:lnTo>
                  <a:lnTo>
                    <a:pt x="330" y="346"/>
                  </a:lnTo>
                  <a:close/>
                  <a:moveTo>
                    <a:pt x="304" y="250"/>
                  </a:moveTo>
                  <a:lnTo>
                    <a:pt x="270" y="232"/>
                  </a:lnTo>
                  <a:lnTo>
                    <a:pt x="294" y="216"/>
                  </a:lnTo>
                  <a:lnTo>
                    <a:pt x="304" y="250"/>
                  </a:lnTo>
                  <a:close/>
                  <a:moveTo>
                    <a:pt x="294" y="136"/>
                  </a:moveTo>
                  <a:lnTo>
                    <a:pt x="290" y="122"/>
                  </a:lnTo>
                  <a:lnTo>
                    <a:pt x="316" y="122"/>
                  </a:lnTo>
                  <a:lnTo>
                    <a:pt x="294" y="13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/>
          </p:spPr>
          <p:txBody>
            <a:bodyPr vert="horz" wrap="square" lIns="152380" tIns="76190" rIns="152380" bIns="761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91104" y="462010"/>
            <a:ext cx="3816000" cy="2294592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19428530" y="2052736"/>
            <a:ext cx="4140000" cy="789096"/>
          </a:xfrm>
          <a:prstGeom prst="roundRect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4509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" name="Object 18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81" name="Object 18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lsedataprogrammets fire prosjekter</a:t>
            </a:r>
            <a:endParaRPr lang="nb-NO" dirty="0">
              <a:solidFill>
                <a:srgbClr val="FF0000"/>
              </a:solidFill>
            </a:endParaRPr>
          </a:p>
        </p:txBody>
      </p:sp>
      <p:sp>
        <p:nvSpPr>
          <p:cNvPr id="180" name="Freeform 179"/>
          <p:cNvSpPr/>
          <p:nvPr/>
        </p:nvSpPr>
        <p:spPr>
          <a:xfrm>
            <a:off x="6465195" y="4789454"/>
            <a:ext cx="12723718" cy="6056305"/>
          </a:xfrm>
          <a:custGeom>
            <a:avLst/>
            <a:gdLst>
              <a:gd name="connsiteX0" fmla="*/ 156588 w 15016406"/>
              <a:gd name="connsiteY0" fmla="*/ 0 h 5682541"/>
              <a:gd name="connsiteX1" fmla="*/ 14834492 w 15016406"/>
              <a:gd name="connsiteY1" fmla="*/ 0 h 5682541"/>
              <a:gd name="connsiteX2" fmla="*/ 14991080 w 15016406"/>
              <a:gd name="connsiteY2" fmla="*/ 156588 h 5682541"/>
              <a:gd name="connsiteX3" fmla="*/ 14991080 w 15016406"/>
              <a:gd name="connsiteY3" fmla="*/ 4126454 h 5682541"/>
              <a:gd name="connsiteX4" fmla="*/ 14986262 w 15016406"/>
              <a:gd name="connsiteY4" fmla="*/ 4150321 h 5682541"/>
              <a:gd name="connsiteX5" fmla="*/ 14999922 w 15016406"/>
              <a:gd name="connsiteY5" fmla="*/ 4159530 h 5682541"/>
              <a:gd name="connsiteX6" fmla="*/ 15016406 w 15016406"/>
              <a:gd name="connsiteY6" fmla="*/ 4199329 h 5682541"/>
              <a:gd name="connsiteX7" fmla="*/ 15016406 w 15016406"/>
              <a:gd name="connsiteY7" fmla="*/ 5626257 h 5682541"/>
              <a:gd name="connsiteX8" fmla="*/ 14960122 w 15016406"/>
              <a:gd name="connsiteY8" fmla="*/ 5682541 h 5682541"/>
              <a:gd name="connsiteX9" fmla="*/ 10188364 w 15016406"/>
              <a:gd name="connsiteY9" fmla="*/ 5682541 h 5682541"/>
              <a:gd name="connsiteX10" fmla="*/ 10132080 w 15016406"/>
              <a:gd name="connsiteY10" fmla="*/ 5626257 h 5682541"/>
              <a:gd name="connsiteX11" fmla="*/ 10132080 w 15016406"/>
              <a:gd name="connsiteY11" fmla="*/ 5026231 h 5682541"/>
              <a:gd name="connsiteX12" fmla="*/ 10125861 w 15016406"/>
              <a:gd name="connsiteY12" fmla="*/ 5028807 h 5682541"/>
              <a:gd name="connsiteX13" fmla="*/ 5142107 w 15016406"/>
              <a:gd name="connsiteY13" fmla="*/ 5028807 h 5682541"/>
              <a:gd name="connsiteX14" fmla="*/ 5109724 w 15016406"/>
              <a:gd name="connsiteY14" fmla="*/ 4996424 h 5682541"/>
              <a:gd name="connsiteX15" fmla="*/ 5109724 w 15016406"/>
              <a:gd name="connsiteY15" fmla="*/ 4283042 h 5682541"/>
              <a:gd name="connsiteX16" fmla="*/ 156588 w 15016406"/>
              <a:gd name="connsiteY16" fmla="*/ 4283042 h 5682541"/>
              <a:gd name="connsiteX17" fmla="*/ 0 w 15016406"/>
              <a:gd name="connsiteY17" fmla="*/ 4126454 h 5682541"/>
              <a:gd name="connsiteX18" fmla="*/ 0 w 15016406"/>
              <a:gd name="connsiteY18" fmla="*/ 156588 h 5682541"/>
              <a:gd name="connsiteX19" fmla="*/ 156588 w 15016406"/>
              <a:gd name="connsiteY19" fmla="*/ 0 h 5682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5016406" h="5682541">
                <a:moveTo>
                  <a:pt x="156588" y="0"/>
                </a:moveTo>
                <a:lnTo>
                  <a:pt x="14834492" y="0"/>
                </a:lnTo>
                <a:cubicBezTo>
                  <a:pt x="14920974" y="0"/>
                  <a:pt x="14991080" y="70107"/>
                  <a:pt x="14991080" y="156588"/>
                </a:cubicBezTo>
                <a:lnTo>
                  <a:pt x="14991080" y="4126454"/>
                </a:lnTo>
                <a:lnTo>
                  <a:pt x="14986262" y="4150321"/>
                </a:lnTo>
                <a:lnTo>
                  <a:pt x="14999922" y="4159530"/>
                </a:lnTo>
                <a:cubicBezTo>
                  <a:pt x="15010106" y="4169715"/>
                  <a:pt x="15016406" y="4183786"/>
                  <a:pt x="15016406" y="4199329"/>
                </a:cubicBezTo>
                <a:lnTo>
                  <a:pt x="15016406" y="5626257"/>
                </a:lnTo>
                <a:cubicBezTo>
                  <a:pt x="15016406" y="5657342"/>
                  <a:pt x="14991208" y="5682541"/>
                  <a:pt x="14960122" y="5682541"/>
                </a:cubicBezTo>
                <a:lnTo>
                  <a:pt x="10188364" y="5682541"/>
                </a:lnTo>
                <a:cubicBezTo>
                  <a:pt x="10157279" y="5682541"/>
                  <a:pt x="10132080" y="5657342"/>
                  <a:pt x="10132080" y="5626257"/>
                </a:cubicBezTo>
                <a:lnTo>
                  <a:pt x="10132080" y="5026231"/>
                </a:lnTo>
                <a:lnTo>
                  <a:pt x="10125861" y="5028807"/>
                </a:lnTo>
                <a:lnTo>
                  <a:pt x="5142107" y="5028807"/>
                </a:lnTo>
                <a:cubicBezTo>
                  <a:pt x="5124222" y="5028807"/>
                  <a:pt x="5109724" y="5014309"/>
                  <a:pt x="5109724" y="4996424"/>
                </a:cubicBezTo>
                <a:lnTo>
                  <a:pt x="5109724" y="4283042"/>
                </a:lnTo>
                <a:lnTo>
                  <a:pt x="156588" y="4283042"/>
                </a:lnTo>
                <a:cubicBezTo>
                  <a:pt x="70108" y="4283042"/>
                  <a:pt x="0" y="4212935"/>
                  <a:pt x="0" y="4126454"/>
                </a:cubicBezTo>
                <a:lnTo>
                  <a:pt x="0" y="156588"/>
                </a:lnTo>
                <a:cubicBezTo>
                  <a:pt x="0" y="70107"/>
                  <a:pt x="70108" y="0"/>
                  <a:pt x="15658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accent5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dra til å utrede og innføre; standarder, kodeverk, terminologier, protokoller, formater, kanaler, tjenester (API)</a:t>
            </a:r>
          </a:p>
        </p:txBody>
      </p:sp>
      <p:sp>
        <p:nvSpPr>
          <p:cNvPr id="7" name="Rectangle 6"/>
          <p:cNvSpPr/>
          <p:nvPr/>
        </p:nvSpPr>
        <p:spPr>
          <a:xfrm>
            <a:off x="6465195" y="3341764"/>
            <a:ext cx="12723718" cy="126605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analyseplattformen</a:t>
            </a:r>
          </a:p>
        </p:txBody>
      </p:sp>
      <p:sp>
        <p:nvSpPr>
          <p:cNvPr id="8" name="Rectangle 7"/>
          <p:cNvSpPr/>
          <p:nvPr/>
        </p:nvSpPr>
        <p:spPr>
          <a:xfrm>
            <a:off x="2061804" y="6520056"/>
            <a:ext cx="3662249" cy="126605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monisering</a:t>
            </a:r>
            <a:endParaRPr kumimoji="0" lang="nb-N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061804" y="10031795"/>
            <a:ext cx="3662249" cy="126605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lestjenest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61804" y="3341764"/>
            <a:ext cx="3662249" cy="126605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analyseplattforme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465196" y="11001472"/>
            <a:ext cx="12723717" cy="8031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65196" y="10252866"/>
            <a:ext cx="8468170" cy="7552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465196" y="9535077"/>
            <a:ext cx="4241239" cy="75527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Flowchart: Magnetic Disk 19"/>
          <p:cNvSpPr/>
          <p:nvPr/>
        </p:nvSpPr>
        <p:spPr>
          <a:xfrm>
            <a:off x="7670140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Freeform 4901"/>
          <p:cNvSpPr>
            <a:spLocks noEditPoints="1"/>
          </p:cNvSpPr>
          <p:nvPr/>
        </p:nvSpPr>
        <p:spPr bwMode="auto">
          <a:xfrm>
            <a:off x="10459699" y="3685607"/>
            <a:ext cx="318005" cy="615112"/>
          </a:xfrm>
          <a:custGeom>
            <a:avLst/>
            <a:gdLst>
              <a:gd name="T0" fmla="*/ 232 w 238"/>
              <a:gd name="T1" fmla="*/ 242 h 366"/>
              <a:gd name="T2" fmla="*/ 216 w 238"/>
              <a:gd name="T3" fmla="*/ 290 h 366"/>
              <a:gd name="T4" fmla="*/ 206 w 238"/>
              <a:gd name="T5" fmla="*/ 274 h 366"/>
              <a:gd name="T6" fmla="*/ 188 w 238"/>
              <a:gd name="T7" fmla="*/ 268 h 366"/>
              <a:gd name="T8" fmla="*/ 186 w 238"/>
              <a:gd name="T9" fmla="*/ 260 h 366"/>
              <a:gd name="T10" fmla="*/ 192 w 238"/>
              <a:gd name="T11" fmla="*/ 224 h 366"/>
              <a:gd name="T12" fmla="*/ 184 w 238"/>
              <a:gd name="T13" fmla="*/ 186 h 366"/>
              <a:gd name="T14" fmla="*/ 164 w 238"/>
              <a:gd name="T15" fmla="*/ 154 h 366"/>
              <a:gd name="T16" fmla="*/ 184 w 238"/>
              <a:gd name="T17" fmla="*/ 130 h 366"/>
              <a:gd name="T18" fmla="*/ 196 w 238"/>
              <a:gd name="T19" fmla="*/ 130 h 366"/>
              <a:gd name="T20" fmla="*/ 220 w 238"/>
              <a:gd name="T21" fmla="*/ 166 h 366"/>
              <a:gd name="T22" fmla="*/ 232 w 238"/>
              <a:gd name="T23" fmla="*/ 208 h 366"/>
              <a:gd name="T24" fmla="*/ 188 w 238"/>
              <a:gd name="T25" fmla="*/ 310 h 366"/>
              <a:gd name="T26" fmla="*/ 200 w 238"/>
              <a:gd name="T27" fmla="*/ 306 h 366"/>
              <a:gd name="T28" fmla="*/ 204 w 238"/>
              <a:gd name="T29" fmla="*/ 296 h 366"/>
              <a:gd name="T30" fmla="*/ 194 w 238"/>
              <a:gd name="T31" fmla="*/ 282 h 366"/>
              <a:gd name="T32" fmla="*/ 182 w 238"/>
              <a:gd name="T33" fmla="*/ 282 h 366"/>
              <a:gd name="T34" fmla="*/ 174 w 238"/>
              <a:gd name="T35" fmla="*/ 296 h 366"/>
              <a:gd name="T36" fmla="*/ 178 w 238"/>
              <a:gd name="T37" fmla="*/ 306 h 366"/>
              <a:gd name="T38" fmla="*/ 188 w 238"/>
              <a:gd name="T39" fmla="*/ 310 h 366"/>
              <a:gd name="T40" fmla="*/ 140 w 238"/>
              <a:gd name="T41" fmla="*/ 98 h 366"/>
              <a:gd name="T42" fmla="*/ 126 w 238"/>
              <a:gd name="T43" fmla="*/ 120 h 366"/>
              <a:gd name="T44" fmla="*/ 132 w 238"/>
              <a:gd name="T45" fmla="*/ 134 h 366"/>
              <a:gd name="T46" fmla="*/ 148 w 238"/>
              <a:gd name="T47" fmla="*/ 142 h 366"/>
              <a:gd name="T48" fmla="*/ 168 w 238"/>
              <a:gd name="T49" fmla="*/ 128 h 366"/>
              <a:gd name="T50" fmla="*/ 168 w 238"/>
              <a:gd name="T51" fmla="*/ 110 h 366"/>
              <a:gd name="T52" fmla="*/ 148 w 238"/>
              <a:gd name="T53" fmla="*/ 98 h 366"/>
              <a:gd name="T54" fmla="*/ 192 w 238"/>
              <a:gd name="T55" fmla="*/ 322 h 366"/>
              <a:gd name="T56" fmla="*/ 188 w 238"/>
              <a:gd name="T57" fmla="*/ 322 h 366"/>
              <a:gd name="T58" fmla="*/ 164 w 238"/>
              <a:gd name="T59" fmla="*/ 306 h 366"/>
              <a:gd name="T60" fmla="*/ 150 w 238"/>
              <a:gd name="T61" fmla="*/ 306 h 366"/>
              <a:gd name="T62" fmla="*/ 106 w 238"/>
              <a:gd name="T63" fmla="*/ 322 h 366"/>
              <a:gd name="T64" fmla="*/ 6 w 238"/>
              <a:gd name="T65" fmla="*/ 322 h 366"/>
              <a:gd name="T66" fmla="*/ 0 w 238"/>
              <a:gd name="T67" fmla="*/ 332 h 366"/>
              <a:gd name="T68" fmla="*/ 0 w 238"/>
              <a:gd name="T69" fmla="*/ 360 h 366"/>
              <a:gd name="T70" fmla="*/ 10 w 238"/>
              <a:gd name="T71" fmla="*/ 366 h 366"/>
              <a:gd name="T72" fmla="*/ 232 w 238"/>
              <a:gd name="T73" fmla="*/ 366 h 366"/>
              <a:gd name="T74" fmla="*/ 238 w 238"/>
              <a:gd name="T75" fmla="*/ 356 h 366"/>
              <a:gd name="T76" fmla="*/ 236 w 238"/>
              <a:gd name="T77" fmla="*/ 328 h 366"/>
              <a:gd name="T78" fmla="*/ 228 w 238"/>
              <a:gd name="T79" fmla="*/ 322 h 366"/>
              <a:gd name="T80" fmla="*/ 16 w 238"/>
              <a:gd name="T81" fmla="*/ 206 h 366"/>
              <a:gd name="T82" fmla="*/ 114 w 238"/>
              <a:gd name="T83" fmla="*/ 262 h 366"/>
              <a:gd name="T84" fmla="*/ 96 w 238"/>
              <a:gd name="T85" fmla="*/ 236 h 366"/>
              <a:gd name="T86" fmla="*/ 106 w 238"/>
              <a:gd name="T87" fmla="*/ 238 h 366"/>
              <a:gd name="T88" fmla="*/ 154 w 238"/>
              <a:gd name="T89" fmla="*/ 156 h 366"/>
              <a:gd name="T90" fmla="*/ 140 w 238"/>
              <a:gd name="T91" fmla="*/ 156 h 366"/>
              <a:gd name="T92" fmla="*/ 120 w 238"/>
              <a:gd name="T93" fmla="*/ 146 h 366"/>
              <a:gd name="T94" fmla="*/ 110 w 238"/>
              <a:gd name="T95" fmla="*/ 126 h 366"/>
              <a:gd name="T96" fmla="*/ 110 w 238"/>
              <a:gd name="T97" fmla="*/ 112 h 366"/>
              <a:gd name="T98" fmla="*/ 120 w 238"/>
              <a:gd name="T99" fmla="*/ 92 h 366"/>
              <a:gd name="T100" fmla="*/ 140 w 238"/>
              <a:gd name="T101" fmla="*/ 82 h 366"/>
              <a:gd name="T102" fmla="*/ 160 w 238"/>
              <a:gd name="T103" fmla="*/ 84 h 366"/>
              <a:gd name="T104" fmla="*/ 184 w 238"/>
              <a:gd name="T105" fmla="*/ 106 h 366"/>
              <a:gd name="T106" fmla="*/ 202 w 238"/>
              <a:gd name="T107" fmla="*/ 76 h 366"/>
              <a:gd name="T108" fmla="*/ 200 w 238"/>
              <a:gd name="T109" fmla="*/ 68 h 366"/>
              <a:gd name="T110" fmla="*/ 196 w 238"/>
              <a:gd name="T111" fmla="*/ 40 h 366"/>
              <a:gd name="T112" fmla="*/ 166 w 238"/>
              <a:gd name="T113" fmla="*/ 0 h 366"/>
              <a:gd name="T114" fmla="*/ 156 w 238"/>
              <a:gd name="T115" fmla="*/ 42 h 366"/>
              <a:gd name="T116" fmla="*/ 142 w 238"/>
              <a:gd name="T117" fmla="*/ 34 h 366"/>
              <a:gd name="T118" fmla="*/ 132 w 238"/>
              <a:gd name="T119" fmla="*/ 40 h 366"/>
              <a:gd name="T120" fmla="*/ 40 w 238"/>
              <a:gd name="T121" fmla="*/ 198 h 366"/>
              <a:gd name="T122" fmla="*/ 42 w 238"/>
              <a:gd name="T123" fmla="*/ 20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8" h="366">
                <a:moveTo>
                  <a:pt x="232" y="224"/>
                </a:moveTo>
                <a:lnTo>
                  <a:pt x="232" y="224"/>
                </a:lnTo>
                <a:lnTo>
                  <a:pt x="232" y="242"/>
                </a:lnTo>
                <a:lnTo>
                  <a:pt x="228" y="260"/>
                </a:lnTo>
                <a:lnTo>
                  <a:pt x="222" y="276"/>
                </a:lnTo>
                <a:lnTo>
                  <a:pt x="216" y="290"/>
                </a:lnTo>
                <a:lnTo>
                  <a:pt x="216" y="290"/>
                </a:lnTo>
                <a:lnTo>
                  <a:pt x="212" y="282"/>
                </a:lnTo>
                <a:lnTo>
                  <a:pt x="206" y="274"/>
                </a:lnTo>
                <a:lnTo>
                  <a:pt x="198" y="270"/>
                </a:lnTo>
                <a:lnTo>
                  <a:pt x="188" y="268"/>
                </a:lnTo>
                <a:lnTo>
                  <a:pt x="188" y="268"/>
                </a:lnTo>
                <a:lnTo>
                  <a:pt x="182" y="270"/>
                </a:lnTo>
                <a:lnTo>
                  <a:pt x="182" y="270"/>
                </a:lnTo>
                <a:lnTo>
                  <a:pt x="186" y="260"/>
                </a:lnTo>
                <a:lnTo>
                  <a:pt x="190" y="248"/>
                </a:lnTo>
                <a:lnTo>
                  <a:pt x="192" y="236"/>
                </a:lnTo>
                <a:lnTo>
                  <a:pt x="192" y="224"/>
                </a:lnTo>
                <a:lnTo>
                  <a:pt x="192" y="224"/>
                </a:lnTo>
                <a:lnTo>
                  <a:pt x="190" y="204"/>
                </a:lnTo>
                <a:lnTo>
                  <a:pt x="184" y="186"/>
                </a:lnTo>
                <a:lnTo>
                  <a:pt x="176" y="168"/>
                </a:lnTo>
                <a:lnTo>
                  <a:pt x="164" y="154"/>
                </a:lnTo>
                <a:lnTo>
                  <a:pt x="164" y="154"/>
                </a:lnTo>
                <a:lnTo>
                  <a:pt x="172" y="148"/>
                </a:lnTo>
                <a:lnTo>
                  <a:pt x="180" y="140"/>
                </a:lnTo>
                <a:lnTo>
                  <a:pt x="184" y="130"/>
                </a:lnTo>
                <a:lnTo>
                  <a:pt x="186" y="120"/>
                </a:lnTo>
                <a:lnTo>
                  <a:pt x="186" y="120"/>
                </a:lnTo>
                <a:lnTo>
                  <a:pt x="196" y="130"/>
                </a:lnTo>
                <a:lnTo>
                  <a:pt x="206" y="142"/>
                </a:lnTo>
                <a:lnTo>
                  <a:pt x="214" y="154"/>
                </a:lnTo>
                <a:lnTo>
                  <a:pt x="220" y="166"/>
                </a:lnTo>
                <a:lnTo>
                  <a:pt x="226" y="180"/>
                </a:lnTo>
                <a:lnTo>
                  <a:pt x="230" y="194"/>
                </a:lnTo>
                <a:lnTo>
                  <a:pt x="232" y="208"/>
                </a:lnTo>
                <a:lnTo>
                  <a:pt x="232" y="224"/>
                </a:lnTo>
                <a:lnTo>
                  <a:pt x="232" y="224"/>
                </a:lnTo>
                <a:close/>
                <a:moveTo>
                  <a:pt x="188" y="310"/>
                </a:moveTo>
                <a:lnTo>
                  <a:pt x="188" y="310"/>
                </a:lnTo>
                <a:lnTo>
                  <a:pt x="194" y="310"/>
                </a:lnTo>
                <a:lnTo>
                  <a:pt x="200" y="306"/>
                </a:lnTo>
                <a:lnTo>
                  <a:pt x="202" y="302"/>
                </a:lnTo>
                <a:lnTo>
                  <a:pt x="204" y="296"/>
                </a:lnTo>
                <a:lnTo>
                  <a:pt x="204" y="296"/>
                </a:lnTo>
                <a:lnTo>
                  <a:pt x="202" y="290"/>
                </a:lnTo>
                <a:lnTo>
                  <a:pt x="200" y="284"/>
                </a:lnTo>
                <a:lnTo>
                  <a:pt x="194" y="282"/>
                </a:lnTo>
                <a:lnTo>
                  <a:pt x="188" y="280"/>
                </a:lnTo>
                <a:lnTo>
                  <a:pt x="188" y="280"/>
                </a:lnTo>
                <a:lnTo>
                  <a:pt x="182" y="282"/>
                </a:lnTo>
                <a:lnTo>
                  <a:pt x="178" y="284"/>
                </a:lnTo>
                <a:lnTo>
                  <a:pt x="174" y="290"/>
                </a:lnTo>
                <a:lnTo>
                  <a:pt x="174" y="296"/>
                </a:lnTo>
                <a:lnTo>
                  <a:pt x="174" y="296"/>
                </a:lnTo>
                <a:lnTo>
                  <a:pt x="174" y="302"/>
                </a:lnTo>
                <a:lnTo>
                  <a:pt x="178" y="306"/>
                </a:lnTo>
                <a:lnTo>
                  <a:pt x="182" y="310"/>
                </a:lnTo>
                <a:lnTo>
                  <a:pt x="188" y="310"/>
                </a:lnTo>
                <a:lnTo>
                  <a:pt x="188" y="310"/>
                </a:lnTo>
                <a:close/>
                <a:moveTo>
                  <a:pt x="148" y="98"/>
                </a:moveTo>
                <a:lnTo>
                  <a:pt x="148" y="98"/>
                </a:lnTo>
                <a:lnTo>
                  <a:pt x="140" y="98"/>
                </a:lnTo>
                <a:lnTo>
                  <a:pt x="132" y="104"/>
                </a:lnTo>
                <a:lnTo>
                  <a:pt x="128" y="110"/>
                </a:lnTo>
                <a:lnTo>
                  <a:pt x="126" y="120"/>
                </a:lnTo>
                <a:lnTo>
                  <a:pt x="126" y="120"/>
                </a:lnTo>
                <a:lnTo>
                  <a:pt x="128" y="128"/>
                </a:lnTo>
                <a:lnTo>
                  <a:pt x="132" y="134"/>
                </a:lnTo>
                <a:lnTo>
                  <a:pt x="140" y="140"/>
                </a:lnTo>
                <a:lnTo>
                  <a:pt x="148" y="142"/>
                </a:lnTo>
                <a:lnTo>
                  <a:pt x="148" y="142"/>
                </a:lnTo>
                <a:lnTo>
                  <a:pt x="156" y="140"/>
                </a:lnTo>
                <a:lnTo>
                  <a:pt x="164" y="134"/>
                </a:lnTo>
                <a:lnTo>
                  <a:pt x="168" y="128"/>
                </a:lnTo>
                <a:lnTo>
                  <a:pt x="170" y="120"/>
                </a:lnTo>
                <a:lnTo>
                  <a:pt x="170" y="120"/>
                </a:lnTo>
                <a:lnTo>
                  <a:pt x="168" y="110"/>
                </a:lnTo>
                <a:lnTo>
                  <a:pt x="164" y="104"/>
                </a:lnTo>
                <a:lnTo>
                  <a:pt x="156" y="98"/>
                </a:lnTo>
                <a:lnTo>
                  <a:pt x="148" y="98"/>
                </a:lnTo>
                <a:lnTo>
                  <a:pt x="148" y="98"/>
                </a:lnTo>
                <a:close/>
                <a:moveTo>
                  <a:pt x="228" y="322"/>
                </a:moveTo>
                <a:lnTo>
                  <a:pt x="192" y="322"/>
                </a:lnTo>
                <a:lnTo>
                  <a:pt x="192" y="322"/>
                </a:lnTo>
                <a:lnTo>
                  <a:pt x="188" y="322"/>
                </a:lnTo>
                <a:lnTo>
                  <a:pt x="188" y="322"/>
                </a:lnTo>
                <a:lnTo>
                  <a:pt x="178" y="320"/>
                </a:lnTo>
                <a:lnTo>
                  <a:pt x="170" y="314"/>
                </a:lnTo>
                <a:lnTo>
                  <a:pt x="164" y="306"/>
                </a:lnTo>
                <a:lnTo>
                  <a:pt x="162" y="296"/>
                </a:lnTo>
                <a:lnTo>
                  <a:pt x="162" y="296"/>
                </a:lnTo>
                <a:lnTo>
                  <a:pt x="150" y="306"/>
                </a:lnTo>
                <a:lnTo>
                  <a:pt x="136" y="314"/>
                </a:lnTo>
                <a:lnTo>
                  <a:pt x="122" y="318"/>
                </a:lnTo>
                <a:lnTo>
                  <a:pt x="106" y="322"/>
                </a:lnTo>
                <a:lnTo>
                  <a:pt x="10" y="322"/>
                </a:lnTo>
                <a:lnTo>
                  <a:pt x="10" y="322"/>
                </a:lnTo>
                <a:lnTo>
                  <a:pt x="6" y="322"/>
                </a:lnTo>
                <a:lnTo>
                  <a:pt x="2" y="326"/>
                </a:lnTo>
                <a:lnTo>
                  <a:pt x="0" y="328"/>
                </a:lnTo>
                <a:lnTo>
                  <a:pt x="0" y="332"/>
                </a:lnTo>
                <a:lnTo>
                  <a:pt x="0" y="356"/>
                </a:lnTo>
                <a:lnTo>
                  <a:pt x="0" y="356"/>
                </a:lnTo>
                <a:lnTo>
                  <a:pt x="0" y="360"/>
                </a:lnTo>
                <a:lnTo>
                  <a:pt x="2" y="362"/>
                </a:lnTo>
                <a:lnTo>
                  <a:pt x="6" y="366"/>
                </a:lnTo>
                <a:lnTo>
                  <a:pt x="10" y="366"/>
                </a:lnTo>
                <a:lnTo>
                  <a:pt x="228" y="366"/>
                </a:lnTo>
                <a:lnTo>
                  <a:pt x="228" y="366"/>
                </a:lnTo>
                <a:lnTo>
                  <a:pt x="232" y="366"/>
                </a:lnTo>
                <a:lnTo>
                  <a:pt x="234" y="362"/>
                </a:lnTo>
                <a:lnTo>
                  <a:pt x="236" y="360"/>
                </a:lnTo>
                <a:lnTo>
                  <a:pt x="238" y="356"/>
                </a:lnTo>
                <a:lnTo>
                  <a:pt x="238" y="332"/>
                </a:lnTo>
                <a:lnTo>
                  <a:pt x="238" y="332"/>
                </a:lnTo>
                <a:lnTo>
                  <a:pt x="236" y="328"/>
                </a:lnTo>
                <a:lnTo>
                  <a:pt x="234" y="326"/>
                </a:lnTo>
                <a:lnTo>
                  <a:pt x="232" y="322"/>
                </a:lnTo>
                <a:lnTo>
                  <a:pt x="228" y="322"/>
                </a:lnTo>
                <a:lnTo>
                  <a:pt x="228" y="322"/>
                </a:lnTo>
                <a:close/>
                <a:moveTo>
                  <a:pt x="114" y="262"/>
                </a:moveTo>
                <a:lnTo>
                  <a:pt x="16" y="206"/>
                </a:lnTo>
                <a:lnTo>
                  <a:pt x="6" y="222"/>
                </a:lnTo>
                <a:lnTo>
                  <a:pt x="104" y="278"/>
                </a:lnTo>
                <a:lnTo>
                  <a:pt x="114" y="262"/>
                </a:lnTo>
                <a:close/>
                <a:moveTo>
                  <a:pt x="46" y="208"/>
                </a:moveTo>
                <a:lnTo>
                  <a:pt x="96" y="236"/>
                </a:lnTo>
                <a:lnTo>
                  <a:pt x="96" y="236"/>
                </a:lnTo>
                <a:lnTo>
                  <a:pt x="102" y="238"/>
                </a:lnTo>
                <a:lnTo>
                  <a:pt x="102" y="238"/>
                </a:lnTo>
                <a:lnTo>
                  <a:pt x="106" y="238"/>
                </a:lnTo>
                <a:lnTo>
                  <a:pt x="110" y="234"/>
                </a:lnTo>
                <a:lnTo>
                  <a:pt x="154" y="156"/>
                </a:lnTo>
                <a:lnTo>
                  <a:pt x="154" y="156"/>
                </a:lnTo>
                <a:lnTo>
                  <a:pt x="148" y="158"/>
                </a:lnTo>
                <a:lnTo>
                  <a:pt x="148" y="158"/>
                </a:lnTo>
                <a:lnTo>
                  <a:pt x="140" y="156"/>
                </a:lnTo>
                <a:lnTo>
                  <a:pt x="132" y="154"/>
                </a:lnTo>
                <a:lnTo>
                  <a:pt x="126" y="150"/>
                </a:lnTo>
                <a:lnTo>
                  <a:pt x="120" y="146"/>
                </a:lnTo>
                <a:lnTo>
                  <a:pt x="116" y="140"/>
                </a:lnTo>
                <a:lnTo>
                  <a:pt x="112" y="134"/>
                </a:lnTo>
                <a:lnTo>
                  <a:pt x="110" y="126"/>
                </a:lnTo>
                <a:lnTo>
                  <a:pt x="110" y="120"/>
                </a:lnTo>
                <a:lnTo>
                  <a:pt x="110" y="120"/>
                </a:lnTo>
                <a:lnTo>
                  <a:pt x="110" y="112"/>
                </a:lnTo>
                <a:lnTo>
                  <a:pt x="112" y="104"/>
                </a:lnTo>
                <a:lnTo>
                  <a:pt x="116" y="98"/>
                </a:lnTo>
                <a:lnTo>
                  <a:pt x="120" y="92"/>
                </a:lnTo>
                <a:lnTo>
                  <a:pt x="126" y="88"/>
                </a:lnTo>
                <a:lnTo>
                  <a:pt x="132" y="84"/>
                </a:lnTo>
                <a:lnTo>
                  <a:pt x="140" y="82"/>
                </a:lnTo>
                <a:lnTo>
                  <a:pt x="148" y="82"/>
                </a:lnTo>
                <a:lnTo>
                  <a:pt x="148" y="82"/>
                </a:lnTo>
                <a:lnTo>
                  <a:pt x="160" y="84"/>
                </a:lnTo>
                <a:lnTo>
                  <a:pt x="170" y="88"/>
                </a:lnTo>
                <a:lnTo>
                  <a:pt x="178" y="96"/>
                </a:lnTo>
                <a:lnTo>
                  <a:pt x="184" y="106"/>
                </a:lnTo>
                <a:lnTo>
                  <a:pt x="200" y="78"/>
                </a:lnTo>
                <a:lnTo>
                  <a:pt x="200" y="78"/>
                </a:lnTo>
                <a:lnTo>
                  <a:pt x="202" y="76"/>
                </a:lnTo>
                <a:lnTo>
                  <a:pt x="200" y="72"/>
                </a:lnTo>
                <a:lnTo>
                  <a:pt x="200" y="72"/>
                </a:lnTo>
                <a:lnTo>
                  <a:pt x="200" y="68"/>
                </a:lnTo>
                <a:lnTo>
                  <a:pt x="196" y="66"/>
                </a:lnTo>
                <a:lnTo>
                  <a:pt x="184" y="58"/>
                </a:lnTo>
                <a:lnTo>
                  <a:pt x="196" y="40"/>
                </a:lnTo>
                <a:lnTo>
                  <a:pt x="206" y="46"/>
                </a:lnTo>
                <a:lnTo>
                  <a:pt x="216" y="30"/>
                </a:lnTo>
                <a:lnTo>
                  <a:pt x="166" y="0"/>
                </a:lnTo>
                <a:lnTo>
                  <a:pt x="156" y="16"/>
                </a:lnTo>
                <a:lnTo>
                  <a:pt x="168" y="24"/>
                </a:lnTo>
                <a:lnTo>
                  <a:pt x="156" y="42"/>
                </a:lnTo>
                <a:lnTo>
                  <a:pt x="144" y="36"/>
                </a:lnTo>
                <a:lnTo>
                  <a:pt x="144" y="36"/>
                </a:lnTo>
                <a:lnTo>
                  <a:pt x="142" y="34"/>
                </a:lnTo>
                <a:lnTo>
                  <a:pt x="138" y="34"/>
                </a:lnTo>
                <a:lnTo>
                  <a:pt x="134" y="36"/>
                </a:lnTo>
                <a:lnTo>
                  <a:pt x="132" y="40"/>
                </a:lnTo>
                <a:lnTo>
                  <a:pt x="42" y="194"/>
                </a:lnTo>
                <a:lnTo>
                  <a:pt x="42" y="194"/>
                </a:lnTo>
                <a:lnTo>
                  <a:pt x="40" y="198"/>
                </a:lnTo>
                <a:lnTo>
                  <a:pt x="42" y="202"/>
                </a:lnTo>
                <a:lnTo>
                  <a:pt x="42" y="202"/>
                </a:lnTo>
                <a:lnTo>
                  <a:pt x="42" y="204"/>
                </a:lnTo>
                <a:lnTo>
                  <a:pt x="46" y="208"/>
                </a:lnTo>
                <a:lnTo>
                  <a:pt x="46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52390" tIns="76195" rIns="152390" bIns="761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Freeform 4959"/>
          <p:cNvSpPr>
            <a:spLocks noEditPoints="1"/>
          </p:cNvSpPr>
          <p:nvPr/>
        </p:nvSpPr>
        <p:spPr bwMode="auto">
          <a:xfrm>
            <a:off x="14933366" y="3747215"/>
            <a:ext cx="477887" cy="467518"/>
          </a:xfrm>
          <a:custGeom>
            <a:avLst/>
            <a:gdLst>
              <a:gd name="T0" fmla="*/ 348 w 360"/>
              <a:gd name="T1" fmla="*/ 0 h 280"/>
              <a:gd name="T2" fmla="*/ 8 w 360"/>
              <a:gd name="T3" fmla="*/ 0 h 280"/>
              <a:gd name="T4" fmla="*/ 0 w 360"/>
              <a:gd name="T5" fmla="*/ 8 h 280"/>
              <a:gd name="T6" fmla="*/ 8 w 360"/>
              <a:gd name="T7" fmla="*/ 242 h 280"/>
              <a:gd name="T8" fmla="*/ 180 w 360"/>
              <a:gd name="T9" fmla="*/ 280 h 280"/>
              <a:gd name="T10" fmla="*/ 358 w 360"/>
              <a:gd name="T11" fmla="*/ 238 h 280"/>
              <a:gd name="T12" fmla="*/ 360 w 360"/>
              <a:gd name="T13" fmla="*/ 4 h 280"/>
              <a:gd name="T14" fmla="*/ 20 w 360"/>
              <a:gd name="T15" fmla="*/ 224 h 280"/>
              <a:gd name="T16" fmla="*/ 200 w 360"/>
              <a:gd name="T17" fmla="*/ 54 h 280"/>
              <a:gd name="T18" fmla="*/ 334 w 360"/>
              <a:gd name="T19" fmla="*/ 26 h 280"/>
              <a:gd name="T20" fmla="*/ 338 w 360"/>
              <a:gd name="T21" fmla="*/ 36 h 280"/>
              <a:gd name="T22" fmla="*/ 204 w 360"/>
              <a:gd name="T23" fmla="*/ 72 h 280"/>
              <a:gd name="T24" fmla="*/ 196 w 360"/>
              <a:gd name="T25" fmla="*/ 72 h 280"/>
              <a:gd name="T26" fmla="*/ 194 w 360"/>
              <a:gd name="T27" fmla="*/ 58 h 280"/>
              <a:gd name="T28" fmla="*/ 200 w 360"/>
              <a:gd name="T29" fmla="*/ 90 h 280"/>
              <a:gd name="T30" fmla="*/ 270 w 360"/>
              <a:gd name="T31" fmla="*/ 76 h 280"/>
              <a:gd name="T32" fmla="*/ 274 w 360"/>
              <a:gd name="T33" fmla="*/ 86 h 280"/>
              <a:gd name="T34" fmla="*/ 204 w 360"/>
              <a:gd name="T35" fmla="*/ 108 h 280"/>
              <a:gd name="T36" fmla="*/ 196 w 360"/>
              <a:gd name="T37" fmla="*/ 106 h 280"/>
              <a:gd name="T38" fmla="*/ 194 w 360"/>
              <a:gd name="T39" fmla="*/ 94 h 280"/>
              <a:gd name="T40" fmla="*/ 340 w 360"/>
              <a:gd name="T41" fmla="*/ 168 h 280"/>
              <a:gd name="T42" fmla="*/ 336 w 360"/>
              <a:gd name="T43" fmla="*/ 174 h 280"/>
              <a:gd name="T44" fmla="*/ 326 w 360"/>
              <a:gd name="T45" fmla="*/ 172 h 280"/>
              <a:gd name="T46" fmla="*/ 284 w 360"/>
              <a:gd name="T47" fmla="*/ 192 h 280"/>
              <a:gd name="T48" fmla="*/ 210 w 360"/>
              <a:gd name="T49" fmla="*/ 242 h 280"/>
              <a:gd name="T50" fmla="*/ 196 w 360"/>
              <a:gd name="T51" fmla="*/ 246 h 280"/>
              <a:gd name="T52" fmla="*/ 192 w 360"/>
              <a:gd name="T53" fmla="*/ 236 h 280"/>
              <a:gd name="T54" fmla="*/ 234 w 360"/>
              <a:gd name="T55" fmla="*/ 156 h 280"/>
              <a:gd name="T56" fmla="*/ 280 w 360"/>
              <a:gd name="T57" fmla="*/ 170 h 280"/>
              <a:gd name="T58" fmla="*/ 290 w 360"/>
              <a:gd name="T59" fmla="*/ 134 h 280"/>
              <a:gd name="T60" fmla="*/ 298 w 360"/>
              <a:gd name="T61" fmla="*/ 124 h 280"/>
              <a:gd name="T62" fmla="*/ 336 w 360"/>
              <a:gd name="T63" fmla="*/ 124 h 280"/>
              <a:gd name="T64" fmla="*/ 340 w 360"/>
              <a:gd name="T65" fmla="*/ 168 h 280"/>
              <a:gd name="T66" fmla="*/ 46 w 360"/>
              <a:gd name="T67" fmla="*/ 68 h 280"/>
              <a:gd name="T68" fmla="*/ 38 w 360"/>
              <a:gd name="T69" fmla="*/ 60 h 280"/>
              <a:gd name="T70" fmla="*/ 42 w 360"/>
              <a:gd name="T71" fmla="*/ 50 h 280"/>
              <a:gd name="T72" fmla="*/ 140 w 360"/>
              <a:gd name="T73" fmla="*/ 68 h 280"/>
              <a:gd name="T74" fmla="*/ 148 w 360"/>
              <a:gd name="T75" fmla="*/ 80 h 280"/>
              <a:gd name="T76" fmla="*/ 138 w 360"/>
              <a:gd name="T77" fmla="*/ 88 h 280"/>
              <a:gd name="T78" fmla="*/ 70 w 360"/>
              <a:gd name="T79" fmla="*/ 126 h 280"/>
              <a:gd name="T80" fmla="*/ 44 w 360"/>
              <a:gd name="T81" fmla="*/ 142 h 280"/>
              <a:gd name="T82" fmla="*/ 38 w 360"/>
              <a:gd name="T83" fmla="*/ 168 h 280"/>
              <a:gd name="T84" fmla="*/ 50 w 360"/>
              <a:gd name="T85" fmla="*/ 202 h 280"/>
              <a:gd name="T86" fmla="*/ 78 w 360"/>
              <a:gd name="T87" fmla="*/ 218 h 280"/>
              <a:gd name="T88" fmla="*/ 98 w 360"/>
              <a:gd name="T89" fmla="*/ 212 h 280"/>
              <a:gd name="T90" fmla="*/ 116 w 360"/>
              <a:gd name="T91" fmla="*/ 186 h 280"/>
              <a:gd name="T92" fmla="*/ 128 w 360"/>
              <a:gd name="T93" fmla="*/ 166 h 280"/>
              <a:gd name="T94" fmla="*/ 116 w 360"/>
              <a:gd name="T95" fmla="*/ 132 h 280"/>
              <a:gd name="T96" fmla="*/ 88 w 360"/>
              <a:gd name="T97" fmla="*/ 114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80">
                <a:moveTo>
                  <a:pt x="356" y="2"/>
                </a:moveTo>
                <a:lnTo>
                  <a:pt x="356" y="2"/>
                </a:lnTo>
                <a:lnTo>
                  <a:pt x="352" y="0"/>
                </a:lnTo>
                <a:lnTo>
                  <a:pt x="348" y="0"/>
                </a:lnTo>
                <a:lnTo>
                  <a:pt x="180" y="38"/>
                </a:lnTo>
                <a:lnTo>
                  <a:pt x="12" y="0"/>
                </a:lnTo>
                <a:lnTo>
                  <a:pt x="12" y="0"/>
                </a:lnTo>
                <a:lnTo>
                  <a:pt x="8" y="0"/>
                </a:lnTo>
                <a:lnTo>
                  <a:pt x="4" y="2"/>
                </a:lnTo>
                <a:lnTo>
                  <a:pt x="4" y="2"/>
                </a:lnTo>
                <a:lnTo>
                  <a:pt x="0" y="4"/>
                </a:lnTo>
                <a:lnTo>
                  <a:pt x="0" y="8"/>
                </a:lnTo>
                <a:lnTo>
                  <a:pt x="0" y="232"/>
                </a:lnTo>
                <a:lnTo>
                  <a:pt x="0" y="232"/>
                </a:lnTo>
                <a:lnTo>
                  <a:pt x="2" y="238"/>
                </a:lnTo>
                <a:lnTo>
                  <a:pt x="8" y="242"/>
                </a:lnTo>
                <a:lnTo>
                  <a:pt x="178" y="280"/>
                </a:lnTo>
                <a:lnTo>
                  <a:pt x="178" y="280"/>
                </a:lnTo>
                <a:lnTo>
                  <a:pt x="180" y="280"/>
                </a:lnTo>
                <a:lnTo>
                  <a:pt x="180" y="280"/>
                </a:lnTo>
                <a:lnTo>
                  <a:pt x="182" y="280"/>
                </a:lnTo>
                <a:lnTo>
                  <a:pt x="352" y="242"/>
                </a:lnTo>
                <a:lnTo>
                  <a:pt x="352" y="242"/>
                </a:lnTo>
                <a:lnTo>
                  <a:pt x="358" y="238"/>
                </a:lnTo>
                <a:lnTo>
                  <a:pt x="360" y="232"/>
                </a:lnTo>
                <a:lnTo>
                  <a:pt x="360" y="8"/>
                </a:lnTo>
                <a:lnTo>
                  <a:pt x="360" y="8"/>
                </a:lnTo>
                <a:lnTo>
                  <a:pt x="360" y="4"/>
                </a:lnTo>
                <a:lnTo>
                  <a:pt x="356" y="2"/>
                </a:lnTo>
                <a:lnTo>
                  <a:pt x="356" y="2"/>
                </a:lnTo>
                <a:close/>
                <a:moveTo>
                  <a:pt x="170" y="258"/>
                </a:moveTo>
                <a:lnTo>
                  <a:pt x="20" y="224"/>
                </a:lnTo>
                <a:lnTo>
                  <a:pt x="20" y="22"/>
                </a:lnTo>
                <a:lnTo>
                  <a:pt x="170" y="56"/>
                </a:lnTo>
                <a:lnTo>
                  <a:pt x="170" y="258"/>
                </a:lnTo>
                <a:close/>
                <a:moveTo>
                  <a:pt x="200" y="54"/>
                </a:moveTo>
                <a:lnTo>
                  <a:pt x="326" y="24"/>
                </a:lnTo>
                <a:lnTo>
                  <a:pt x="326" y="24"/>
                </a:lnTo>
                <a:lnTo>
                  <a:pt x="330" y="24"/>
                </a:lnTo>
                <a:lnTo>
                  <a:pt x="334" y="26"/>
                </a:lnTo>
                <a:lnTo>
                  <a:pt x="336" y="28"/>
                </a:lnTo>
                <a:lnTo>
                  <a:pt x="338" y="32"/>
                </a:lnTo>
                <a:lnTo>
                  <a:pt x="338" y="32"/>
                </a:lnTo>
                <a:lnTo>
                  <a:pt x="338" y="36"/>
                </a:lnTo>
                <a:lnTo>
                  <a:pt x="336" y="40"/>
                </a:lnTo>
                <a:lnTo>
                  <a:pt x="334" y="42"/>
                </a:lnTo>
                <a:lnTo>
                  <a:pt x="330" y="44"/>
                </a:lnTo>
                <a:lnTo>
                  <a:pt x="204" y="72"/>
                </a:lnTo>
                <a:lnTo>
                  <a:pt x="204" y="72"/>
                </a:lnTo>
                <a:lnTo>
                  <a:pt x="202" y="74"/>
                </a:lnTo>
                <a:lnTo>
                  <a:pt x="202" y="74"/>
                </a:lnTo>
                <a:lnTo>
                  <a:pt x="196" y="72"/>
                </a:lnTo>
                <a:lnTo>
                  <a:pt x="192" y="66"/>
                </a:lnTo>
                <a:lnTo>
                  <a:pt x="192" y="66"/>
                </a:lnTo>
                <a:lnTo>
                  <a:pt x="192" y="62"/>
                </a:lnTo>
                <a:lnTo>
                  <a:pt x="194" y="58"/>
                </a:lnTo>
                <a:lnTo>
                  <a:pt x="196" y="56"/>
                </a:lnTo>
                <a:lnTo>
                  <a:pt x="200" y="54"/>
                </a:lnTo>
                <a:lnTo>
                  <a:pt x="200" y="54"/>
                </a:lnTo>
                <a:close/>
                <a:moveTo>
                  <a:pt x="200" y="90"/>
                </a:moveTo>
                <a:lnTo>
                  <a:pt x="262" y="74"/>
                </a:lnTo>
                <a:lnTo>
                  <a:pt x="262" y="74"/>
                </a:lnTo>
                <a:lnTo>
                  <a:pt x="266" y="74"/>
                </a:lnTo>
                <a:lnTo>
                  <a:pt x="270" y="76"/>
                </a:lnTo>
                <a:lnTo>
                  <a:pt x="274" y="78"/>
                </a:lnTo>
                <a:lnTo>
                  <a:pt x="274" y="82"/>
                </a:lnTo>
                <a:lnTo>
                  <a:pt x="274" y="82"/>
                </a:lnTo>
                <a:lnTo>
                  <a:pt x="274" y="86"/>
                </a:lnTo>
                <a:lnTo>
                  <a:pt x="274" y="90"/>
                </a:lnTo>
                <a:lnTo>
                  <a:pt x="270" y="92"/>
                </a:lnTo>
                <a:lnTo>
                  <a:pt x="268" y="94"/>
                </a:lnTo>
                <a:lnTo>
                  <a:pt x="204" y="108"/>
                </a:lnTo>
                <a:lnTo>
                  <a:pt x="204" y="108"/>
                </a:lnTo>
                <a:lnTo>
                  <a:pt x="202" y="108"/>
                </a:lnTo>
                <a:lnTo>
                  <a:pt x="202" y="108"/>
                </a:lnTo>
                <a:lnTo>
                  <a:pt x="196" y="106"/>
                </a:lnTo>
                <a:lnTo>
                  <a:pt x="192" y="102"/>
                </a:lnTo>
                <a:lnTo>
                  <a:pt x="192" y="102"/>
                </a:lnTo>
                <a:lnTo>
                  <a:pt x="192" y="98"/>
                </a:lnTo>
                <a:lnTo>
                  <a:pt x="194" y="94"/>
                </a:lnTo>
                <a:lnTo>
                  <a:pt x="196" y="90"/>
                </a:lnTo>
                <a:lnTo>
                  <a:pt x="200" y="90"/>
                </a:lnTo>
                <a:lnTo>
                  <a:pt x="200" y="90"/>
                </a:lnTo>
                <a:close/>
                <a:moveTo>
                  <a:pt x="340" y="168"/>
                </a:moveTo>
                <a:lnTo>
                  <a:pt x="340" y="168"/>
                </a:lnTo>
                <a:lnTo>
                  <a:pt x="340" y="172"/>
                </a:lnTo>
                <a:lnTo>
                  <a:pt x="336" y="174"/>
                </a:lnTo>
                <a:lnTo>
                  <a:pt x="336" y="174"/>
                </a:lnTo>
                <a:lnTo>
                  <a:pt x="332" y="176"/>
                </a:lnTo>
                <a:lnTo>
                  <a:pt x="332" y="176"/>
                </a:lnTo>
                <a:lnTo>
                  <a:pt x="330" y="174"/>
                </a:lnTo>
                <a:lnTo>
                  <a:pt x="326" y="172"/>
                </a:lnTo>
                <a:lnTo>
                  <a:pt x="316" y="162"/>
                </a:lnTo>
                <a:lnTo>
                  <a:pt x="288" y="190"/>
                </a:lnTo>
                <a:lnTo>
                  <a:pt x="288" y="190"/>
                </a:lnTo>
                <a:lnTo>
                  <a:pt x="284" y="192"/>
                </a:lnTo>
                <a:lnTo>
                  <a:pt x="278" y="192"/>
                </a:lnTo>
                <a:lnTo>
                  <a:pt x="246" y="178"/>
                </a:lnTo>
                <a:lnTo>
                  <a:pt x="210" y="242"/>
                </a:lnTo>
                <a:lnTo>
                  <a:pt x="210" y="242"/>
                </a:lnTo>
                <a:lnTo>
                  <a:pt x="206" y="246"/>
                </a:lnTo>
                <a:lnTo>
                  <a:pt x="200" y="248"/>
                </a:lnTo>
                <a:lnTo>
                  <a:pt x="200" y="248"/>
                </a:lnTo>
                <a:lnTo>
                  <a:pt x="196" y="246"/>
                </a:lnTo>
                <a:lnTo>
                  <a:pt x="196" y="246"/>
                </a:lnTo>
                <a:lnTo>
                  <a:pt x="194" y="244"/>
                </a:lnTo>
                <a:lnTo>
                  <a:pt x="192" y="240"/>
                </a:lnTo>
                <a:lnTo>
                  <a:pt x="192" y="236"/>
                </a:lnTo>
                <a:lnTo>
                  <a:pt x="192" y="234"/>
                </a:lnTo>
                <a:lnTo>
                  <a:pt x="232" y="160"/>
                </a:lnTo>
                <a:lnTo>
                  <a:pt x="232" y="160"/>
                </a:lnTo>
                <a:lnTo>
                  <a:pt x="234" y="156"/>
                </a:lnTo>
                <a:lnTo>
                  <a:pt x="238" y="154"/>
                </a:lnTo>
                <a:lnTo>
                  <a:pt x="242" y="154"/>
                </a:lnTo>
                <a:lnTo>
                  <a:pt x="246" y="154"/>
                </a:lnTo>
                <a:lnTo>
                  <a:pt x="280" y="170"/>
                </a:lnTo>
                <a:lnTo>
                  <a:pt x="302" y="148"/>
                </a:lnTo>
                <a:lnTo>
                  <a:pt x="292" y="138"/>
                </a:lnTo>
                <a:lnTo>
                  <a:pt x="292" y="138"/>
                </a:lnTo>
                <a:lnTo>
                  <a:pt x="290" y="134"/>
                </a:lnTo>
                <a:lnTo>
                  <a:pt x="290" y="128"/>
                </a:lnTo>
                <a:lnTo>
                  <a:pt x="290" y="128"/>
                </a:lnTo>
                <a:lnTo>
                  <a:pt x="292" y="126"/>
                </a:lnTo>
                <a:lnTo>
                  <a:pt x="298" y="124"/>
                </a:lnTo>
                <a:lnTo>
                  <a:pt x="298" y="124"/>
                </a:lnTo>
                <a:lnTo>
                  <a:pt x="332" y="124"/>
                </a:lnTo>
                <a:lnTo>
                  <a:pt x="332" y="124"/>
                </a:lnTo>
                <a:lnTo>
                  <a:pt x="336" y="124"/>
                </a:lnTo>
                <a:lnTo>
                  <a:pt x="338" y="126"/>
                </a:lnTo>
                <a:lnTo>
                  <a:pt x="340" y="128"/>
                </a:lnTo>
                <a:lnTo>
                  <a:pt x="340" y="132"/>
                </a:lnTo>
                <a:lnTo>
                  <a:pt x="340" y="168"/>
                </a:lnTo>
                <a:close/>
                <a:moveTo>
                  <a:pt x="138" y="88"/>
                </a:moveTo>
                <a:lnTo>
                  <a:pt x="138" y="88"/>
                </a:lnTo>
                <a:lnTo>
                  <a:pt x="136" y="88"/>
                </a:lnTo>
                <a:lnTo>
                  <a:pt x="46" y="68"/>
                </a:lnTo>
                <a:lnTo>
                  <a:pt x="46" y="68"/>
                </a:lnTo>
                <a:lnTo>
                  <a:pt x="42" y="66"/>
                </a:lnTo>
                <a:lnTo>
                  <a:pt x="40" y="62"/>
                </a:lnTo>
                <a:lnTo>
                  <a:pt x="38" y="60"/>
                </a:lnTo>
                <a:lnTo>
                  <a:pt x="38" y="56"/>
                </a:lnTo>
                <a:lnTo>
                  <a:pt x="38" y="56"/>
                </a:lnTo>
                <a:lnTo>
                  <a:pt x="40" y="52"/>
                </a:lnTo>
                <a:lnTo>
                  <a:pt x="42" y="50"/>
                </a:lnTo>
                <a:lnTo>
                  <a:pt x="46" y="48"/>
                </a:lnTo>
                <a:lnTo>
                  <a:pt x="50" y="48"/>
                </a:lnTo>
                <a:lnTo>
                  <a:pt x="140" y="68"/>
                </a:lnTo>
                <a:lnTo>
                  <a:pt x="140" y="68"/>
                </a:lnTo>
                <a:lnTo>
                  <a:pt x="144" y="70"/>
                </a:lnTo>
                <a:lnTo>
                  <a:pt x="146" y="72"/>
                </a:lnTo>
                <a:lnTo>
                  <a:pt x="148" y="76"/>
                </a:lnTo>
                <a:lnTo>
                  <a:pt x="148" y="80"/>
                </a:lnTo>
                <a:lnTo>
                  <a:pt x="148" y="80"/>
                </a:lnTo>
                <a:lnTo>
                  <a:pt x="144" y="86"/>
                </a:lnTo>
                <a:lnTo>
                  <a:pt x="138" y="88"/>
                </a:lnTo>
                <a:lnTo>
                  <a:pt x="138" y="88"/>
                </a:lnTo>
                <a:close/>
                <a:moveTo>
                  <a:pt x="78" y="172"/>
                </a:moveTo>
                <a:lnTo>
                  <a:pt x="78" y="126"/>
                </a:lnTo>
                <a:lnTo>
                  <a:pt x="78" y="126"/>
                </a:lnTo>
                <a:lnTo>
                  <a:pt x="70" y="126"/>
                </a:lnTo>
                <a:lnTo>
                  <a:pt x="62" y="128"/>
                </a:lnTo>
                <a:lnTo>
                  <a:pt x="56" y="132"/>
                </a:lnTo>
                <a:lnTo>
                  <a:pt x="50" y="136"/>
                </a:lnTo>
                <a:lnTo>
                  <a:pt x="44" y="142"/>
                </a:lnTo>
                <a:lnTo>
                  <a:pt x="42" y="150"/>
                </a:lnTo>
                <a:lnTo>
                  <a:pt x="40" y="158"/>
                </a:lnTo>
                <a:lnTo>
                  <a:pt x="38" y="168"/>
                </a:lnTo>
                <a:lnTo>
                  <a:pt x="38" y="168"/>
                </a:lnTo>
                <a:lnTo>
                  <a:pt x="40" y="176"/>
                </a:lnTo>
                <a:lnTo>
                  <a:pt x="42" y="186"/>
                </a:lnTo>
                <a:lnTo>
                  <a:pt x="44" y="194"/>
                </a:lnTo>
                <a:lnTo>
                  <a:pt x="50" y="202"/>
                </a:lnTo>
                <a:lnTo>
                  <a:pt x="56" y="208"/>
                </a:lnTo>
                <a:lnTo>
                  <a:pt x="62" y="212"/>
                </a:lnTo>
                <a:lnTo>
                  <a:pt x="70" y="216"/>
                </a:lnTo>
                <a:lnTo>
                  <a:pt x="78" y="218"/>
                </a:lnTo>
                <a:lnTo>
                  <a:pt x="78" y="218"/>
                </a:lnTo>
                <a:lnTo>
                  <a:pt x="84" y="218"/>
                </a:lnTo>
                <a:lnTo>
                  <a:pt x="92" y="216"/>
                </a:lnTo>
                <a:lnTo>
                  <a:pt x="98" y="212"/>
                </a:lnTo>
                <a:lnTo>
                  <a:pt x="104" y="208"/>
                </a:lnTo>
                <a:lnTo>
                  <a:pt x="110" y="202"/>
                </a:lnTo>
                <a:lnTo>
                  <a:pt x="114" y="194"/>
                </a:lnTo>
                <a:lnTo>
                  <a:pt x="116" y="186"/>
                </a:lnTo>
                <a:lnTo>
                  <a:pt x="116" y="176"/>
                </a:lnTo>
                <a:lnTo>
                  <a:pt x="78" y="172"/>
                </a:lnTo>
                <a:close/>
                <a:moveTo>
                  <a:pt x="128" y="166"/>
                </a:moveTo>
                <a:lnTo>
                  <a:pt x="128" y="166"/>
                </a:lnTo>
                <a:lnTo>
                  <a:pt x="126" y="156"/>
                </a:lnTo>
                <a:lnTo>
                  <a:pt x="124" y="146"/>
                </a:lnTo>
                <a:lnTo>
                  <a:pt x="122" y="138"/>
                </a:lnTo>
                <a:lnTo>
                  <a:pt x="116" y="132"/>
                </a:lnTo>
                <a:lnTo>
                  <a:pt x="110" y="126"/>
                </a:lnTo>
                <a:lnTo>
                  <a:pt x="104" y="120"/>
                </a:lnTo>
                <a:lnTo>
                  <a:pt x="96" y="116"/>
                </a:lnTo>
                <a:lnTo>
                  <a:pt x="88" y="114"/>
                </a:lnTo>
                <a:lnTo>
                  <a:pt x="88" y="160"/>
                </a:lnTo>
                <a:lnTo>
                  <a:pt x="128" y="1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52390" tIns="76195" rIns="152390" bIns="761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Freeform 4903"/>
          <p:cNvSpPr>
            <a:spLocks noEditPoints="1"/>
          </p:cNvSpPr>
          <p:nvPr/>
        </p:nvSpPr>
        <p:spPr bwMode="auto">
          <a:xfrm>
            <a:off x="17119619" y="11192523"/>
            <a:ext cx="370056" cy="410547"/>
          </a:xfrm>
          <a:custGeom>
            <a:avLst/>
            <a:gdLst>
              <a:gd name="T0" fmla="*/ 36 w 356"/>
              <a:gd name="T1" fmla="*/ 242 h 314"/>
              <a:gd name="T2" fmla="*/ 34 w 356"/>
              <a:gd name="T3" fmla="*/ 104 h 314"/>
              <a:gd name="T4" fmla="*/ 44 w 356"/>
              <a:gd name="T5" fmla="*/ 94 h 314"/>
              <a:gd name="T6" fmla="*/ 72 w 356"/>
              <a:gd name="T7" fmla="*/ 98 h 314"/>
              <a:gd name="T8" fmla="*/ 76 w 356"/>
              <a:gd name="T9" fmla="*/ 236 h 314"/>
              <a:gd name="T10" fmla="*/ 66 w 356"/>
              <a:gd name="T11" fmla="*/ 246 h 314"/>
              <a:gd name="T12" fmla="*/ 32 w 356"/>
              <a:gd name="T13" fmla="*/ 274 h 314"/>
              <a:gd name="T14" fmla="*/ 316 w 356"/>
              <a:gd name="T15" fmla="*/ 280 h 314"/>
              <a:gd name="T16" fmla="*/ 324 w 356"/>
              <a:gd name="T17" fmla="*/ 274 h 314"/>
              <a:gd name="T18" fmla="*/ 322 w 356"/>
              <a:gd name="T19" fmla="*/ 262 h 314"/>
              <a:gd name="T20" fmla="*/ 40 w 356"/>
              <a:gd name="T21" fmla="*/ 260 h 314"/>
              <a:gd name="T22" fmla="*/ 30 w 356"/>
              <a:gd name="T23" fmla="*/ 270 h 314"/>
              <a:gd name="T24" fmla="*/ 152 w 356"/>
              <a:gd name="T25" fmla="*/ 244 h 314"/>
              <a:gd name="T26" fmla="*/ 158 w 356"/>
              <a:gd name="T27" fmla="*/ 104 h 314"/>
              <a:gd name="T28" fmla="*/ 152 w 356"/>
              <a:gd name="T29" fmla="*/ 96 h 314"/>
              <a:gd name="T30" fmla="*/ 122 w 356"/>
              <a:gd name="T31" fmla="*/ 96 h 314"/>
              <a:gd name="T32" fmla="*/ 116 w 356"/>
              <a:gd name="T33" fmla="*/ 236 h 314"/>
              <a:gd name="T34" fmla="*/ 122 w 356"/>
              <a:gd name="T35" fmla="*/ 244 h 314"/>
              <a:gd name="T36" fmla="*/ 6 w 356"/>
              <a:gd name="T37" fmla="*/ 72 h 314"/>
              <a:gd name="T38" fmla="*/ 12 w 356"/>
              <a:gd name="T39" fmla="*/ 60 h 314"/>
              <a:gd name="T40" fmla="*/ 174 w 356"/>
              <a:gd name="T41" fmla="*/ 0 h 314"/>
              <a:gd name="T42" fmla="*/ 176 w 356"/>
              <a:gd name="T43" fmla="*/ 0 h 314"/>
              <a:gd name="T44" fmla="*/ 180 w 356"/>
              <a:gd name="T45" fmla="*/ 0 h 314"/>
              <a:gd name="T46" fmla="*/ 182 w 356"/>
              <a:gd name="T47" fmla="*/ 0 h 314"/>
              <a:gd name="T48" fmla="*/ 342 w 356"/>
              <a:gd name="T49" fmla="*/ 60 h 314"/>
              <a:gd name="T50" fmla="*/ 350 w 356"/>
              <a:gd name="T51" fmla="*/ 74 h 314"/>
              <a:gd name="T52" fmla="*/ 340 w 356"/>
              <a:gd name="T53" fmla="*/ 80 h 314"/>
              <a:gd name="T54" fmla="*/ 16 w 356"/>
              <a:gd name="T55" fmla="*/ 80 h 314"/>
              <a:gd name="T56" fmla="*/ 8 w 356"/>
              <a:gd name="T57" fmla="*/ 74 h 314"/>
              <a:gd name="T58" fmla="*/ 160 w 356"/>
              <a:gd name="T59" fmla="*/ 42 h 314"/>
              <a:gd name="T60" fmla="*/ 178 w 356"/>
              <a:gd name="T61" fmla="*/ 60 h 314"/>
              <a:gd name="T62" fmla="*/ 194 w 356"/>
              <a:gd name="T63" fmla="*/ 50 h 314"/>
              <a:gd name="T64" fmla="*/ 190 w 356"/>
              <a:gd name="T65" fmla="*/ 30 h 314"/>
              <a:gd name="T66" fmla="*/ 170 w 356"/>
              <a:gd name="T67" fmla="*/ 26 h 314"/>
              <a:gd name="T68" fmla="*/ 160 w 356"/>
              <a:gd name="T69" fmla="*/ 42 h 314"/>
              <a:gd name="T70" fmla="*/ 6 w 356"/>
              <a:gd name="T71" fmla="*/ 294 h 314"/>
              <a:gd name="T72" fmla="*/ 0 w 356"/>
              <a:gd name="T73" fmla="*/ 304 h 314"/>
              <a:gd name="T74" fmla="*/ 10 w 356"/>
              <a:gd name="T75" fmla="*/ 314 h 314"/>
              <a:gd name="T76" fmla="*/ 352 w 356"/>
              <a:gd name="T77" fmla="*/ 312 h 314"/>
              <a:gd name="T78" fmla="*/ 354 w 356"/>
              <a:gd name="T79" fmla="*/ 300 h 314"/>
              <a:gd name="T80" fmla="*/ 346 w 356"/>
              <a:gd name="T81" fmla="*/ 294 h 314"/>
              <a:gd name="T82" fmla="*/ 238 w 356"/>
              <a:gd name="T83" fmla="*/ 242 h 314"/>
              <a:gd name="T84" fmla="*/ 240 w 356"/>
              <a:gd name="T85" fmla="*/ 104 h 314"/>
              <a:gd name="T86" fmla="*/ 230 w 356"/>
              <a:gd name="T87" fmla="*/ 94 h 314"/>
              <a:gd name="T88" fmla="*/ 200 w 356"/>
              <a:gd name="T89" fmla="*/ 98 h 314"/>
              <a:gd name="T90" fmla="*/ 198 w 356"/>
              <a:gd name="T91" fmla="*/ 236 h 314"/>
              <a:gd name="T92" fmla="*/ 208 w 356"/>
              <a:gd name="T93" fmla="*/ 246 h 314"/>
              <a:gd name="T94" fmla="*/ 316 w 356"/>
              <a:gd name="T95" fmla="*/ 244 h 314"/>
              <a:gd name="T96" fmla="*/ 322 w 356"/>
              <a:gd name="T97" fmla="*/ 104 h 314"/>
              <a:gd name="T98" fmla="*/ 316 w 356"/>
              <a:gd name="T99" fmla="*/ 96 h 314"/>
              <a:gd name="T100" fmla="*/ 286 w 356"/>
              <a:gd name="T101" fmla="*/ 96 h 314"/>
              <a:gd name="T102" fmla="*/ 280 w 356"/>
              <a:gd name="T103" fmla="*/ 236 h 314"/>
              <a:gd name="T104" fmla="*/ 286 w 356"/>
              <a:gd name="T105" fmla="*/ 24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6" h="314">
                <a:moveTo>
                  <a:pt x="44" y="246"/>
                </a:moveTo>
                <a:lnTo>
                  <a:pt x="44" y="246"/>
                </a:lnTo>
                <a:lnTo>
                  <a:pt x="40" y="244"/>
                </a:lnTo>
                <a:lnTo>
                  <a:pt x="36" y="242"/>
                </a:lnTo>
                <a:lnTo>
                  <a:pt x="34" y="240"/>
                </a:lnTo>
                <a:lnTo>
                  <a:pt x="34" y="236"/>
                </a:lnTo>
                <a:lnTo>
                  <a:pt x="34" y="104"/>
                </a:lnTo>
                <a:lnTo>
                  <a:pt x="34" y="104"/>
                </a:lnTo>
                <a:lnTo>
                  <a:pt x="34" y="100"/>
                </a:lnTo>
                <a:lnTo>
                  <a:pt x="36" y="98"/>
                </a:lnTo>
                <a:lnTo>
                  <a:pt x="40" y="96"/>
                </a:lnTo>
                <a:lnTo>
                  <a:pt x="44" y="94"/>
                </a:lnTo>
                <a:lnTo>
                  <a:pt x="66" y="94"/>
                </a:lnTo>
                <a:lnTo>
                  <a:pt x="66" y="94"/>
                </a:lnTo>
                <a:lnTo>
                  <a:pt x="70" y="96"/>
                </a:lnTo>
                <a:lnTo>
                  <a:pt x="72" y="98"/>
                </a:lnTo>
                <a:lnTo>
                  <a:pt x="76" y="100"/>
                </a:lnTo>
                <a:lnTo>
                  <a:pt x="76" y="104"/>
                </a:lnTo>
                <a:lnTo>
                  <a:pt x="76" y="236"/>
                </a:lnTo>
                <a:lnTo>
                  <a:pt x="76" y="236"/>
                </a:lnTo>
                <a:lnTo>
                  <a:pt x="76" y="240"/>
                </a:lnTo>
                <a:lnTo>
                  <a:pt x="72" y="242"/>
                </a:lnTo>
                <a:lnTo>
                  <a:pt x="70" y="244"/>
                </a:lnTo>
                <a:lnTo>
                  <a:pt x="66" y="246"/>
                </a:lnTo>
                <a:lnTo>
                  <a:pt x="44" y="246"/>
                </a:lnTo>
                <a:close/>
                <a:moveTo>
                  <a:pt x="30" y="270"/>
                </a:moveTo>
                <a:lnTo>
                  <a:pt x="30" y="270"/>
                </a:lnTo>
                <a:lnTo>
                  <a:pt x="32" y="274"/>
                </a:lnTo>
                <a:lnTo>
                  <a:pt x="34" y="276"/>
                </a:lnTo>
                <a:lnTo>
                  <a:pt x="36" y="278"/>
                </a:lnTo>
                <a:lnTo>
                  <a:pt x="40" y="280"/>
                </a:lnTo>
                <a:lnTo>
                  <a:pt x="316" y="280"/>
                </a:lnTo>
                <a:lnTo>
                  <a:pt x="316" y="280"/>
                </a:lnTo>
                <a:lnTo>
                  <a:pt x="320" y="278"/>
                </a:lnTo>
                <a:lnTo>
                  <a:pt x="322" y="276"/>
                </a:lnTo>
                <a:lnTo>
                  <a:pt x="324" y="274"/>
                </a:lnTo>
                <a:lnTo>
                  <a:pt x="326" y="270"/>
                </a:lnTo>
                <a:lnTo>
                  <a:pt x="326" y="270"/>
                </a:lnTo>
                <a:lnTo>
                  <a:pt x="324" y="266"/>
                </a:lnTo>
                <a:lnTo>
                  <a:pt x="322" y="262"/>
                </a:lnTo>
                <a:lnTo>
                  <a:pt x="320" y="260"/>
                </a:lnTo>
                <a:lnTo>
                  <a:pt x="316" y="260"/>
                </a:lnTo>
                <a:lnTo>
                  <a:pt x="40" y="260"/>
                </a:lnTo>
                <a:lnTo>
                  <a:pt x="40" y="260"/>
                </a:lnTo>
                <a:lnTo>
                  <a:pt x="36" y="260"/>
                </a:lnTo>
                <a:lnTo>
                  <a:pt x="34" y="262"/>
                </a:lnTo>
                <a:lnTo>
                  <a:pt x="32" y="266"/>
                </a:lnTo>
                <a:lnTo>
                  <a:pt x="30" y="270"/>
                </a:lnTo>
                <a:lnTo>
                  <a:pt x="30" y="270"/>
                </a:lnTo>
                <a:close/>
                <a:moveTo>
                  <a:pt x="148" y="246"/>
                </a:moveTo>
                <a:lnTo>
                  <a:pt x="148" y="246"/>
                </a:lnTo>
                <a:lnTo>
                  <a:pt x="152" y="244"/>
                </a:lnTo>
                <a:lnTo>
                  <a:pt x="156" y="242"/>
                </a:lnTo>
                <a:lnTo>
                  <a:pt x="158" y="240"/>
                </a:lnTo>
                <a:lnTo>
                  <a:pt x="158" y="236"/>
                </a:lnTo>
                <a:lnTo>
                  <a:pt x="158" y="104"/>
                </a:lnTo>
                <a:lnTo>
                  <a:pt x="158" y="104"/>
                </a:lnTo>
                <a:lnTo>
                  <a:pt x="158" y="100"/>
                </a:lnTo>
                <a:lnTo>
                  <a:pt x="156" y="98"/>
                </a:lnTo>
                <a:lnTo>
                  <a:pt x="152" y="96"/>
                </a:lnTo>
                <a:lnTo>
                  <a:pt x="148" y="94"/>
                </a:lnTo>
                <a:lnTo>
                  <a:pt x="126" y="94"/>
                </a:lnTo>
                <a:lnTo>
                  <a:pt x="126" y="94"/>
                </a:lnTo>
                <a:lnTo>
                  <a:pt x="122" y="96"/>
                </a:lnTo>
                <a:lnTo>
                  <a:pt x="118" y="98"/>
                </a:lnTo>
                <a:lnTo>
                  <a:pt x="116" y="100"/>
                </a:lnTo>
                <a:lnTo>
                  <a:pt x="116" y="104"/>
                </a:lnTo>
                <a:lnTo>
                  <a:pt x="116" y="236"/>
                </a:lnTo>
                <a:lnTo>
                  <a:pt x="116" y="236"/>
                </a:lnTo>
                <a:lnTo>
                  <a:pt x="116" y="240"/>
                </a:lnTo>
                <a:lnTo>
                  <a:pt x="118" y="242"/>
                </a:lnTo>
                <a:lnTo>
                  <a:pt x="122" y="244"/>
                </a:lnTo>
                <a:lnTo>
                  <a:pt x="126" y="246"/>
                </a:lnTo>
                <a:lnTo>
                  <a:pt x="148" y="246"/>
                </a:lnTo>
                <a:close/>
                <a:moveTo>
                  <a:pt x="6" y="72"/>
                </a:moveTo>
                <a:lnTo>
                  <a:pt x="6" y="72"/>
                </a:lnTo>
                <a:lnTo>
                  <a:pt x="6" y="68"/>
                </a:lnTo>
                <a:lnTo>
                  <a:pt x="8" y="64"/>
                </a:lnTo>
                <a:lnTo>
                  <a:pt x="10" y="62"/>
                </a:lnTo>
                <a:lnTo>
                  <a:pt x="12" y="6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4" y="0"/>
                </a:lnTo>
                <a:lnTo>
                  <a:pt x="176" y="0"/>
                </a:lnTo>
                <a:lnTo>
                  <a:pt x="176" y="0"/>
                </a:lnTo>
                <a:lnTo>
                  <a:pt x="176" y="0"/>
                </a:lnTo>
                <a:lnTo>
                  <a:pt x="176" y="0"/>
                </a:lnTo>
                <a:lnTo>
                  <a:pt x="178" y="0"/>
                </a:lnTo>
                <a:lnTo>
                  <a:pt x="178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0" y="0"/>
                </a:lnTo>
                <a:lnTo>
                  <a:pt x="182" y="0"/>
                </a:lnTo>
                <a:lnTo>
                  <a:pt x="182" y="0"/>
                </a:lnTo>
                <a:lnTo>
                  <a:pt x="182" y="0"/>
                </a:lnTo>
                <a:lnTo>
                  <a:pt x="182" y="0"/>
                </a:lnTo>
                <a:lnTo>
                  <a:pt x="342" y="60"/>
                </a:lnTo>
                <a:lnTo>
                  <a:pt x="342" y="60"/>
                </a:lnTo>
                <a:lnTo>
                  <a:pt x="348" y="64"/>
                </a:lnTo>
                <a:lnTo>
                  <a:pt x="350" y="70"/>
                </a:lnTo>
                <a:lnTo>
                  <a:pt x="350" y="70"/>
                </a:lnTo>
                <a:lnTo>
                  <a:pt x="350" y="74"/>
                </a:lnTo>
                <a:lnTo>
                  <a:pt x="346" y="76"/>
                </a:lnTo>
                <a:lnTo>
                  <a:pt x="344" y="80"/>
                </a:lnTo>
                <a:lnTo>
                  <a:pt x="340" y="80"/>
                </a:lnTo>
                <a:lnTo>
                  <a:pt x="340" y="80"/>
                </a:lnTo>
                <a:lnTo>
                  <a:pt x="340" y="80"/>
                </a:lnTo>
                <a:lnTo>
                  <a:pt x="178" y="80"/>
                </a:lnTo>
                <a:lnTo>
                  <a:pt x="178" y="80"/>
                </a:lnTo>
                <a:lnTo>
                  <a:pt x="16" y="80"/>
                </a:lnTo>
                <a:lnTo>
                  <a:pt x="16" y="80"/>
                </a:lnTo>
                <a:lnTo>
                  <a:pt x="12" y="80"/>
                </a:lnTo>
                <a:lnTo>
                  <a:pt x="10" y="78"/>
                </a:lnTo>
                <a:lnTo>
                  <a:pt x="8" y="74"/>
                </a:lnTo>
                <a:lnTo>
                  <a:pt x="6" y="72"/>
                </a:lnTo>
                <a:lnTo>
                  <a:pt x="6" y="72"/>
                </a:lnTo>
                <a:close/>
                <a:moveTo>
                  <a:pt x="160" y="42"/>
                </a:moveTo>
                <a:lnTo>
                  <a:pt x="160" y="42"/>
                </a:lnTo>
                <a:lnTo>
                  <a:pt x="162" y="50"/>
                </a:lnTo>
                <a:lnTo>
                  <a:pt x="166" y="54"/>
                </a:lnTo>
                <a:lnTo>
                  <a:pt x="170" y="58"/>
                </a:lnTo>
                <a:lnTo>
                  <a:pt x="178" y="60"/>
                </a:lnTo>
                <a:lnTo>
                  <a:pt x="178" y="60"/>
                </a:lnTo>
                <a:lnTo>
                  <a:pt x="184" y="58"/>
                </a:lnTo>
                <a:lnTo>
                  <a:pt x="190" y="54"/>
                </a:lnTo>
                <a:lnTo>
                  <a:pt x="194" y="50"/>
                </a:lnTo>
                <a:lnTo>
                  <a:pt x="196" y="42"/>
                </a:lnTo>
                <a:lnTo>
                  <a:pt x="196" y="42"/>
                </a:lnTo>
                <a:lnTo>
                  <a:pt x="194" y="36"/>
                </a:lnTo>
                <a:lnTo>
                  <a:pt x="190" y="30"/>
                </a:lnTo>
                <a:lnTo>
                  <a:pt x="184" y="26"/>
                </a:lnTo>
                <a:lnTo>
                  <a:pt x="178" y="24"/>
                </a:lnTo>
                <a:lnTo>
                  <a:pt x="178" y="24"/>
                </a:lnTo>
                <a:lnTo>
                  <a:pt x="170" y="26"/>
                </a:lnTo>
                <a:lnTo>
                  <a:pt x="166" y="30"/>
                </a:lnTo>
                <a:lnTo>
                  <a:pt x="162" y="36"/>
                </a:lnTo>
                <a:lnTo>
                  <a:pt x="160" y="42"/>
                </a:lnTo>
                <a:lnTo>
                  <a:pt x="160" y="42"/>
                </a:lnTo>
                <a:close/>
                <a:moveTo>
                  <a:pt x="346" y="294"/>
                </a:moveTo>
                <a:lnTo>
                  <a:pt x="10" y="294"/>
                </a:lnTo>
                <a:lnTo>
                  <a:pt x="10" y="294"/>
                </a:lnTo>
                <a:lnTo>
                  <a:pt x="6" y="294"/>
                </a:lnTo>
                <a:lnTo>
                  <a:pt x="4" y="298"/>
                </a:lnTo>
                <a:lnTo>
                  <a:pt x="2" y="300"/>
                </a:lnTo>
                <a:lnTo>
                  <a:pt x="0" y="304"/>
                </a:lnTo>
                <a:lnTo>
                  <a:pt x="0" y="304"/>
                </a:lnTo>
                <a:lnTo>
                  <a:pt x="2" y="308"/>
                </a:lnTo>
                <a:lnTo>
                  <a:pt x="4" y="312"/>
                </a:lnTo>
                <a:lnTo>
                  <a:pt x="6" y="314"/>
                </a:lnTo>
                <a:lnTo>
                  <a:pt x="10" y="314"/>
                </a:lnTo>
                <a:lnTo>
                  <a:pt x="346" y="314"/>
                </a:lnTo>
                <a:lnTo>
                  <a:pt x="346" y="314"/>
                </a:lnTo>
                <a:lnTo>
                  <a:pt x="350" y="314"/>
                </a:lnTo>
                <a:lnTo>
                  <a:pt x="352" y="312"/>
                </a:lnTo>
                <a:lnTo>
                  <a:pt x="354" y="308"/>
                </a:lnTo>
                <a:lnTo>
                  <a:pt x="356" y="304"/>
                </a:lnTo>
                <a:lnTo>
                  <a:pt x="356" y="304"/>
                </a:lnTo>
                <a:lnTo>
                  <a:pt x="354" y="300"/>
                </a:lnTo>
                <a:lnTo>
                  <a:pt x="352" y="298"/>
                </a:lnTo>
                <a:lnTo>
                  <a:pt x="350" y="294"/>
                </a:lnTo>
                <a:lnTo>
                  <a:pt x="346" y="294"/>
                </a:lnTo>
                <a:lnTo>
                  <a:pt x="346" y="294"/>
                </a:lnTo>
                <a:close/>
                <a:moveTo>
                  <a:pt x="230" y="246"/>
                </a:moveTo>
                <a:lnTo>
                  <a:pt x="230" y="246"/>
                </a:lnTo>
                <a:lnTo>
                  <a:pt x="234" y="244"/>
                </a:lnTo>
                <a:lnTo>
                  <a:pt x="238" y="242"/>
                </a:lnTo>
                <a:lnTo>
                  <a:pt x="240" y="240"/>
                </a:lnTo>
                <a:lnTo>
                  <a:pt x="240" y="236"/>
                </a:lnTo>
                <a:lnTo>
                  <a:pt x="240" y="104"/>
                </a:lnTo>
                <a:lnTo>
                  <a:pt x="240" y="104"/>
                </a:lnTo>
                <a:lnTo>
                  <a:pt x="240" y="100"/>
                </a:lnTo>
                <a:lnTo>
                  <a:pt x="238" y="98"/>
                </a:lnTo>
                <a:lnTo>
                  <a:pt x="234" y="96"/>
                </a:lnTo>
                <a:lnTo>
                  <a:pt x="230" y="94"/>
                </a:lnTo>
                <a:lnTo>
                  <a:pt x="208" y="94"/>
                </a:lnTo>
                <a:lnTo>
                  <a:pt x="208" y="94"/>
                </a:lnTo>
                <a:lnTo>
                  <a:pt x="204" y="96"/>
                </a:lnTo>
                <a:lnTo>
                  <a:pt x="200" y="98"/>
                </a:lnTo>
                <a:lnTo>
                  <a:pt x="198" y="100"/>
                </a:lnTo>
                <a:lnTo>
                  <a:pt x="198" y="104"/>
                </a:lnTo>
                <a:lnTo>
                  <a:pt x="198" y="236"/>
                </a:lnTo>
                <a:lnTo>
                  <a:pt x="198" y="236"/>
                </a:lnTo>
                <a:lnTo>
                  <a:pt x="198" y="240"/>
                </a:lnTo>
                <a:lnTo>
                  <a:pt x="200" y="242"/>
                </a:lnTo>
                <a:lnTo>
                  <a:pt x="204" y="244"/>
                </a:lnTo>
                <a:lnTo>
                  <a:pt x="208" y="246"/>
                </a:lnTo>
                <a:lnTo>
                  <a:pt x="230" y="246"/>
                </a:lnTo>
                <a:close/>
                <a:moveTo>
                  <a:pt x="312" y="246"/>
                </a:moveTo>
                <a:lnTo>
                  <a:pt x="312" y="246"/>
                </a:lnTo>
                <a:lnTo>
                  <a:pt x="316" y="244"/>
                </a:lnTo>
                <a:lnTo>
                  <a:pt x="320" y="242"/>
                </a:lnTo>
                <a:lnTo>
                  <a:pt x="322" y="240"/>
                </a:lnTo>
                <a:lnTo>
                  <a:pt x="322" y="236"/>
                </a:lnTo>
                <a:lnTo>
                  <a:pt x="322" y="104"/>
                </a:lnTo>
                <a:lnTo>
                  <a:pt x="322" y="104"/>
                </a:lnTo>
                <a:lnTo>
                  <a:pt x="322" y="100"/>
                </a:lnTo>
                <a:lnTo>
                  <a:pt x="320" y="98"/>
                </a:lnTo>
                <a:lnTo>
                  <a:pt x="316" y="96"/>
                </a:lnTo>
                <a:lnTo>
                  <a:pt x="312" y="94"/>
                </a:lnTo>
                <a:lnTo>
                  <a:pt x="290" y="94"/>
                </a:lnTo>
                <a:lnTo>
                  <a:pt x="290" y="94"/>
                </a:lnTo>
                <a:lnTo>
                  <a:pt x="286" y="96"/>
                </a:lnTo>
                <a:lnTo>
                  <a:pt x="284" y="98"/>
                </a:lnTo>
                <a:lnTo>
                  <a:pt x="280" y="100"/>
                </a:lnTo>
                <a:lnTo>
                  <a:pt x="280" y="104"/>
                </a:lnTo>
                <a:lnTo>
                  <a:pt x="280" y="236"/>
                </a:lnTo>
                <a:lnTo>
                  <a:pt x="280" y="236"/>
                </a:lnTo>
                <a:lnTo>
                  <a:pt x="280" y="240"/>
                </a:lnTo>
                <a:lnTo>
                  <a:pt x="284" y="242"/>
                </a:lnTo>
                <a:lnTo>
                  <a:pt x="286" y="244"/>
                </a:lnTo>
                <a:lnTo>
                  <a:pt x="290" y="246"/>
                </a:lnTo>
                <a:lnTo>
                  <a:pt x="312" y="246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Freeform 4830"/>
          <p:cNvSpPr>
            <a:spLocks noEditPoints="1"/>
          </p:cNvSpPr>
          <p:nvPr/>
        </p:nvSpPr>
        <p:spPr bwMode="auto">
          <a:xfrm>
            <a:off x="15454081" y="11194564"/>
            <a:ext cx="482068" cy="406465"/>
          </a:xfrm>
          <a:custGeom>
            <a:avLst/>
            <a:gdLst>
              <a:gd name="T0" fmla="*/ 478 w 500"/>
              <a:gd name="T1" fmla="*/ 164 h 400"/>
              <a:gd name="T2" fmla="*/ 422 w 500"/>
              <a:gd name="T3" fmla="*/ 150 h 400"/>
              <a:gd name="T4" fmla="*/ 374 w 500"/>
              <a:gd name="T5" fmla="*/ 120 h 400"/>
              <a:gd name="T6" fmla="*/ 358 w 500"/>
              <a:gd name="T7" fmla="*/ 106 h 400"/>
              <a:gd name="T8" fmla="*/ 356 w 500"/>
              <a:gd name="T9" fmla="*/ 104 h 400"/>
              <a:gd name="T10" fmla="*/ 260 w 500"/>
              <a:gd name="T11" fmla="*/ 8 h 400"/>
              <a:gd name="T12" fmla="*/ 260 w 500"/>
              <a:gd name="T13" fmla="*/ 6 h 400"/>
              <a:gd name="T14" fmla="*/ 256 w 500"/>
              <a:gd name="T15" fmla="*/ 4 h 400"/>
              <a:gd name="T16" fmla="*/ 256 w 500"/>
              <a:gd name="T17" fmla="*/ 2 h 400"/>
              <a:gd name="T18" fmla="*/ 252 w 500"/>
              <a:gd name="T19" fmla="*/ 0 h 400"/>
              <a:gd name="T20" fmla="*/ 252 w 500"/>
              <a:gd name="T21" fmla="*/ 0 h 400"/>
              <a:gd name="T22" fmla="*/ 248 w 500"/>
              <a:gd name="T23" fmla="*/ 0 h 400"/>
              <a:gd name="T24" fmla="*/ 248 w 500"/>
              <a:gd name="T25" fmla="*/ 0 h 400"/>
              <a:gd name="T26" fmla="*/ 244 w 500"/>
              <a:gd name="T27" fmla="*/ 2 h 400"/>
              <a:gd name="T28" fmla="*/ 244 w 500"/>
              <a:gd name="T29" fmla="*/ 4 h 400"/>
              <a:gd name="T30" fmla="*/ 240 w 500"/>
              <a:gd name="T31" fmla="*/ 6 h 400"/>
              <a:gd name="T32" fmla="*/ 214 w 500"/>
              <a:gd name="T33" fmla="*/ 102 h 400"/>
              <a:gd name="T34" fmla="*/ 144 w 500"/>
              <a:gd name="T35" fmla="*/ 104 h 400"/>
              <a:gd name="T36" fmla="*/ 142 w 500"/>
              <a:gd name="T37" fmla="*/ 106 h 400"/>
              <a:gd name="T38" fmla="*/ 126 w 500"/>
              <a:gd name="T39" fmla="*/ 120 h 400"/>
              <a:gd name="T40" fmla="*/ 78 w 500"/>
              <a:gd name="T41" fmla="*/ 150 h 400"/>
              <a:gd name="T42" fmla="*/ 22 w 500"/>
              <a:gd name="T43" fmla="*/ 164 h 400"/>
              <a:gd name="T44" fmla="*/ 0 w 500"/>
              <a:gd name="T45" fmla="*/ 186 h 400"/>
              <a:gd name="T46" fmla="*/ 0 w 500"/>
              <a:gd name="T47" fmla="*/ 186 h 400"/>
              <a:gd name="T48" fmla="*/ 20 w 500"/>
              <a:gd name="T49" fmla="*/ 184 h 400"/>
              <a:gd name="T50" fmla="*/ 80 w 500"/>
              <a:gd name="T51" fmla="*/ 170 h 400"/>
              <a:gd name="T52" fmla="*/ 134 w 500"/>
              <a:gd name="T53" fmla="*/ 140 h 400"/>
              <a:gd name="T54" fmla="*/ 138 w 500"/>
              <a:gd name="T55" fmla="*/ 388 h 400"/>
              <a:gd name="T56" fmla="*/ 140 w 500"/>
              <a:gd name="T57" fmla="*/ 394 h 400"/>
              <a:gd name="T58" fmla="*/ 146 w 500"/>
              <a:gd name="T59" fmla="*/ 400 h 400"/>
              <a:gd name="T60" fmla="*/ 154 w 500"/>
              <a:gd name="T61" fmla="*/ 398 h 400"/>
              <a:gd name="T62" fmla="*/ 250 w 500"/>
              <a:gd name="T63" fmla="*/ 322 h 400"/>
              <a:gd name="T64" fmla="*/ 342 w 500"/>
              <a:gd name="T65" fmla="*/ 392 h 400"/>
              <a:gd name="T66" fmla="*/ 352 w 500"/>
              <a:gd name="T67" fmla="*/ 400 h 400"/>
              <a:gd name="T68" fmla="*/ 358 w 500"/>
              <a:gd name="T69" fmla="*/ 398 h 400"/>
              <a:gd name="T70" fmla="*/ 362 w 500"/>
              <a:gd name="T71" fmla="*/ 388 h 400"/>
              <a:gd name="T72" fmla="*/ 350 w 500"/>
              <a:gd name="T73" fmla="*/ 126 h 400"/>
              <a:gd name="T74" fmla="*/ 402 w 500"/>
              <a:gd name="T75" fmla="*/ 162 h 400"/>
              <a:gd name="T76" fmla="*/ 458 w 500"/>
              <a:gd name="T77" fmla="*/ 182 h 400"/>
              <a:gd name="T78" fmla="*/ 500 w 500"/>
              <a:gd name="T79" fmla="*/ 186 h 400"/>
              <a:gd name="T80" fmla="*/ 500 w 500"/>
              <a:gd name="T81" fmla="*/ 186 h 400"/>
              <a:gd name="T82" fmla="*/ 498 w 500"/>
              <a:gd name="T83" fmla="*/ 166 h 400"/>
              <a:gd name="T84" fmla="*/ 282 w 500"/>
              <a:gd name="T85" fmla="*/ 166 h 400"/>
              <a:gd name="T86" fmla="*/ 250 w 500"/>
              <a:gd name="T87" fmla="*/ 220 h 400"/>
              <a:gd name="T88" fmla="*/ 280 w 500"/>
              <a:gd name="T89" fmla="*/ 202 h 400"/>
              <a:gd name="T90" fmla="*/ 236 w 500"/>
              <a:gd name="T91" fmla="*/ 102 h 400"/>
              <a:gd name="T92" fmla="*/ 270 w 500"/>
              <a:gd name="T93" fmla="*/ 122 h 400"/>
              <a:gd name="T94" fmla="*/ 224 w 500"/>
              <a:gd name="T95" fmla="*/ 146 h 400"/>
              <a:gd name="T96" fmla="*/ 230 w 500"/>
              <a:gd name="T97" fmla="*/ 172 h 400"/>
              <a:gd name="T98" fmla="*/ 184 w 500"/>
              <a:gd name="T99" fmla="*/ 122 h 400"/>
              <a:gd name="T100" fmla="*/ 184 w 500"/>
              <a:gd name="T101" fmla="*/ 122 h 400"/>
              <a:gd name="T102" fmla="*/ 196 w 500"/>
              <a:gd name="T103" fmla="*/ 250 h 400"/>
              <a:gd name="T104" fmla="*/ 186 w 500"/>
              <a:gd name="T105" fmla="*/ 286 h 400"/>
              <a:gd name="T106" fmla="*/ 200 w 500"/>
              <a:gd name="T107" fmla="*/ 272 h 400"/>
              <a:gd name="T108" fmla="*/ 250 w 500"/>
              <a:gd name="T109" fmla="*/ 300 h 400"/>
              <a:gd name="T110" fmla="*/ 270 w 500"/>
              <a:gd name="T111" fmla="*/ 312 h 400"/>
              <a:gd name="T112" fmla="*/ 304 w 500"/>
              <a:gd name="T113" fmla="*/ 250 h 400"/>
              <a:gd name="T114" fmla="*/ 304 w 500"/>
              <a:gd name="T115" fmla="*/ 250 h 400"/>
              <a:gd name="T116" fmla="*/ 316 w 500"/>
              <a:gd name="T117" fmla="*/ 12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0" h="400">
                <a:moveTo>
                  <a:pt x="498" y="166"/>
                </a:moveTo>
                <a:lnTo>
                  <a:pt x="498" y="166"/>
                </a:lnTo>
                <a:lnTo>
                  <a:pt x="478" y="164"/>
                </a:lnTo>
                <a:lnTo>
                  <a:pt x="460" y="162"/>
                </a:lnTo>
                <a:lnTo>
                  <a:pt x="440" y="156"/>
                </a:lnTo>
                <a:lnTo>
                  <a:pt x="422" y="150"/>
                </a:lnTo>
                <a:lnTo>
                  <a:pt x="406" y="142"/>
                </a:lnTo>
                <a:lnTo>
                  <a:pt x="388" y="130"/>
                </a:lnTo>
                <a:lnTo>
                  <a:pt x="374" y="120"/>
                </a:lnTo>
                <a:lnTo>
                  <a:pt x="358" y="106"/>
                </a:lnTo>
                <a:lnTo>
                  <a:pt x="358" y="106"/>
                </a:lnTo>
                <a:lnTo>
                  <a:pt x="358" y="106"/>
                </a:lnTo>
                <a:lnTo>
                  <a:pt x="358" y="106"/>
                </a:lnTo>
                <a:lnTo>
                  <a:pt x="356" y="104"/>
                </a:lnTo>
                <a:lnTo>
                  <a:pt x="356" y="104"/>
                </a:lnTo>
                <a:lnTo>
                  <a:pt x="352" y="102"/>
                </a:lnTo>
                <a:lnTo>
                  <a:pt x="286" y="102"/>
                </a:lnTo>
                <a:lnTo>
                  <a:pt x="260" y="8"/>
                </a:lnTo>
                <a:lnTo>
                  <a:pt x="260" y="8"/>
                </a:lnTo>
                <a:lnTo>
                  <a:pt x="260" y="6"/>
                </a:lnTo>
                <a:lnTo>
                  <a:pt x="260" y="6"/>
                </a:lnTo>
                <a:lnTo>
                  <a:pt x="258" y="4"/>
                </a:lnTo>
                <a:lnTo>
                  <a:pt x="258" y="4"/>
                </a:lnTo>
                <a:lnTo>
                  <a:pt x="256" y="4"/>
                </a:lnTo>
                <a:lnTo>
                  <a:pt x="256" y="4"/>
                </a:lnTo>
                <a:lnTo>
                  <a:pt x="256" y="2"/>
                </a:lnTo>
                <a:lnTo>
                  <a:pt x="256" y="2"/>
                </a:lnTo>
                <a:lnTo>
                  <a:pt x="254" y="2"/>
                </a:lnTo>
                <a:lnTo>
                  <a:pt x="254" y="2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0" y="0"/>
                </a:lnTo>
                <a:lnTo>
                  <a:pt x="250" y="0"/>
                </a:lnTo>
                <a:lnTo>
                  <a:pt x="248" y="0"/>
                </a:lnTo>
                <a:lnTo>
                  <a:pt x="248" y="0"/>
                </a:lnTo>
                <a:lnTo>
                  <a:pt x="248" y="0"/>
                </a:lnTo>
                <a:lnTo>
                  <a:pt x="248" y="0"/>
                </a:lnTo>
                <a:lnTo>
                  <a:pt x="246" y="2"/>
                </a:lnTo>
                <a:lnTo>
                  <a:pt x="246" y="2"/>
                </a:lnTo>
                <a:lnTo>
                  <a:pt x="244" y="2"/>
                </a:lnTo>
                <a:lnTo>
                  <a:pt x="244" y="2"/>
                </a:lnTo>
                <a:lnTo>
                  <a:pt x="244" y="4"/>
                </a:lnTo>
                <a:lnTo>
                  <a:pt x="244" y="4"/>
                </a:lnTo>
                <a:lnTo>
                  <a:pt x="242" y="4"/>
                </a:lnTo>
                <a:lnTo>
                  <a:pt x="242" y="4"/>
                </a:lnTo>
                <a:lnTo>
                  <a:pt x="240" y="6"/>
                </a:lnTo>
                <a:lnTo>
                  <a:pt x="240" y="6"/>
                </a:lnTo>
                <a:lnTo>
                  <a:pt x="240" y="8"/>
                </a:lnTo>
                <a:lnTo>
                  <a:pt x="214" y="102"/>
                </a:lnTo>
                <a:lnTo>
                  <a:pt x="148" y="102"/>
                </a:lnTo>
                <a:lnTo>
                  <a:pt x="148" y="102"/>
                </a:lnTo>
                <a:lnTo>
                  <a:pt x="144" y="104"/>
                </a:lnTo>
                <a:lnTo>
                  <a:pt x="144" y="104"/>
                </a:lnTo>
                <a:lnTo>
                  <a:pt x="142" y="106"/>
                </a:lnTo>
                <a:lnTo>
                  <a:pt x="142" y="106"/>
                </a:lnTo>
                <a:lnTo>
                  <a:pt x="142" y="106"/>
                </a:lnTo>
                <a:lnTo>
                  <a:pt x="142" y="106"/>
                </a:lnTo>
                <a:lnTo>
                  <a:pt x="126" y="120"/>
                </a:lnTo>
                <a:lnTo>
                  <a:pt x="112" y="130"/>
                </a:lnTo>
                <a:lnTo>
                  <a:pt x="94" y="142"/>
                </a:lnTo>
                <a:lnTo>
                  <a:pt x="78" y="150"/>
                </a:lnTo>
                <a:lnTo>
                  <a:pt x="60" y="156"/>
                </a:lnTo>
                <a:lnTo>
                  <a:pt x="40" y="162"/>
                </a:lnTo>
                <a:lnTo>
                  <a:pt x="22" y="164"/>
                </a:lnTo>
                <a:lnTo>
                  <a:pt x="2" y="166"/>
                </a:lnTo>
                <a:lnTo>
                  <a:pt x="2" y="16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20" y="184"/>
                </a:lnTo>
                <a:lnTo>
                  <a:pt x="40" y="182"/>
                </a:lnTo>
                <a:lnTo>
                  <a:pt x="60" y="176"/>
                </a:lnTo>
                <a:lnTo>
                  <a:pt x="80" y="170"/>
                </a:lnTo>
                <a:lnTo>
                  <a:pt x="98" y="162"/>
                </a:lnTo>
                <a:lnTo>
                  <a:pt x="116" y="152"/>
                </a:lnTo>
                <a:lnTo>
                  <a:pt x="134" y="140"/>
                </a:lnTo>
                <a:lnTo>
                  <a:pt x="150" y="126"/>
                </a:lnTo>
                <a:lnTo>
                  <a:pt x="200" y="156"/>
                </a:lnTo>
                <a:lnTo>
                  <a:pt x="138" y="388"/>
                </a:lnTo>
                <a:lnTo>
                  <a:pt x="138" y="388"/>
                </a:lnTo>
                <a:lnTo>
                  <a:pt x="138" y="392"/>
                </a:lnTo>
                <a:lnTo>
                  <a:pt x="140" y="394"/>
                </a:lnTo>
                <a:lnTo>
                  <a:pt x="142" y="398"/>
                </a:lnTo>
                <a:lnTo>
                  <a:pt x="146" y="400"/>
                </a:lnTo>
                <a:lnTo>
                  <a:pt x="146" y="400"/>
                </a:lnTo>
                <a:lnTo>
                  <a:pt x="148" y="400"/>
                </a:lnTo>
                <a:lnTo>
                  <a:pt x="148" y="400"/>
                </a:lnTo>
                <a:lnTo>
                  <a:pt x="154" y="398"/>
                </a:lnTo>
                <a:lnTo>
                  <a:pt x="158" y="392"/>
                </a:lnTo>
                <a:lnTo>
                  <a:pt x="164" y="372"/>
                </a:lnTo>
                <a:lnTo>
                  <a:pt x="250" y="322"/>
                </a:lnTo>
                <a:lnTo>
                  <a:pt x="336" y="372"/>
                </a:lnTo>
                <a:lnTo>
                  <a:pt x="342" y="392"/>
                </a:lnTo>
                <a:lnTo>
                  <a:pt x="342" y="392"/>
                </a:lnTo>
                <a:lnTo>
                  <a:pt x="346" y="398"/>
                </a:lnTo>
                <a:lnTo>
                  <a:pt x="352" y="400"/>
                </a:lnTo>
                <a:lnTo>
                  <a:pt x="352" y="400"/>
                </a:lnTo>
                <a:lnTo>
                  <a:pt x="354" y="400"/>
                </a:lnTo>
                <a:lnTo>
                  <a:pt x="354" y="400"/>
                </a:lnTo>
                <a:lnTo>
                  <a:pt x="358" y="398"/>
                </a:lnTo>
                <a:lnTo>
                  <a:pt x="360" y="394"/>
                </a:lnTo>
                <a:lnTo>
                  <a:pt x="362" y="392"/>
                </a:lnTo>
                <a:lnTo>
                  <a:pt x="362" y="388"/>
                </a:lnTo>
                <a:lnTo>
                  <a:pt x="300" y="156"/>
                </a:lnTo>
                <a:lnTo>
                  <a:pt x="350" y="126"/>
                </a:lnTo>
                <a:lnTo>
                  <a:pt x="350" y="126"/>
                </a:lnTo>
                <a:lnTo>
                  <a:pt x="366" y="140"/>
                </a:lnTo>
                <a:lnTo>
                  <a:pt x="384" y="152"/>
                </a:lnTo>
                <a:lnTo>
                  <a:pt x="402" y="162"/>
                </a:lnTo>
                <a:lnTo>
                  <a:pt x="420" y="170"/>
                </a:lnTo>
                <a:lnTo>
                  <a:pt x="438" y="176"/>
                </a:lnTo>
                <a:lnTo>
                  <a:pt x="458" y="182"/>
                </a:lnTo>
                <a:lnTo>
                  <a:pt x="480" y="184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498" y="166"/>
                </a:lnTo>
                <a:lnTo>
                  <a:pt x="498" y="166"/>
                </a:lnTo>
                <a:close/>
                <a:moveTo>
                  <a:pt x="286" y="182"/>
                </a:moveTo>
                <a:lnTo>
                  <a:pt x="270" y="172"/>
                </a:lnTo>
                <a:lnTo>
                  <a:pt x="282" y="166"/>
                </a:lnTo>
                <a:lnTo>
                  <a:pt x="286" y="182"/>
                </a:lnTo>
                <a:close/>
                <a:moveTo>
                  <a:pt x="280" y="202"/>
                </a:moveTo>
                <a:lnTo>
                  <a:pt x="250" y="220"/>
                </a:lnTo>
                <a:lnTo>
                  <a:pt x="220" y="202"/>
                </a:lnTo>
                <a:lnTo>
                  <a:pt x="250" y="184"/>
                </a:lnTo>
                <a:lnTo>
                  <a:pt x="280" y="202"/>
                </a:lnTo>
                <a:close/>
                <a:moveTo>
                  <a:pt x="250" y="50"/>
                </a:moveTo>
                <a:lnTo>
                  <a:pt x="264" y="102"/>
                </a:lnTo>
                <a:lnTo>
                  <a:pt x="236" y="102"/>
                </a:lnTo>
                <a:lnTo>
                  <a:pt x="250" y="50"/>
                </a:lnTo>
                <a:close/>
                <a:moveTo>
                  <a:pt x="230" y="122"/>
                </a:moveTo>
                <a:lnTo>
                  <a:pt x="270" y="122"/>
                </a:lnTo>
                <a:lnTo>
                  <a:pt x="276" y="146"/>
                </a:lnTo>
                <a:lnTo>
                  <a:pt x="250" y="162"/>
                </a:lnTo>
                <a:lnTo>
                  <a:pt x="224" y="146"/>
                </a:lnTo>
                <a:lnTo>
                  <a:pt x="230" y="122"/>
                </a:lnTo>
                <a:close/>
                <a:moveTo>
                  <a:pt x="218" y="166"/>
                </a:moveTo>
                <a:lnTo>
                  <a:pt x="230" y="172"/>
                </a:lnTo>
                <a:lnTo>
                  <a:pt x="214" y="182"/>
                </a:lnTo>
                <a:lnTo>
                  <a:pt x="218" y="166"/>
                </a:lnTo>
                <a:close/>
                <a:moveTo>
                  <a:pt x="184" y="122"/>
                </a:moveTo>
                <a:lnTo>
                  <a:pt x="210" y="122"/>
                </a:lnTo>
                <a:lnTo>
                  <a:pt x="206" y="136"/>
                </a:lnTo>
                <a:lnTo>
                  <a:pt x="184" y="122"/>
                </a:lnTo>
                <a:close/>
                <a:moveTo>
                  <a:pt x="206" y="216"/>
                </a:moveTo>
                <a:lnTo>
                  <a:pt x="230" y="232"/>
                </a:lnTo>
                <a:lnTo>
                  <a:pt x="196" y="250"/>
                </a:lnTo>
                <a:lnTo>
                  <a:pt x="206" y="216"/>
                </a:lnTo>
                <a:close/>
                <a:moveTo>
                  <a:pt x="170" y="346"/>
                </a:moveTo>
                <a:lnTo>
                  <a:pt x="186" y="286"/>
                </a:lnTo>
                <a:lnTo>
                  <a:pt x="230" y="312"/>
                </a:lnTo>
                <a:lnTo>
                  <a:pt x="170" y="346"/>
                </a:lnTo>
                <a:close/>
                <a:moveTo>
                  <a:pt x="200" y="272"/>
                </a:moveTo>
                <a:lnTo>
                  <a:pt x="250" y="242"/>
                </a:lnTo>
                <a:lnTo>
                  <a:pt x="300" y="272"/>
                </a:lnTo>
                <a:lnTo>
                  <a:pt x="250" y="300"/>
                </a:lnTo>
                <a:lnTo>
                  <a:pt x="200" y="272"/>
                </a:lnTo>
                <a:close/>
                <a:moveTo>
                  <a:pt x="330" y="346"/>
                </a:moveTo>
                <a:lnTo>
                  <a:pt x="270" y="312"/>
                </a:lnTo>
                <a:lnTo>
                  <a:pt x="314" y="286"/>
                </a:lnTo>
                <a:lnTo>
                  <a:pt x="330" y="346"/>
                </a:lnTo>
                <a:close/>
                <a:moveTo>
                  <a:pt x="304" y="250"/>
                </a:moveTo>
                <a:lnTo>
                  <a:pt x="270" y="232"/>
                </a:lnTo>
                <a:lnTo>
                  <a:pt x="294" y="216"/>
                </a:lnTo>
                <a:lnTo>
                  <a:pt x="304" y="250"/>
                </a:lnTo>
                <a:close/>
                <a:moveTo>
                  <a:pt x="294" y="136"/>
                </a:moveTo>
                <a:lnTo>
                  <a:pt x="290" y="122"/>
                </a:lnTo>
                <a:lnTo>
                  <a:pt x="316" y="122"/>
                </a:lnTo>
                <a:lnTo>
                  <a:pt x="294" y="136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Freeform 4842"/>
          <p:cNvSpPr>
            <a:spLocks noEditPoints="1"/>
          </p:cNvSpPr>
          <p:nvPr/>
        </p:nvSpPr>
        <p:spPr bwMode="auto">
          <a:xfrm>
            <a:off x="13940545" y="11200998"/>
            <a:ext cx="330067" cy="393598"/>
          </a:xfrm>
          <a:custGeom>
            <a:avLst/>
            <a:gdLst>
              <a:gd name="T0" fmla="*/ 52 w 308"/>
              <a:gd name="T1" fmla="*/ 4 h 292"/>
              <a:gd name="T2" fmla="*/ 244 w 308"/>
              <a:gd name="T3" fmla="*/ 0 h 292"/>
              <a:gd name="T4" fmla="*/ 308 w 308"/>
              <a:gd name="T5" fmla="*/ 68 h 292"/>
              <a:gd name="T6" fmla="*/ 304 w 308"/>
              <a:gd name="T7" fmla="*/ 266 h 292"/>
              <a:gd name="T8" fmla="*/ 248 w 308"/>
              <a:gd name="T9" fmla="*/ 292 h 292"/>
              <a:gd name="T10" fmla="*/ 16 w 308"/>
              <a:gd name="T11" fmla="*/ 292 h 292"/>
              <a:gd name="T12" fmla="*/ 4 w 308"/>
              <a:gd name="T13" fmla="*/ 266 h 292"/>
              <a:gd name="T14" fmla="*/ 0 w 308"/>
              <a:gd name="T15" fmla="*/ 68 h 292"/>
              <a:gd name="T16" fmla="*/ 16 w 308"/>
              <a:gd name="T17" fmla="*/ 52 h 292"/>
              <a:gd name="T18" fmla="*/ 304 w 308"/>
              <a:gd name="T19" fmla="*/ 56 h 292"/>
              <a:gd name="T20" fmla="*/ 166 w 308"/>
              <a:gd name="T21" fmla="*/ 162 h 292"/>
              <a:gd name="T22" fmla="*/ 154 w 308"/>
              <a:gd name="T23" fmla="*/ 124 h 292"/>
              <a:gd name="T24" fmla="*/ 114 w 308"/>
              <a:gd name="T25" fmla="*/ 98 h 292"/>
              <a:gd name="T26" fmla="*/ 74 w 308"/>
              <a:gd name="T27" fmla="*/ 100 h 292"/>
              <a:gd name="T28" fmla="*/ 40 w 308"/>
              <a:gd name="T29" fmla="*/ 136 h 292"/>
              <a:gd name="T30" fmla="*/ 36 w 308"/>
              <a:gd name="T31" fmla="*/ 174 h 292"/>
              <a:gd name="T32" fmla="*/ 64 w 308"/>
              <a:gd name="T33" fmla="*/ 216 h 292"/>
              <a:gd name="T34" fmla="*/ 100 w 308"/>
              <a:gd name="T35" fmla="*/ 228 h 292"/>
              <a:gd name="T36" fmla="*/ 146 w 308"/>
              <a:gd name="T37" fmla="*/ 208 h 292"/>
              <a:gd name="T38" fmla="*/ 166 w 308"/>
              <a:gd name="T39" fmla="*/ 162 h 292"/>
              <a:gd name="T40" fmla="*/ 268 w 308"/>
              <a:gd name="T41" fmla="*/ 110 h 292"/>
              <a:gd name="T42" fmla="*/ 244 w 308"/>
              <a:gd name="T43" fmla="*/ 96 h 292"/>
              <a:gd name="T44" fmla="*/ 218 w 308"/>
              <a:gd name="T45" fmla="*/ 120 h 292"/>
              <a:gd name="T46" fmla="*/ 226 w 308"/>
              <a:gd name="T47" fmla="*/ 140 h 292"/>
              <a:gd name="T48" fmla="*/ 232 w 308"/>
              <a:gd name="T49" fmla="*/ 222 h 292"/>
              <a:gd name="T50" fmla="*/ 244 w 308"/>
              <a:gd name="T51" fmla="*/ 230 h 292"/>
              <a:gd name="T52" fmla="*/ 256 w 308"/>
              <a:gd name="T53" fmla="*/ 218 h 292"/>
              <a:gd name="T54" fmla="*/ 266 w 308"/>
              <a:gd name="T55" fmla="*/ 134 h 292"/>
              <a:gd name="T56" fmla="*/ 142 w 308"/>
              <a:gd name="T57" fmla="*/ 168 h 292"/>
              <a:gd name="T58" fmla="*/ 140 w 308"/>
              <a:gd name="T59" fmla="*/ 192 h 292"/>
              <a:gd name="T60" fmla="*/ 124 w 308"/>
              <a:gd name="T61" fmla="*/ 186 h 292"/>
              <a:gd name="T62" fmla="*/ 130 w 308"/>
              <a:gd name="T63" fmla="*/ 202 h 292"/>
              <a:gd name="T64" fmla="*/ 108 w 308"/>
              <a:gd name="T65" fmla="*/ 204 h 292"/>
              <a:gd name="T66" fmla="*/ 100 w 308"/>
              <a:gd name="T67" fmla="*/ 196 h 292"/>
              <a:gd name="T68" fmla="*/ 92 w 308"/>
              <a:gd name="T69" fmla="*/ 212 h 292"/>
              <a:gd name="T70" fmla="*/ 76 w 308"/>
              <a:gd name="T71" fmla="*/ 196 h 292"/>
              <a:gd name="T72" fmla="*/ 70 w 308"/>
              <a:gd name="T73" fmla="*/ 184 h 292"/>
              <a:gd name="T74" fmla="*/ 54 w 308"/>
              <a:gd name="T75" fmla="*/ 180 h 292"/>
              <a:gd name="T76" fmla="*/ 64 w 308"/>
              <a:gd name="T77" fmla="*/ 166 h 292"/>
              <a:gd name="T78" fmla="*/ 58 w 308"/>
              <a:gd name="T79" fmla="*/ 154 h 292"/>
              <a:gd name="T80" fmla="*/ 60 w 308"/>
              <a:gd name="T81" fmla="*/ 132 h 292"/>
              <a:gd name="T82" fmla="*/ 70 w 308"/>
              <a:gd name="T83" fmla="*/ 140 h 292"/>
              <a:gd name="T84" fmla="*/ 76 w 308"/>
              <a:gd name="T85" fmla="*/ 126 h 292"/>
              <a:gd name="T86" fmla="*/ 92 w 308"/>
              <a:gd name="T87" fmla="*/ 112 h 292"/>
              <a:gd name="T88" fmla="*/ 100 w 308"/>
              <a:gd name="T89" fmla="*/ 128 h 292"/>
              <a:gd name="T90" fmla="*/ 108 w 308"/>
              <a:gd name="T91" fmla="*/ 112 h 292"/>
              <a:gd name="T92" fmla="*/ 124 w 308"/>
              <a:gd name="T93" fmla="*/ 126 h 292"/>
              <a:gd name="T94" fmla="*/ 124 w 308"/>
              <a:gd name="T95" fmla="*/ 138 h 292"/>
              <a:gd name="T96" fmla="*/ 140 w 308"/>
              <a:gd name="T97" fmla="*/ 130 h 292"/>
              <a:gd name="T98" fmla="*/ 142 w 308"/>
              <a:gd name="T99" fmla="*/ 154 h 292"/>
              <a:gd name="T100" fmla="*/ 134 w 308"/>
              <a:gd name="T101" fmla="*/ 162 h 292"/>
              <a:gd name="T102" fmla="*/ 120 w 308"/>
              <a:gd name="T103" fmla="*/ 162 h 292"/>
              <a:gd name="T104" fmla="*/ 108 w 308"/>
              <a:gd name="T105" fmla="*/ 142 h 292"/>
              <a:gd name="T106" fmla="*/ 86 w 308"/>
              <a:gd name="T107" fmla="*/ 146 h 292"/>
              <a:gd name="T108" fmla="*/ 82 w 308"/>
              <a:gd name="T109" fmla="*/ 170 h 292"/>
              <a:gd name="T110" fmla="*/ 100 w 308"/>
              <a:gd name="T111" fmla="*/ 182 h 292"/>
              <a:gd name="T112" fmla="*/ 120 w 308"/>
              <a:gd name="T113" fmla="*/ 16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8" h="292">
                <a:moveTo>
                  <a:pt x="290" y="32"/>
                </a:moveTo>
                <a:lnTo>
                  <a:pt x="18" y="32"/>
                </a:lnTo>
                <a:lnTo>
                  <a:pt x="52" y="4"/>
                </a:lnTo>
                <a:lnTo>
                  <a:pt x="52" y="4"/>
                </a:lnTo>
                <a:lnTo>
                  <a:pt x="58" y="0"/>
                </a:lnTo>
                <a:lnTo>
                  <a:pt x="64" y="0"/>
                </a:lnTo>
                <a:lnTo>
                  <a:pt x="244" y="0"/>
                </a:lnTo>
                <a:lnTo>
                  <a:pt x="244" y="0"/>
                </a:lnTo>
                <a:lnTo>
                  <a:pt x="250" y="0"/>
                </a:lnTo>
                <a:lnTo>
                  <a:pt x="256" y="4"/>
                </a:lnTo>
                <a:lnTo>
                  <a:pt x="290" y="32"/>
                </a:lnTo>
                <a:close/>
                <a:moveTo>
                  <a:pt x="308" y="68"/>
                </a:moveTo>
                <a:lnTo>
                  <a:pt x="308" y="256"/>
                </a:lnTo>
                <a:lnTo>
                  <a:pt x="308" y="256"/>
                </a:lnTo>
                <a:lnTo>
                  <a:pt x="308" y="262"/>
                </a:lnTo>
                <a:lnTo>
                  <a:pt x="304" y="266"/>
                </a:lnTo>
                <a:lnTo>
                  <a:pt x="298" y="270"/>
                </a:lnTo>
                <a:lnTo>
                  <a:pt x="292" y="272"/>
                </a:lnTo>
                <a:lnTo>
                  <a:pt x="292" y="292"/>
                </a:lnTo>
                <a:lnTo>
                  <a:pt x="248" y="292"/>
                </a:lnTo>
                <a:lnTo>
                  <a:pt x="248" y="272"/>
                </a:lnTo>
                <a:lnTo>
                  <a:pt x="60" y="272"/>
                </a:lnTo>
                <a:lnTo>
                  <a:pt x="60" y="292"/>
                </a:lnTo>
                <a:lnTo>
                  <a:pt x="16" y="292"/>
                </a:lnTo>
                <a:lnTo>
                  <a:pt x="16" y="272"/>
                </a:lnTo>
                <a:lnTo>
                  <a:pt x="16" y="272"/>
                </a:lnTo>
                <a:lnTo>
                  <a:pt x="10" y="270"/>
                </a:lnTo>
                <a:lnTo>
                  <a:pt x="4" y="266"/>
                </a:lnTo>
                <a:lnTo>
                  <a:pt x="0" y="262"/>
                </a:lnTo>
                <a:lnTo>
                  <a:pt x="0" y="256"/>
                </a:lnTo>
                <a:lnTo>
                  <a:pt x="0" y="68"/>
                </a:lnTo>
                <a:lnTo>
                  <a:pt x="0" y="68"/>
                </a:lnTo>
                <a:lnTo>
                  <a:pt x="0" y="62"/>
                </a:lnTo>
                <a:lnTo>
                  <a:pt x="4" y="56"/>
                </a:lnTo>
                <a:lnTo>
                  <a:pt x="10" y="52"/>
                </a:lnTo>
                <a:lnTo>
                  <a:pt x="16" y="52"/>
                </a:lnTo>
                <a:lnTo>
                  <a:pt x="292" y="52"/>
                </a:lnTo>
                <a:lnTo>
                  <a:pt x="292" y="52"/>
                </a:lnTo>
                <a:lnTo>
                  <a:pt x="298" y="52"/>
                </a:lnTo>
                <a:lnTo>
                  <a:pt x="304" y="56"/>
                </a:lnTo>
                <a:lnTo>
                  <a:pt x="308" y="62"/>
                </a:lnTo>
                <a:lnTo>
                  <a:pt x="308" y="68"/>
                </a:lnTo>
                <a:lnTo>
                  <a:pt x="308" y="68"/>
                </a:lnTo>
                <a:close/>
                <a:moveTo>
                  <a:pt x="166" y="162"/>
                </a:moveTo>
                <a:lnTo>
                  <a:pt x="166" y="162"/>
                </a:lnTo>
                <a:lnTo>
                  <a:pt x="164" y="148"/>
                </a:lnTo>
                <a:lnTo>
                  <a:pt x="160" y="136"/>
                </a:lnTo>
                <a:lnTo>
                  <a:pt x="154" y="124"/>
                </a:lnTo>
                <a:lnTo>
                  <a:pt x="146" y="114"/>
                </a:lnTo>
                <a:lnTo>
                  <a:pt x="136" y="106"/>
                </a:lnTo>
                <a:lnTo>
                  <a:pt x="126" y="100"/>
                </a:lnTo>
                <a:lnTo>
                  <a:pt x="114" y="98"/>
                </a:lnTo>
                <a:lnTo>
                  <a:pt x="100" y="96"/>
                </a:lnTo>
                <a:lnTo>
                  <a:pt x="100" y="96"/>
                </a:lnTo>
                <a:lnTo>
                  <a:pt x="86" y="98"/>
                </a:lnTo>
                <a:lnTo>
                  <a:pt x="74" y="100"/>
                </a:lnTo>
                <a:lnTo>
                  <a:pt x="64" y="106"/>
                </a:lnTo>
                <a:lnTo>
                  <a:pt x="54" y="114"/>
                </a:lnTo>
                <a:lnTo>
                  <a:pt x="46" y="124"/>
                </a:lnTo>
                <a:lnTo>
                  <a:pt x="40" y="136"/>
                </a:lnTo>
                <a:lnTo>
                  <a:pt x="36" y="148"/>
                </a:lnTo>
                <a:lnTo>
                  <a:pt x="34" y="162"/>
                </a:lnTo>
                <a:lnTo>
                  <a:pt x="34" y="162"/>
                </a:lnTo>
                <a:lnTo>
                  <a:pt x="36" y="174"/>
                </a:lnTo>
                <a:lnTo>
                  <a:pt x="40" y="186"/>
                </a:lnTo>
                <a:lnTo>
                  <a:pt x="46" y="198"/>
                </a:lnTo>
                <a:lnTo>
                  <a:pt x="54" y="208"/>
                </a:lnTo>
                <a:lnTo>
                  <a:pt x="64" y="216"/>
                </a:lnTo>
                <a:lnTo>
                  <a:pt x="74" y="222"/>
                </a:lnTo>
                <a:lnTo>
                  <a:pt x="86" y="226"/>
                </a:lnTo>
                <a:lnTo>
                  <a:pt x="100" y="228"/>
                </a:lnTo>
                <a:lnTo>
                  <a:pt x="100" y="228"/>
                </a:lnTo>
                <a:lnTo>
                  <a:pt x="114" y="226"/>
                </a:lnTo>
                <a:lnTo>
                  <a:pt x="126" y="222"/>
                </a:lnTo>
                <a:lnTo>
                  <a:pt x="136" y="216"/>
                </a:lnTo>
                <a:lnTo>
                  <a:pt x="146" y="208"/>
                </a:lnTo>
                <a:lnTo>
                  <a:pt x="154" y="198"/>
                </a:lnTo>
                <a:lnTo>
                  <a:pt x="160" y="186"/>
                </a:lnTo>
                <a:lnTo>
                  <a:pt x="164" y="174"/>
                </a:lnTo>
                <a:lnTo>
                  <a:pt x="166" y="162"/>
                </a:lnTo>
                <a:lnTo>
                  <a:pt x="166" y="162"/>
                </a:lnTo>
                <a:close/>
                <a:moveTo>
                  <a:pt x="270" y="120"/>
                </a:moveTo>
                <a:lnTo>
                  <a:pt x="270" y="120"/>
                </a:lnTo>
                <a:lnTo>
                  <a:pt x="268" y="110"/>
                </a:lnTo>
                <a:lnTo>
                  <a:pt x="262" y="102"/>
                </a:lnTo>
                <a:lnTo>
                  <a:pt x="254" y="98"/>
                </a:lnTo>
                <a:lnTo>
                  <a:pt x="244" y="96"/>
                </a:lnTo>
                <a:lnTo>
                  <a:pt x="244" y="96"/>
                </a:lnTo>
                <a:lnTo>
                  <a:pt x="234" y="98"/>
                </a:lnTo>
                <a:lnTo>
                  <a:pt x="226" y="102"/>
                </a:lnTo>
                <a:lnTo>
                  <a:pt x="220" y="110"/>
                </a:lnTo>
                <a:lnTo>
                  <a:pt x="218" y="120"/>
                </a:lnTo>
                <a:lnTo>
                  <a:pt x="218" y="120"/>
                </a:lnTo>
                <a:lnTo>
                  <a:pt x="220" y="128"/>
                </a:lnTo>
                <a:lnTo>
                  <a:pt x="222" y="134"/>
                </a:lnTo>
                <a:lnTo>
                  <a:pt x="226" y="140"/>
                </a:lnTo>
                <a:lnTo>
                  <a:pt x="232" y="144"/>
                </a:lnTo>
                <a:lnTo>
                  <a:pt x="232" y="218"/>
                </a:lnTo>
                <a:lnTo>
                  <a:pt x="232" y="218"/>
                </a:lnTo>
                <a:lnTo>
                  <a:pt x="232" y="222"/>
                </a:lnTo>
                <a:lnTo>
                  <a:pt x="236" y="226"/>
                </a:lnTo>
                <a:lnTo>
                  <a:pt x="240" y="228"/>
                </a:lnTo>
                <a:lnTo>
                  <a:pt x="244" y="230"/>
                </a:lnTo>
                <a:lnTo>
                  <a:pt x="244" y="230"/>
                </a:lnTo>
                <a:lnTo>
                  <a:pt x="248" y="228"/>
                </a:lnTo>
                <a:lnTo>
                  <a:pt x="252" y="226"/>
                </a:lnTo>
                <a:lnTo>
                  <a:pt x="256" y="222"/>
                </a:lnTo>
                <a:lnTo>
                  <a:pt x="256" y="218"/>
                </a:lnTo>
                <a:lnTo>
                  <a:pt x="256" y="144"/>
                </a:lnTo>
                <a:lnTo>
                  <a:pt x="256" y="144"/>
                </a:lnTo>
                <a:lnTo>
                  <a:pt x="262" y="140"/>
                </a:lnTo>
                <a:lnTo>
                  <a:pt x="266" y="134"/>
                </a:lnTo>
                <a:lnTo>
                  <a:pt x="268" y="128"/>
                </a:lnTo>
                <a:lnTo>
                  <a:pt x="270" y="120"/>
                </a:lnTo>
                <a:lnTo>
                  <a:pt x="270" y="120"/>
                </a:lnTo>
                <a:close/>
                <a:moveTo>
                  <a:pt x="142" y="168"/>
                </a:moveTo>
                <a:lnTo>
                  <a:pt x="150" y="168"/>
                </a:lnTo>
                <a:lnTo>
                  <a:pt x="150" y="168"/>
                </a:lnTo>
                <a:lnTo>
                  <a:pt x="146" y="180"/>
                </a:lnTo>
                <a:lnTo>
                  <a:pt x="140" y="192"/>
                </a:lnTo>
                <a:lnTo>
                  <a:pt x="134" y="186"/>
                </a:lnTo>
                <a:lnTo>
                  <a:pt x="134" y="186"/>
                </a:lnTo>
                <a:lnTo>
                  <a:pt x="130" y="184"/>
                </a:lnTo>
                <a:lnTo>
                  <a:pt x="124" y="186"/>
                </a:lnTo>
                <a:lnTo>
                  <a:pt x="124" y="186"/>
                </a:lnTo>
                <a:lnTo>
                  <a:pt x="122" y="190"/>
                </a:lnTo>
                <a:lnTo>
                  <a:pt x="124" y="196"/>
                </a:lnTo>
                <a:lnTo>
                  <a:pt x="130" y="202"/>
                </a:lnTo>
                <a:lnTo>
                  <a:pt x="130" y="202"/>
                </a:lnTo>
                <a:lnTo>
                  <a:pt x="120" y="208"/>
                </a:lnTo>
                <a:lnTo>
                  <a:pt x="108" y="212"/>
                </a:lnTo>
                <a:lnTo>
                  <a:pt x="108" y="204"/>
                </a:lnTo>
                <a:lnTo>
                  <a:pt x="108" y="204"/>
                </a:lnTo>
                <a:lnTo>
                  <a:pt x="106" y="198"/>
                </a:lnTo>
                <a:lnTo>
                  <a:pt x="100" y="196"/>
                </a:lnTo>
                <a:lnTo>
                  <a:pt x="100" y="196"/>
                </a:lnTo>
                <a:lnTo>
                  <a:pt x="94" y="198"/>
                </a:lnTo>
                <a:lnTo>
                  <a:pt x="92" y="204"/>
                </a:lnTo>
                <a:lnTo>
                  <a:pt x="92" y="212"/>
                </a:lnTo>
                <a:lnTo>
                  <a:pt x="92" y="212"/>
                </a:lnTo>
                <a:lnTo>
                  <a:pt x="80" y="208"/>
                </a:lnTo>
                <a:lnTo>
                  <a:pt x="70" y="202"/>
                </a:lnTo>
                <a:lnTo>
                  <a:pt x="76" y="196"/>
                </a:lnTo>
                <a:lnTo>
                  <a:pt x="76" y="196"/>
                </a:lnTo>
                <a:lnTo>
                  <a:pt x="78" y="190"/>
                </a:lnTo>
                <a:lnTo>
                  <a:pt x="76" y="186"/>
                </a:lnTo>
                <a:lnTo>
                  <a:pt x="76" y="186"/>
                </a:lnTo>
                <a:lnTo>
                  <a:pt x="70" y="184"/>
                </a:lnTo>
                <a:lnTo>
                  <a:pt x="66" y="186"/>
                </a:lnTo>
                <a:lnTo>
                  <a:pt x="60" y="192"/>
                </a:lnTo>
                <a:lnTo>
                  <a:pt x="60" y="192"/>
                </a:lnTo>
                <a:lnTo>
                  <a:pt x="54" y="180"/>
                </a:lnTo>
                <a:lnTo>
                  <a:pt x="50" y="168"/>
                </a:lnTo>
                <a:lnTo>
                  <a:pt x="58" y="168"/>
                </a:lnTo>
                <a:lnTo>
                  <a:pt x="58" y="168"/>
                </a:lnTo>
                <a:lnTo>
                  <a:pt x="64" y="166"/>
                </a:lnTo>
                <a:lnTo>
                  <a:pt x="66" y="162"/>
                </a:lnTo>
                <a:lnTo>
                  <a:pt x="66" y="162"/>
                </a:lnTo>
                <a:lnTo>
                  <a:pt x="64" y="156"/>
                </a:lnTo>
                <a:lnTo>
                  <a:pt x="58" y="154"/>
                </a:lnTo>
                <a:lnTo>
                  <a:pt x="50" y="154"/>
                </a:lnTo>
                <a:lnTo>
                  <a:pt x="50" y="154"/>
                </a:lnTo>
                <a:lnTo>
                  <a:pt x="54" y="142"/>
                </a:lnTo>
                <a:lnTo>
                  <a:pt x="60" y="132"/>
                </a:lnTo>
                <a:lnTo>
                  <a:pt x="66" y="138"/>
                </a:lnTo>
                <a:lnTo>
                  <a:pt x="66" y="138"/>
                </a:lnTo>
                <a:lnTo>
                  <a:pt x="70" y="140"/>
                </a:lnTo>
                <a:lnTo>
                  <a:pt x="70" y="140"/>
                </a:lnTo>
                <a:lnTo>
                  <a:pt x="76" y="138"/>
                </a:lnTo>
                <a:lnTo>
                  <a:pt x="76" y="138"/>
                </a:lnTo>
                <a:lnTo>
                  <a:pt x="78" y="132"/>
                </a:lnTo>
                <a:lnTo>
                  <a:pt x="76" y="126"/>
                </a:lnTo>
                <a:lnTo>
                  <a:pt x="70" y="120"/>
                </a:lnTo>
                <a:lnTo>
                  <a:pt x="70" y="120"/>
                </a:lnTo>
                <a:lnTo>
                  <a:pt x="80" y="114"/>
                </a:lnTo>
                <a:lnTo>
                  <a:pt x="92" y="112"/>
                </a:lnTo>
                <a:lnTo>
                  <a:pt x="92" y="120"/>
                </a:lnTo>
                <a:lnTo>
                  <a:pt x="92" y="120"/>
                </a:lnTo>
                <a:lnTo>
                  <a:pt x="94" y="124"/>
                </a:lnTo>
                <a:lnTo>
                  <a:pt x="100" y="128"/>
                </a:lnTo>
                <a:lnTo>
                  <a:pt x="100" y="128"/>
                </a:lnTo>
                <a:lnTo>
                  <a:pt x="106" y="124"/>
                </a:lnTo>
                <a:lnTo>
                  <a:pt x="108" y="120"/>
                </a:lnTo>
                <a:lnTo>
                  <a:pt x="108" y="112"/>
                </a:lnTo>
                <a:lnTo>
                  <a:pt x="108" y="112"/>
                </a:lnTo>
                <a:lnTo>
                  <a:pt x="120" y="114"/>
                </a:lnTo>
                <a:lnTo>
                  <a:pt x="130" y="120"/>
                </a:lnTo>
                <a:lnTo>
                  <a:pt x="124" y="126"/>
                </a:lnTo>
                <a:lnTo>
                  <a:pt x="124" y="126"/>
                </a:lnTo>
                <a:lnTo>
                  <a:pt x="122" y="132"/>
                </a:lnTo>
                <a:lnTo>
                  <a:pt x="124" y="138"/>
                </a:lnTo>
                <a:lnTo>
                  <a:pt x="124" y="138"/>
                </a:lnTo>
                <a:lnTo>
                  <a:pt x="130" y="140"/>
                </a:lnTo>
                <a:lnTo>
                  <a:pt x="130" y="140"/>
                </a:lnTo>
                <a:lnTo>
                  <a:pt x="134" y="138"/>
                </a:lnTo>
                <a:lnTo>
                  <a:pt x="140" y="130"/>
                </a:lnTo>
                <a:lnTo>
                  <a:pt x="140" y="130"/>
                </a:lnTo>
                <a:lnTo>
                  <a:pt x="146" y="142"/>
                </a:lnTo>
                <a:lnTo>
                  <a:pt x="150" y="154"/>
                </a:lnTo>
                <a:lnTo>
                  <a:pt x="142" y="154"/>
                </a:lnTo>
                <a:lnTo>
                  <a:pt x="142" y="154"/>
                </a:lnTo>
                <a:lnTo>
                  <a:pt x="136" y="156"/>
                </a:lnTo>
                <a:lnTo>
                  <a:pt x="134" y="162"/>
                </a:lnTo>
                <a:lnTo>
                  <a:pt x="134" y="162"/>
                </a:lnTo>
                <a:lnTo>
                  <a:pt x="136" y="166"/>
                </a:lnTo>
                <a:lnTo>
                  <a:pt x="142" y="168"/>
                </a:lnTo>
                <a:lnTo>
                  <a:pt x="142" y="168"/>
                </a:lnTo>
                <a:close/>
                <a:moveTo>
                  <a:pt x="120" y="162"/>
                </a:moveTo>
                <a:lnTo>
                  <a:pt x="120" y="162"/>
                </a:lnTo>
                <a:lnTo>
                  <a:pt x="118" y="154"/>
                </a:lnTo>
                <a:lnTo>
                  <a:pt x="114" y="146"/>
                </a:lnTo>
                <a:lnTo>
                  <a:pt x="108" y="142"/>
                </a:lnTo>
                <a:lnTo>
                  <a:pt x="100" y="140"/>
                </a:lnTo>
                <a:lnTo>
                  <a:pt x="100" y="140"/>
                </a:lnTo>
                <a:lnTo>
                  <a:pt x="92" y="142"/>
                </a:lnTo>
                <a:lnTo>
                  <a:pt x="86" y="146"/>
                </a:lnTo>
                <a:lnTo>
                  <a:pt x="82" y="154"/>
                </a:lnTo>
                <a:lnTo>
                  <a:pt x="80" y="162"/>
                </a:lnTo>
                <a:lnTo>
                  <a:pt x="80" y="162"/>
                </a:lnTo>
                <a:lnTo>
                  <a:pt x="82" y="170"/>
                </a:lnTo>
                <a:lnTo>
                  <a:pt x="86" y="176"/>
                </a:lnTo>
                <a:lnTo>
                  <a:pt x="92" y="180"/>
                </a:lnTo>
                <a:lnTo>
                  <a:pt x="100" y="182"/>
                </a:lnTo>
                <a:lnTo>
                  <a:pt x="100" y="182"/>
                </a:lnTo>
                <a:lnTo>
                  <a:pt x="108" y="180"/>
                </a:lnTo>
                <a:lnTo>
                  <a:pt x="114" y="176"/>
                </a:lnTo>
                <a:lnTo>
                  <a:pt x="118" y="170"/>
                </a:lnTo>
                <a:lnTo>
                  <a:pt x="120" y="162"/>
                </a:lnTo>
                <a:lnTo>
                  <a:pt x="120" y="162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Freeform 4924"/>
          <p:cNvSpPr>
            <a:spLocks noEditPoints="1"/>
          </p:cNvSpPr>
          <p:nvPr/>
        </p:nvSpPr>
        <p:spPr bwMode="auto">
          <a:xfrm>
            <a:off x="10741736" y="11147941"/>
            <a:ext cx="411921" cy="499710"/>
          </a:xfrm>
          <a:custGeom>
            <a:avLst/>
            <a:gdLst>
              <a:gd name="T0" fmla="*/ 78 w 394"/>
              <a:gd name="T1" fmla="*/ 20 h 380"/>
              <a:gd name="T2" fmla="*/ 116 w 394"/>
              <a:gd name="T3" fmla="*/ 0 h 380"/>
              <a:gd name="T4" fmla="*/ 148 w 394"/>
              <a:gd name="T5" fmla="*/ 14 h 380"/>
              <a:gd name="T6" fmla="*/ 162 w 394"/>
              <a:gd name="T7" fmla="*/ 46 h 380"/>
              <a:gd name="T8" fmla="*/ 142 w 394"/>
              <a:gd name="T9" fmla="*/ 84 h 380"/>
              <a:gd name="T10" fmla="*/ 106 w 394"/>
              <a:gd name="T11" fmla="*/ 92 h 380"/>
              <a:gd name="T12" fmla="*/ 74 w 394"/>
              <a:gd name="T13" fmla="*/ 64 h 380"/>
              <a:gd name="T14" fmla="*/ 120 w 394"/>
              <a:gd name="T15" fmla="*/ 232 h 380"/>
              <a:gd name="T16" fmla="*/ 148 w 394"/>
              <a:gd name="T17" fmla="*/ 198 h 380"/>
              <a:gd name="T18" fmla="*/ 142 w 394"/>
              <a:gd name="T19" fmla="*/ 164 h 380"/>
              <a:gd name="T20" fmla="*/ 170 w 394"/>
              <a:gd name="T21" fmla="*/ 128 h 380"/>
              <a:gd name="T22" fmla="*/ 176 w 394"/>
              <a:gd name="T23" fmla="*/ 114 h 380"/>
              <a:gd name="T24" fmla="*/ 72 w 394"/>
              <a:gd name="T25" fmla="*/ 112 h 380"/>
              <a:gd name="T26" fmla="*/ 38 w 394"/>
              <a:gd name="T27" fmla="*/ 130 h 380"/>
              <a:gd name="T28" fmla="*/ 0 w 394"/>
              <a:gd name="T29" fmla="*/ 244 h 380"/>
              <a:gd name="T30" fmla="*/ 46 w 394"/>
              <a:gd name="T31" fmla="*/ 318 h 380"/>
              <a:gd name="T32" fmla="*/ 152 w 394"/>
              <a:gd name="T33" fmla="*/ 376 h 380"/>
              <a:gd name="T34" fmla="*/ 130 w 394"/>
              <a:gd name="T35" fmla="*/ 332 h 380"/>
              <a:gd name="T36" fmla="*/ 390 w 394"/>
              <a:gd name="T37" fmla="*/ 154 h 380"/>
              <a:gd name="T38" fmla="*/ 372 w 394"/>
              <a:gd name="T39" fmla="*/ 124 h 380"/>
              <a:gd name="T40" fmla="*/ 318 w 394"/>
              <a:gd name="T41" fmla="*/ 112 h 380"/>
              <a:gd name="T42" fmla="*/ 228 w 394"/>
              <a:gd name="T43" fmla="*/ 112 h 380"/>
              <a:gd name="T44" fmla="*/ 196 w 394"/>
              <a:gd name="T45" fmla="*/ 124 h 380"/>
              <a:gd name="T46" fmla="*/ 228 w 394"/>
              <a:gd name="T47" fmla="*/ 138 h 380"/>
              <a:gd name="T48" fmla="*/ 242 w 394"/>
              <a:gd name="T49" fmla="*/ 174 h 380"/>
              <a:gd name="T50" fmla="*/ 256 w 394"/>
              <a:gd name="T51" fmla="*/ 210 h 380"/>
              <a:gd name="T52" fmla="*/ 264 w 394"/>
              <a:gd name="T53" fmla="*/ 314 h 380"/>
              <a:gd name="T54" fmla="*/ 232 w 394"/>
              <a:gd name="T55" fmla="*/ 342 h 380"/>
              <a:gd name="T56" fmla="*/ 278 w 394"/>
              <a:gd name="T57" fmla="*/ 362 h 380"/>
              <a:gd name="T58" fmla="*/ 338 w 394"/>
              <a:gd name="T59" fmla="*/ 260 h 380"/>
              <a:gd name="T60" fmla="*/ 366 w 394"/>
              <a:gd name="T61" fmla="*/ 284 h 380"/>
              <a:gd name="T62" fmla="*/ 394 w 394"/>
              <a:gd name="T63" fmla="*/ 198 h 380"/>
              <a:gd name="T64" fmla="*/ 192 w 394"/>
              <a:gd name="T65" fmla="*/ 380 h 380"/>
              <a:gd name="T66" fmla="*/ 236 w 394"/>
              <a:gd name="T67" fmla="*/ 320 h 380"/>
              <a:gd name="T68" fmla="*/ 244 w 394"/>
              <a:gd name="T69" fmla="*/ 232 h 380"/>
              <a:gd name="T70" fmla="*/ 154 w 394"/>
              <a:gd name="T71" fmla="*/ 218 h 380"/>
              <a:gd name="T72" fmla="*/ 140 w 394"/>
              <a:gd name="T73" fmla="*/ 232 h 380"/>
              <a:gd name="T74" fmla="*/ 148 w 394"/>
              <a:gd name="T75" fmla="*/ 320 h 380"/>
              <a:gd name="T76" fmla="*/ 192 w 394"/>
              <a:gd name="T77" fmla="*/ 380 h 380"/>
              <a:gd name="T78" fmla="*/ 242 w 394"/>
              <a:gd name="T79" fmla="*/ 64 h 380"/>
              <a:gd name="T80" fmla="*/ 274 w 394"/>
              <a:gd name="T81" fmla="*/ 92 h 380"/>
              <a:gd name="T82" fmla="*/ 308 w 394"/>
              <a:gd name="T83" fmla="*/ 84 h 380"/>
              <a:gd name="T84" fmla="*/ 330 w 394"/>
              <a:gd name="T85" fmla="*/ 46 h 380"/>
              <a:gd name="T86" fmla="*/ 314 w 394"/>
              <a:gd name="T87" fmla="*/ 12 h 380"/>
              <a:gd name="T88" fmla="*/ 284 w 394"/>
              <a:gd name="T89" fmla="*/ 0 h 380"/>
              <a:gd name="T90" fmla="*/ 250 w 394"/>
              <a:gd name="T91" fmla="*/ 14 h 380"/>
              <a:gd name="T92" fmla="*/ 238 w 394"/>
              <a:gd name="T93" fmla="*/ 46 h 380"/>
              <a:gd name="T94" fmla="*/ 214 w 394"/>
              <a:gd name="T95" fmla="*/ 196 h 380"/>
              <a:gd name="T96" fmla="*/ 222 w 394"/>
              <a:gd name="T97" fmla="*/ 168 h 380"/>
              <a:gd name="T98" fmla="*/ 192 w 394"/>
              <a:gd name="T99" fmla="*/ 142 h 380"/>
              <a:gd name="T100" fmla="*/ 164 w 394"/>
              <a:gd name="T101" fmla="*/ 162 h 380"/>
              <a:gd name="T102" fmla="*/ 164 w 394"/>
              <a:gd name="T103" fmla="*/ 186 h 380"/>
              <a:gd name="T104" fmla="*/ 192 w 394"/>
              <a:gd name="T105" fmla="*/ 204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4" h="380">
                <a:moveTo>
                  <a:pt x="70" y="46"/>
                </a:moveTo>
                <a:lnTo>
                  <a:pt x="70" y="46"/>
                </a:lnTo>
                <a:lnTo>
                  <a:pt x="72" y="38"/>
                </a:lnTo>
                <a:lnTo>
                  <a:pt x="74" y="28"/>
                </a:lnTo>
                <a:lnTo>
                  <a:pt x="78" y="20"/>
                </a:lnTo>
                <a:lnTo>
                  <a:pt x="84" y="14"/>
                </a:lnTo>
                <a:lnTo>
                  <a:pt x="90" y="8"/>
                </a:lnTo>
                <a:lnTo>
                  <a:pt x="98" y="4"/>
                </a:lnTo>
                <a:lnTo>
                  <a:pt x="106" y="2"/>
                </a:lnTo>
                <a:lnTo>
                  <a:pt x="116" y="0"/>
                </a:lnTo>
                <a:lnTo>
                  <a:pt x="116" y="0"/>
                </a:lnTo>
                <a:lnTo>
                  <a:pt x="126" y="2"/>
                </a:lnTo>
                <a:lnTo>
                  <a:pt x="134" y="4"/>
                </a:lnTo>
                <a:lnTo>
                  <a:pt x="142" y="8"/>
                </a:lnTo>
                <a:lnTo>
                  <a:pt x="148" y="14"/>
                </a:lnTo>
                <a:lnTo>
                  <a:pt x="154" y="20"/>
                </a:lnTo>
                <a:lnTo>
                  <a:pt x="158" y="28"/>
                </a:lnTo>
                <a:lnTo>
                  <a:pt x="160" y="38"/>
                </a:lnTo>
                <a:lnTo>
                  <a:pt x="162" y="46"/>
                </a:lnTo>
                <a:lnTo>
                  <a:pt x="162" y="46"/>
                </a:lnTo>
                <a:lnTo>
                  <a:pt x="160" y="56"/>
                </a:lnTo>
                <a:lnTo>
                  <a:pt x="158" y="64"/>
                </a:lnTo>
                <a:lnTo>
                  <a:pt x="154" y="72"/>
                </a:lnTo>
                <a:lnTo>
                  <a:pt x="148" y="78"/>
                </a:lnTo>
                <a:lnTo>
                  <a:pt x="142" y="84"/>
                </a:lnTo>
                <a:lnTo>
                  <a:pt x="134" y="88"/>
                </a:lnTo>
                <a:lnTo>
                  <a:pt x="126" y="92"/>
                </a:lnTo>
                <a:lnTo>
                  <a:pt x="116" y="92"/>
                </a:lnTo>
                <a:lnTo>
                  <a:pt x="116" y="92"/>
                </a:lnTo>
                <a:lnTo>
                  <a:pt x="106" y="92"/>
                </a:lnTo>
                <a:lnTo>
                  <a:pt x="98" y="88"/>
                </a:lnTo>
                <a:lnTo>
                  <a:pt x="90" y="84"/>
                </a:lnTo>
                <a:lnTo>
                  <a:pt x="84" y="78"/>
                </a:lnTo>
                <a:lnTo>
                  <a:pt x="78" y="72"/>
                </a:lnTo>
                <a:lnTo>
                  <a:pt x="74" y="64"/>
                </a:lnTo>
                <a:lnTo>
                  <a:pt x="72" y="56"/>
                </a:lnTo>
                <a:lnTo>
                  <a:pt x="70" y="46"/>
                </a:lnTo>
                <a:lnTo>
                  <a:pt x="70" y="46"/>
                </a:lnTo>
                <a:close/>
                <a:moveTo>
                  <a:pt x="120" y="308"/>
                </a:moveTo>
                <a:lnTo>
                  <a:pt x="120" y="232"/>
                </a:lnTo>
                <a:lnTo>
                  <a:pt x="120" y="232"/>
                </a:lnTo>
                <a:lnTo>
                  <a:pt x="122" y="220"/>
                </a:lnTo>
                <a:lnTo>
                  <a:pt x="128" y="210"/>
                </a:lnTo>
                <a:lnTo>
                  <a:pt x="136" y="202"/>
                </a:lnTo>
                <a:lnTo>
                  <a:pt x="148" y="198"/>
                </a:lnTo>
                <a:lnTo>
                  <a:pt x="148" y="198"/>
                </a:lnTo>
                <a:lnTo>
                  <a:pt x="144" y="186"/>
                </a:lnTo>
                <a:lnTo>
                  <a:pt x="142" y="174"/>
                </a:lnTo>
                <a:lnTo>
                  <a:pt x="142" y="174"/>
                </a:lnTo>
                <a:lnTo>
                  <a:pt x="142" y="164"/>
                </a:lnTo>
                <a:lnTo>
                  <a:pt x="146" y="154"/>
                </a:lnTo>
                <a:lnTo>
                  <a:pt x="150" y="146"/>
                </a:lnTo>
                <a:lnTo>
                  <a:pt x="156" y="140"/>
                </a:lnTo>
                <a:lnTo>
                  <a:pt x="162" y="132"/>
                </a:lnTo>
                <a:lnTo>
                  <a:pt x="170" y="128"/>
                </a:lnTo>
                <a:lnTo>
                  <a:pt x="178" y="124"/>
                </a:lnTo>
                <a:lnTo>
                  <a:pt x="188" y="124"/>
                </a:lnTo>
                <a:lnTo>
                  <a:pt x="188" y="124"/>
                </a:lnTo>
                <a:lnTo>
                  <a:pt x="182" y="118"/>
                </a:lnTo>
                <a:lnTo>
                  <a:pt x="176" y="114"/>
                </a:lnTo>
                <a:lnTo>
                  <a:pt x="168" y="112"/>
                </a:lnTo>
                <a:lnTo>
                  <a:pt x="160" y="112"/>
                </a:lnTo>
                <a:lnTo>
                  <a:pt x="116" y="112"/>
                </a:lnTo>
                <a:lnTo>
                  <a:pt x="72" y="112"/>
                </a:lnTo>
                <a:lnTo>
                  <a:pt x="72" y="112"/>
                </a:lnTo>
                <a:lnTo>
                  <a:pt x="64" y="112"/>
                </a:lnTo>
                <a:lnTo>
                  <a:pt x="56" y="114"/>
                </a:lnTo>
                <a:lnTo>
                  <a:pt x="50" y="118"/>
                </a:lnTo>
                <a:lnTo>
                  <a:pt x="44" y="124"/>
                </a:lnTo>
                <a:lnTo>
                  <a:pt x="38" y="130"/>
                </a:lnTo>
                <a:lnTo>
                  <a:pt x="34" y="136"/>
                </a:lnTo>
                <a:lnTo>
                  <a:pt x="30" y="144"/>
                </a:lnTo>
                <a:lnTo>
                  <a:pt x="28" y="152"/>
                </a:lnTo>
                <a:lnTo>
                  <a:pt x="0" y="244"/>
                </a:lnTo>
                <a:lnTo>
                  <a:pt x="0" y="244"/>
                </a:lnTo>
                <a:lnTo>
                  <a:pt x="12" y="270"/>
                </a:lnTo>
                <a:lnTo>
                  <a:pt x="26" y="296"/>
                </a:lnTo>
                <a:lnTo>
                  <a:pt x="60" y="188"/>
                </a:lnTo>
                <a:lnTo>
                  <a:pt x="76" y="188"/>
                </a:lnTo>
                <a:lnTo>
                  <a:pt x="46" y="318"/>
                </a:lnTo>
                <a:lnTo>
                  <a:pt x="46" y="318"/>
                </a:lnTo>
                <a:lnTo>
                  <a:pt x="70" y="338"/>
                </a:lnTo>
                <a:lnTo>
                  <a:pt x="94" y="356"/>
                </a:lnTo>
                <a:lnTo>
                  <a:pt x="122" y="368"/>
                </a:lnTo>
                <a:lnTo>
                  <a:pt x="152" y="376"/>
                </a:lnTo>
                <a:lnTo>
                  <a:pt x="152" y="342"/>
                </a:lnTo>
                <a:lnTo>
                  <a:pt x="152" y="342"/>
                </a:lnTo>
                <a:lnTo>
                  <a:pt x="146" y="340"/>
                </a:lnTo>
                <a:lnTo>
                  <a:pt x="140" y="338"/>
                </a:lnTo>
                <a:lnTo>
                  <a:pt x="130" y="332"/>
                </a:lnTo>
                <a:lnTo>
                  <a:pt x="122" y="320"/>
                </a:lnTo>
                <a:lnTo>
                  <a:pt x="120" y="314"/>
                </a:lnTo>
                <a:lnTo>
                  <a:pt x="120" y="308"/>
                </a:lnTo>
                <a:lnTo>
                  <a:pt x="120" y="308"/>
                </a:lnTo>
                <a:close/>
                <a:moveTo>
                  <a:pt x="390" y="154"/>
                </a:moveTo>
                <a:lnTo>
                  <a:pt x="390" y="154"/>
                </a:lnTo>
                <a:lnTo>
                  <a:pt x="388" y="146"/>
                </a:lnTo>
                <a:lnTo>
                  <a:pt x="384" y="138"/>
                </a:lnTo>
                <a:lnTo>
                  <a:pt x="378" y="130"/>
                </a:lnTo>
                <a:lnTo>
                  <a:pt x="372" y="124"/>
                </a:lnTo>
                <a:lnTo>
                  <a:pt x="366" y="118"/>
                </a:lnTo>
                <a:lnTo>
                  <a:pt x="358" y="116"/>
                </a:lnTo>
                <a:lnTo>
                  <a:pt x="348" y="112"/>
                </a:lnTo>
                <a:lnTo>
                  <a:pt x="340" y="112"/>
                </a:lnTo>
                <a:lnTo>
                  <a:pt x="318" y="112"/>
                </a:lnTo>
                <a:lnTo>
                  <a:pt x="310" y="112"/>
                </a:lnTo>
                <a:lnTo>
                  <a:pt x="284" y="148"/>
                </a:lnTo>
                <a:lnTo>
                  <a:pt x="256" y="112"/>
                </a:lnTo>
                <a:lnTo>
                  <a:pt x="250" y="112"/>
                </a:lnTo>
                <a:lnTo>
                  <a:pt x="228" y="112"/>
                </a:lnTo>
                <a:lnTo>
                  <a:pt x="228" y="112"/>
                </a:lnTo>
                <a:lnTo>
                  <a:pt x="218" y="112"/>
                </a:lnTo>
                <a:lnTo>
                  <a:pt x="210" y="114"/>
                </a:lnTo>
                <a:lnTo>
                  <a:pt x="202" y="118"/>
                </a:lnTo>
                <a:lnTo>
                  <a:pt x="196" y="124"/>
                </a:lnTo>
                <a:lnTo>
                  <a:pt x="196" y="124"/>
                </a:lnTo>
                <a:lnTo>
                  <a:pt x="204" y="124"/>
                </a:lnTo>
                <a:lnTo>
                  <a:pt x="214" y="128"/>
                </a:lnTo>
                <a:lnTo>
                  <a:pt x="222" y="132"/>
                </a:lnTo>
                <a:lnTo>
                  <a:pt x="228" y="138"/>
                </a:lnTo>
                <a:lnTo>
                  <a:pt x="234" y="146"/>
                </a:lnTo>
                <a:lnTo>
                  <a:pt x="238" y="154"/>
                </a:lnTo>
                <a:lnTo>
                  <a:pt x="242" y="164"/>
                </a:lnTo>
                <a:lnTo>
                  <a:pt x="242" y="174"/>
                </a:lnTo>
                <a:lnTo>
                  <a:pt x="242" y="174"/>
                </a:lnTo>
                <a:lnTo>
                  <a:pt x="240" y="186"/>
                </a:lnTo>
                <a:lnTo>
                  <a:pt x="236" y="198"/>
                </a:lnTo>
                <a:lnTo>
                  <a:pt x="236" y="198"/>
                </a:lnTo>
                <a:lnTo>
                  <a:pt x="248" y="202"/>
                </a:lnTo>
                <a:lnTo>
                  <a:pt x="256" y="210"/>
                </a:lnTo>
                <a:lnTo>
                  <a:pt x="262" y="220"/>
                </a:lnTo>
                <a:lnTo>
                  <a:pt x="264" y="232"/>
                </a:lnTo>
                <a:lnTo>
                  <a:pt x="264" y="308"/>
                </a:lnTo>
                <a:lnTo>
                  <a:pt x="264" y="308"/>
                </a:lnTo>
                <a:lnTo>
                  <a:pt x="264" y="314"/>
                </a:lnTo>
                <a:lnTo>
                  <a:pt x="262" y="320"/>
                </a:lnTo>
                <a:lnTo>
                  <a:pt x="254" y="332"/>
                </a:lnTo>
                <a:lnTo>
                  <a:pt x="244" y="338"/>
                </a:lnTo>
                <a:lnTo>
                  <a:pt x="238" y="340"/>
                </a:lnTo>
                <a:lnTo>
                  <a:pt x="232" y="342"/>
                </a:lnTo>
                <a:lnTo>
                  <a:pt x="232" y="376"/>
                </a:lnTo>
                <a:lnTo>
                  <a:pt x="232" y="376"/>
                </a:lnTo>
                <a:lnTo>
                  <a:pt x="248" y="372"/>
                </a:lnTo>
                <a:lnTo>
                  <a:pt x="262" y="368"/>
                </a:lnTo>
                <a:lnTo>
                  <a:pt x="278" y="362"/>
                </a:lnTo>
                <a:lnTo>
                  <a:pt x="292" y="354"/>
                </a:lnTo>
                <a:lnTo>
                  <a:pt x="306" y="346"/>
                </a:lnTo>
                <a:lnTo>
                  <a:pt x="318" y="336"/>
                </a:lnTo>
                <a:lnTo>
                  <a:pt x="340" y="316"/>
                </a:lnTo>
                <a:lnTo>
                  <a:pt x="338" y="260"/>
                </a:lnTo>
                <a:lnTo>
                  <a:pt x="338" y="192"/>
                </a:lnTo>
                <a:lnTo>
                  <a:pt x="350" y="192"/>
                </a:lnTo>
                <a:lnTo>
                  <a:pt x="350" y="192"/>
                </a:lnTo>
                <a:lnTo>
                  <a:pt x="354" y="192"/>
                </a:lnTo>
                <a:lnTo>
                  <a:pt x="366" y="284"/>
                </a:lnTo>
                <a:lnTo>
                  <a:pt x="366" y="284"/>
                </a:lnTo>
                <a:lnTo>
                  <a:pt x="376" y="264"/>
                </a:lnTo>
                <a:lnTo>
                  <a:pt x="384" y="244"/>
                </a:lnTo>
                <a:lnTo>
                  <a:pt x="390" y="222"/>
                </a:lnTo>
                <a:lnTo>
                  <a:pt x="394" y="198"/>
                </a:lnTo>
                <a:lnTo>
                  <a:pt x="394" y="198"/>
                </a:lnTo>
                <a:lnTo>
                  <a:pt x="390" y="154"/>
                </a:lnTo>
                <a:lnTo>
                  <a:pt x="390" y="154"/>
                </a:lnTo>
                <a:close/>
                <a:moveTo>
                  <a:pt x="192" y="380"/>
                </a:moveTo>
                <a:lnTo>
                  <a:pt x="192" y="380"/>
                </a:lnTo>
                <a:lnTo>
                  <a:pt x="212" y="380"/>
                </a:lnTo>
                <a:lnTo>
                  <a:pt x="212" y="322"/>
                </a:lnTo>
                <a:lnTo>
                  <a:pt x="230" y="322"/>
                </a:lnTo>
                <a:lnTo>
                  <a:pt x="230" y="322"/>
                </a:lnTo>
                <a:lnTo>
                  <a:pt x="236" y="320"/>
                </a:lnTo>
                <a:lnTo>
                  <a:pt x="240" y="318"/>
                </a:lnTo>
                <a:lnTo>
                  <a:pt x="242" y="314"/>
                </a:lnTo>
                <a:lnTo>
                  <a:pt x="244" y="308"/>
                </a:lnTo>
                <a:lnTo>
                  <a:pt x="244" y="232"/>
                </a:lnTo>
                <a:lnTo>
                  <a:pt x="244" y="232"/>
                </a:lnTo>
                <a:lnTo>
                  <a:pt x="242" y="226"/>
                </a:lnTo>
                <a:lnTo>
                  <a:pt x="240" y="222"/>
                </a:lnTo>
                <a:lnTo>
                  <a:pt x="236" y="218"/>
                </a:lnTo>
                <a:lnTo>
                  <a:pt x="230" y="218"/>
                </a:lnTo>
                <a:lnTo>
                  <a:pt x="154" y="218"/>
                </a:lnTo>
                <a:lnTo>
                  <a:pt x="154" y="218"/>
                </a:lnTo>
                <a:lnTo>
                  <a:pt x="148" y="218"/>
                </a:lnTo>
                <a:lnTo>
                  <a:pt x="144" y="222"/>
                </a:lnTo>
                <a:lnTo>
                  <a:pt x="142" y="226"/>
                </a:lnTo>
                <a:lnTo>
                  <a:pt x="140" y="232"/>
                </a:lnTo>
                <a:lnTo>
                  <a:pt x="140" y="308"/>
                </a:lnTo>
                <a:lnTo>
                  <a:pt x="140" y="308"/>
                </a:lnTo>
                <a:lnTo>
                  <a:pt x="142" y="314"/>
                </a:lnTo>
                <a:lnTo>
                  <a:pt x="144" y="318"/>
                </a:lnTo>
                <a:lnTo>
                  <a:pt x="148" y="320"/>
                </a:lnTo>
                <a:lnTo>
                  <a:pt x="154" y="322"/>
                </a:lnTo>
                <a:lnTo>
                  <a:pt x="172" y="322"/>
                </a:lnTo>
                <a:lnTo>
                  <a:pt x="172" y="380"/>
                </a:lnTo>
                <a:lnTo>
                  <a:pt x="172" y="380"/>
                </a:lnTo>
                <a:lnTo>
                  <a:pt x="192" y="380"/>
                </a:lnTo>
                <a:lnTo>
                  <a:pt x="192" y="380"/>
                </a:lnTo>
                <a:close/>
                <a:moveTo>
                  <a:pt x="238" y="46"/>
                </a:moveTo>
                <a:lnTo>
                  <a:pt x="238" y="46"/>
                </a:lnTo>
                <a:lnTo>
                  <a:pt x="238" y="56"/>
                </a:lnTo>
                <a:lnTo>
                  <a:pt x="242" y="64"/>
                </a:lnTo>
                <a:lnTo>
                  <a:pt x="246" y="72"/>
                </a:lnTo>
                <a:lnTo>
                  <a:pt x="250" y="78"/>
                </a:lnTo>
                <a:lnTo>
                  <a:pt x="258" y="84"/>
                </a:lnTo>
                <a:lnTo>
                  <a:pt x="266" y="88"/>
                </a:lnTo>
                <a:lnTo>
                  <a:pt x="274" y="92"/>
                </a:lnTo>
                <a:lnTo>
                  <a:pt x="284" y="92"/>
                </a:lnTo>
                <a:lnTo>
                  <a:pt x="284" y="92"/>
                </a:lnTo>
                <a:lnTo>
                  <a:pt x="292" y="92"/>
                </a:lnTo>
                <a:lnTo>
                  <a:pt x="302" y="88"/>
                </a:lnTo>
                <a:lnTo>
                  <a:pt x="308" y="84"/>
                </a:lnTo>
                <a:lnTo>
                  <a:pt x="316" y="78"/>
                </a:lnTo>
                <a:lnTo>
                  <a:pt x="322" y="72"/>
                </a:lnTo>
                <a:lnTo>
                  <a:pt x="326" y="64"/>
                </a:lnTo>
                <a:lnTo>
                  <a:pt x="328" y="56"/>
                </a:lnTo>
                <a:lnTo>
                  <a:pt x="330" y="46"/>
                </a:lnTo>
                <a:lnTo>
                  <a:pt x="330" y="46"/>
                </a:lnTo>
                <a:lnTo>
                  <a:pt x="328" y="36"/>
                </a:lnTo>
                <a:lnTo>
                  <a:pt x="324" y="28"/>
                </a:lnTo>
                <a:lnTo>
                  <a:pt x="320" y="20"/>
                </a:lnTo>
                <a:lnTo>
                  <a:pt x="314" y="12"/>
                </a:lnTo>
                <a:lnTo>
                  <a:pt x="314" y="12"/>
                </a:lnTo>
                <a:lnTo>
                  <a:pt x="306" y="6"/>
                </a:lnTo>
                <a:lnTo>
                  <a:pt x="306" y="6"/>
                </a:lnTo>
                <a:lnTo>
                  <a:pt x="294" y="2"/>
                </a:lnTo>
                <a:lnTo>
                  <a:pt x="284" y="0"/>
                </a:lnTo>
                <a:lnTo>
                  <a:pt x="284" y="0"/>
                </a:lnTo>
                <a:lnTo>
                  <a:pt x="274" y="2"/>
                </a:lnTo>
                <a:lnTo>
                  <a:pt x="266" y="4"/>
                </a:lnTo>
                <a:lnTo>
                  <a:pt x="258" y="8"/>
                </a:lnTo>
                <a:lnTo>
                  <a:pt x="250" y="14"/>
                </a:lnTo>
                <a:lnTo>
                  <a:pt x="246" y="20"/>
                </a:lnTo>
                <a:lnTo>
                  <a:pt x="242" y="28"/>
                </a:lnTo>
                <a:lnTo>
                  <a:pt x="238" y="38"/>
                </a:lnTo>
                <a:lnTo>
                  <a:pt x="238" y="46"/>
                </a:lnTo>
                <a:lnTo>
                  <a:pt x="238" y="46"/>
                </a:lnTo>
                <a:close/>
                <a:moveTo>
                  <a:pt x="192" y="204"/>
                </a:moveTo>
                <a:lnTo>
                  <a:pt x="192" y="204"/>
                </a:lnTo>
                <a:lnTo>
                  <a:pt x="198" y="204"/>
                </a:lnTo>
                <a:lnTo>
                  <a:pt x="204" y="202"/>
                </a:lnTo>
                <a:lnTo>
                  <a:pt x="214" y="196"/>
                </a:lnTo>
                <a:lnTo>
                  <a:pt x="220" y="186"/>
                </a:lnTo>
                <a:lnTo>
                  <a:pt x="222" y="180"/>
                </a:lnTo>
                <a:lnTo>
                  <a:pt x="222" y="174"/>
                </a:lnTo>
                <a:lnTo>
                  <a:pt x="222" y="174"/>
                </a:lnTo>
                <a:lnTo>
                  <a:pt x="222" y="168"/>
                </a:lnTo>
                <a:lnTo>
                  <a:pt x="220" y="162"/>
                </a:lnTo>
                <a:lnTo>
                  <a:pt x="214" y="152"/>
                </a:lnTo>
                <a:lnTo>
                  <a:pt x="204" y="146"/>
                </a:lnTo>
                <a:lnTo>
                  <a:pt x="198" y="144"/>
                </a:lnTo>
                <a:lnTo>
                  <a:pt x="192" y="142"/>
                </a:lnTo>
                <a:lnTo>
                  <a:pt x="192" y="142"/>
                </a:lnTo>
                <a:lnTo>
                  <a:pt x="186" y="144"/>
                </a:lnTo>
                <a:lnTo>
                  <a:pt x="180" y="146"/>
                </a:lnTo>
                <a:lnTo>
                  <a:pt x="170" y="152"/>
                </a:lnTo>
                <a:lnTo>
                  <a:pt x="164" y="162"/>
                </a:lnTo>
                <a:lnTo>
                  <a:pt x="162" y="168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4" y="186"/>
                </a:lnTo>
                <a:lnTo>
                  <a:pt x="170" y="196"/>
                </a:lnTo>
                <a:lnTo>
                  <a:pt x="180" y="202"/>
                </a:lnTo>
                <a:lnTo>
                  <a:pt x="186" y="204"/>
                </a:lnTo>
                <a:lnTo>
                  <a:pt x="192" y="204"/>
                </a:lnTo>
                <a:lnTo>
                  <a:pt x="192" y="204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Freeform 4974"/>
          <p:cNvSpPr>
            <a:spLocks noEditPoints="1"/>
          </p:cNvSpPr>
          <p:nvPr/>
        </p:nvSpPr>
        <p:spPr bwMode="auto">
          <a:xfrm>
            <a:off x="12337125" y="11243513"/>
            <a:ext cx="419951" cy="308565"/>
          </a:xfrm>
          <a:custGeom>
            <a:avLst/>
            <a:gdLst>
              <a:gd name="T0" fmla="*/ 160 w 404"/>
              <a:gd name="T1" fmla="*/ 0 h 236"/>
              <a:gd name="T2" fmla="*/ 226 w 404"/>
              <a:gd name="T3" fmla="*/ 66 h 236"/>
              <a:gd name="T4" fmla="*/ 124 w 404"/>
              <a:gd name="T5" fmla="*/ 86 h 236"/>
              <a:gd name="T6" fmla="*/ 58 w 404"/>
              <a:gd name="T7" fmla="*/ 20 h 236"/>
              <a:gd name="T8" fmla="*/ 58 w 404"/>
              <a:gd name="T9" fmla="*/ 20 h 236"/>
              <a:gd name="T10" fmla="*/ 282 w 404"/>
              <a:gd name="T11" fmla="*/ 0 h 236"/>
              <a:gd name="T12" fmla="*/ 74 w 404"/>
              <a:gd name="T13" fmla="*/ 196 h 236"/>
              <a:gd name="T14" fmla="*/ 44 w 404"/>
              <a:gd name="T15" fmla="*/ 190 h 236"/>
              <a:gd name="T16" fmla="*/ 38 w 404"/>
              <a:gd name="T17" fmla="*/ 162 h 236"/>
              <a:gd name="T18" fmla="*/ 50 w 404"/>
              <a:gd name="T19" fmla="*/ 170 h 236"/>
              <a:gd name="T20" fmla="*/ 58 w 404"/>
              <a:gd name="T21" fmla="*/ 166 h 236"/>
              <a:gd name="T22" fmla="*/ 58 w 404"/>
              <a:gd name="T23" fmla="*/ 152 h 236"/>
              <a:gd name="T24" fmla="*/ 68 w 404"/>
              <a:gd name="T25" fmla="*/ 146 h 236"/>
              <a:gd name="T26" fmla="*/ 88 w 404"/>
              <a:gd name="T27" fmla="*/ 162 h 236"/>
              <a:gd name="T28" fmla="*/ 82 w 404"/>
              <a:gd name="T29" fmla="*/ 190 h 236"/>
              <a:gd name="T30" fmla="*/ 230 w 404"/>
              <a:gd name="T31" fmla="*/ 172 h 236"/>
              <a:gd name="T32" fmla="*/ 202 w 404"/>
              <a:gd name="T33" fmla="*/ 198 h 236"/>
              <a:gd name="T34" fmla="*/ 178 w 404"/>
              <a:gd name="T35" fmla="*/ 182 h 236"/>
              <a:gd name="T36" fmla="*/ 182 w 404"/>
              <a:gd name="T37" fmla="*/ 152 h 236"/>
              <a:gd name="T38" fmla="*/ 212 w 404"/>
              <a:gd name="T39" fmla="*/ 146 h 236"/>
              <a:gd name="T40" fmla="*/ 204 w 404"/>
              <a:gd name="T41" fmla="*/ 160 h 236"/>
              <a:gd name="T42" fmla="*/ 210 w 404"/>
              <a:gd name="T43" fmla="*/ 168 h 236"/>
              <a:gd name="T44" fmla="*/ 222 w 404"/>
              <a:gd name="T45" fmla="*/ 166 h 236"/>
              <a:gd name="T46" fmla="*/ 340 w 404"/>
              <a:gd name="T47" fmla="*/ 198 h 236"/>
              <a:gd name="T48" fmla="*/ 316 w 404"/>
              <a:gd name="T49" fmla="*/ 182 h 236"/>
              <a:gd name="T50" fmla="*/ 322 w 404"/>
              <a:gd name="T51" fmla="*/ 152 h 236"/>
              <a:gd name="T52" fmla="*/ 352 w 404"/>
              <a:gd name="T53" fmla="*/ 146 h 236"/>
              <a:gd name="T54" fmla="*/ 368 w 404"/>
              <a:gd name="T55" fmla="*/ 172 h 236"/>
              <a:gd name="T56" fmla="*/ 358 w 404"/>
              <a:gd name="T57" fmla="*/ 176 h 236"/>
              <a:gd name="T58" fmla="*/ 346 w 404"/>
              <a:gd name="T59" fmla="*/ 178 h 236"/>
              <a:gd name="T60" fmla="*/ 346 w 404"/>
              <a:gd name="T61" fmla="*/ 192 h 236"/>
              <a:gd name="T62" fmla="*/ 282 w 404"/>
              <a:gd name="T63" fmla="*/ 236 h 236"/>
              <a:gd name="T64" fmla="*/ 272 w 404"/>
              <a:gd name="T65" fmla="*/ 226 h 236"/>
              <a:gd name="T66" fmla="*/ 278 w 404"/>
              <a:gd name="T67" fmla="*/ 216 h 236"/>
              <a:gd name="T68" fmla="*/ 350 w 404"/>
              <a:gd name="T69" fmla="*/ 214 h 236"/>
              <a:gd name="T70" fmla="*/ 378 w 404"/>
              <a:gd name="T71" fmla="*/ 196 h 236"/>
              <a:gd name="T72" fmla="*/ 384 w 404"/>
              <a:gd name="T73" fmla="*/ 172 h 236"/>
              <a:gd name="T74" fmla="*/ 372 w 404"/>
              <a:gd name="T75" fmla="*/ 140 h 236"/>
              <a:gd name="T76" fmla="*/ 340 w 404"/>
              <a:gd name="T77" fmla="*/ 128 h 236"/>
              <a:gd name="T78" fmla="*/ 150 w 404"/>
              <a:gd name="T79" fmla="*/ 124 h 236"/>
              <a:gd name="T80" fmla="*/ 148 w 404"/>
              <a:gd name="T81" fmla="*/ 114 h 236"/>
              <a:gd name="T82" fmla="*/ 340 w 404"/>
              <a:gd name="T83" fmla="*/ 108 h 236"/>
              <a:gd name="T84" fmla="*/ 376 w 404"/>
              <a:gd name="T85" fmla="*/ 118 h 236"/>
              <a:gd name="T86" fmla="*/ 404 w 404"/>
              <a:gd name="T87" fmla="*/ 158 h 236"/>
              <a:gd name="T88" fmla="*/ 400 w 404"/>
              <a:gd name="T89" fmla="*/ 196 h 236"/>
              <a:gd name="T90" fmla="*/ 366 w 404"/>
              <a:gd name="T91" fmla="*/ 230 h 236"/>
              <a:gd name="T92" fmla="*/ 246 w 404"/>
              <a:gd name="T93" fmla="*/ 236 h 236"/>
              <a:gd name="T94" fmla="*/ 38 w 404"/>
              <a:gd name="T95" fmla="*/ 230 h 236"/>
              <a:gd name="T96" fmla="*/ 4 w 404"/>
              <a:gd name="T97" fmla="*/ 196 h 236"/>
              <a:gd name="T98" fmla="*/ 0 w 404"/>
              <a:gd name="T99" fmla="*/ 158 h 236"/>
              <a:gd name="T100" fmla="*/ 28 w 404"/>
              <a:gd name="T101" fmla="*/ 118 h 236"/>
              <a:gd name="T102" fmla="*/ 122 w 404"/>
              <a:gd name="T103" fmla="*/ 108 h 236"/>
              <a:gd name="T104" fmla="*/ 130 w 404"/>
              <a:gd name="T105" fmla="*/ 114 h 236"/>
              <a:gd name="T106" fmla="*/ 128 w 404"/>
              <a:gd name="T107" fmla="*/ 124 h 236"/>
              <a:gd name="T108" fmla="*/ 64 w 404"/>
              <a:gd name="T109" fmla="*/ 128 h 236"/>
              <a:gd name="T110" fmla="*/ 32 w 404"/>
              <a:gd name="T111" fmla="*/ 140 h 236"/>
              <a:gd name="T112" fmla="*/ 20 w 404"/>
              <a:gd name="T113" fmla="*/ 172 h 236"/>
              <a:gd name="T114" fmla="*/ 26 w 404"/>
              <a:gd name="T115" fmla="*/ 196 h 236"/>
              <a:gd name="T116" fmla="*/ 54 w 404"/>
              <a:gd name="T117" fmla="*/ 214 h 236"/>
              <a:gd name="T118" fmla="*/ 250 w 404"/>
              <a:gd name="T119" fmla="*/ 216 h 236"/>
              <a:gd name="T120" fmla="*/ 256 w 404"/>
              <a:gd name="T121" fmla="*/ 226 h 236"/>
              <a:gd name="T122" fmla="*/ 246 w 404"/>
              <a:gd name="T123" fmla="*/ 236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04" h="236">
                <a:moveTo>
                  <a:pt x="160" y="86"/>
                </a:moveTo>
                <a:lnTo>
                  <a:pt x="246" y="86"/>
                </a:lnTo>
                <a:lnTo>
                  <a:pt x="246" y="0"/>
                </a:lnTo>
                <a:lnTo>
                  <a:pt x="160" y="0"/>
                </a:lnTo>
                <a:lnTo>
                  <a:pt x="160" y="86"/>
                </a:lnTo>
                <a:close/>
                <a:moveTo>
                  <a:pt x="180" y="20"/>
                </a:moveTo>
                <a:lnTo>
                  <a:pt x="226" y="20"/>
                </a:lnTo>
                <a:lnTo>
                  <a:pt x="226" y="66"/>
                </a:lnTo>
                <a:lnTo>
                  <a:pt x="180" y="66"/>
                </a:lnTo>
                <a:lnTo>
                  <a:pt x="180" y="20"/>
                </a:lnTo>
                <a:close/>
                <a:moveTo>
                  <a:pt x="38" y="86"/>
                </a:moveTo>
                <a:lnTo>
                  <a:pt x="124" y="86"/>
                </a:lnTo>
                <a:lnTo>
                  <a:pt x="124" y="0"/>
                </a:lnTo>
                <a:lnTo>
                  <a:pt x="38" y="0"/>
                </a:lnTo>
                <a:lnTo>
                  <a:pt x="38" y="86"/>
                </a:lnTo>
                <a:close/>
                <a:moveTo>
                  <a:pt x="58" y="20"/>
                </a:moveTo>
                <a:lnTo>
                  <a:pt x="104" y="20"/>
                </a:lnTo>
                <a:lnTo>
                  <a:pt x="104" y="66"/>
                </a:lnTo>
                <a:lnTo>
                  <a:pt x="58" y="66"/>
                </a:lnTo>
                <a:lnTo>
                  <a:pt x="58" y="20"/>
                </a:lnTo>
                <a:close/>
                <a:moveTo>
                  <a:pt x="368" y="0"/>
                </a:moveTo>
                <a:lnTo>
                  <a:pt x="368" y="86"/>
                </a:lnTo>
                <a:lnTo>
                  <a:pt x="282" y="86"/>
                </a:lnTo>
                <a:lnTo>
                  <a:pt x="282" y="0"/>
                </a:lnTo>
                <a:lnTo>
                  <a:pt x="368" y="0"/>
                </a:lnTo>
                <a:close/>
                <a:moveTo>
                  <a:pt x="82" y="190"/>
                </a:moveTo>
                <a:lnTo>
                  <a:pt x="82" y="190"/>
                </a:lnTo>
                <a:lnTo>
                  <a:pt x="74" y="196"/>
                </a:lnTo>
                <a:lnTo>
                  <a:pt x="64" y="198"/>
                </a:lnTo>
                <a:lnTo>
                  <a:pt x="54" y="196"/>
                </a:lnTo>
                <a:lnTo>
                  <a:pt x="44" y="190"/>
                </a:lnTo>
                <a:lnTo>
                  <a:pt x="44" y="190"/>
                </a:lnTo>
                <a:lnTo>
                  <a:pt x="40" y="184"/>
                </a:lnTo>
                <a:lnTo>
                  <a:pt x="36" y="176"/>
                </a:lnTo>
                <a:lnTo>
                  <a:pt x="36" y="168"/>
                </a:lnTo>
                <a:lnTo>
                  <a:pt x="38" y="162"/>
                </a:lnTo>
                <a:lnTo>
                  <a:pt x="44" y="166"/>
                </a:lnTo>
                <a:lnTo>
                  <a:pt x="44" y="166"/>
                </a:lnTo>
                <a:lnTo>
                  <a:pt x="46" y="168"/>
                </a:lnTo>
                <a:lnTo>
                  <a:pt x="50" y="170"/>
                </a:lnTo>
                <a:lnTo>
                  <a:pt x="50" y="170"/>
                </a:lnTo>
                <a:lnTo>
                  <a:pt x="54" y="168"/>
                </a:lnTo>
                <a:lnTo>
                  <a:pt x="58" y="166"/>
                </a:lnTo>
                <a:lnTo>
                  <a:pt x="58" y="166"/>
                </a:lnTo>
                <a:lnTo>
                  <a:pt x="60" y="162"/>
                </a:lnTo>
                <a:lnTo>
                  <a:pt x="60" y="160"/>
                </a:lnTo>
                <a:lnTo>
                  <a:pt x="60" y="156"/>
                </a:lnTo>
                <a:lnTo>
                  <a:pt x="58" y="152"/>
                </a:lnTo>
                <a:lnTo>
                  <a:pt x="52" y="148"/>
                </a:lnTo>
                <a:lnTo>
                  <a:pt x="52" y="148"/>
                </a:lnTo>
                <a:lnTo>
                  <a:pt x="60" y="144"/>
                </a:lnTo>
                <a:lnTo>
                  <a:pt x="68" y="146"/>
                </a:lnTo>
                <a:lnTo>
                  <a:pt x="76" y="148"/>
                </a:lnTo>
                <a:lnTo>
                  <a:pt x="82" y="152"/>
                </a:lnTo>
                <a:lnTo>
                  <a:pt x="82" y="152"/>
                </a:lnTo>
                <a:lnTo>
                  <a:pt x="88" y="162"/>
                </a:lnTo>
                <a:lnTo>
                  <a:pt x="90" y="172"/>
                </a:lnTo>
                <a:lnTo>
                  <a:pt x="88" y="182"/>
                </a:lnTo>
                <a:lnTo>
                  <a:pt x="82" y="190"/>
                </a:lnTo>
                <a:lnTo>
                  <a:pt x="82" y="190"/>
                </a:lnTo>
                <a:close/>
                <a:moveTo>
                  <a:pt x="226" y="162"/>
                </a:moveTo>
                <a:lnTo>
                  <a:pt x="226" y="162"/>
                </a:lnTo>
                <a:lnTo>
                  <a:pt x="230" y="172"/>
                </a:lnTo>
                <a:lnTo>
                  <a:pt x="230" y="172"/>
                </a:lnTo>
                <a:lnTo>
                  <a:pt x="226" y="182"/>
                </a:lnTo>
                <a:lnTo>
                  <a:pt x="222" y="190"/>
                </a:lnTo>
                <a:lnTo>
                  <a:pt x="212" y="196"/>
                </a:lnTo>
                <a:lnTo>
                  <a:pt x="202" y="198"/>
                </a:lnTo>
                <a:lnTo>
                  <a:pt x="202" y="198"/>
                </a:lnTo>
                <a:lnTo>
                  <a:pt x="192" y="196"/>
                </a:lnTo>
                <a:lnTo>
                  <a:pt x="182" y="190"/>
                </a:lnTo>
                <a:lnTo>
                  <a:pt x="178" y="182"/>
                </a:lnTo>
                <a:lnTo>
                  <a:pt x="176" y="172"/>
                </a:lnTo>
                <a:lnTo>
                  <a:pt x="176" y="172"/>
                </a:lnTo>
                <a:lnTo>
                  <a:pt x="178" y="162"/>
                </a:lnTo>
                <a:lnTo>
                  <a:pt x="182" y="152"/>
                </a:lnTo>
                <a:lnTo>
                  <a:pt x="192" y="146"/>
                </a:lnTo>
                <a:lnTo>
                  <a:pt x="202" y="144"/>
                </a:lnTo>
                <a:lnTo>
                  <a:pt x="202" y="144"/>
                </a:lnTo>
                <a:lnTo>
                  <a:pt x="212" y="146"/>
                </a:lnTo>
                <a:lnTo>
                  <a:pt x="208" y="152"/>
                </a:lnTo>
                <a:lnTo>
                  <a:pt x="208" y="152"/>
                </a:lnTo>
                <a:lnTo>
                  <a:pt x="206" y="156"/>
                </a:lnTo>
                <a:lnTo>
                  <a:pt x="204" y="160"/>
                </a:lnTo>
                <a:lnTo>
                  <a:pt x="206" y="162"/>
                </a:lnTo>
                <a:lnTo>
                  <a:pt x="208" y="166"/>
                </a:lnTo>
                <a:lnTo>
                  <a:pt x="208" y="166"/>
                </a:lnTo>
                <a:lnTo>
                  <a:pt x="210" y="168"/>
                </a:lnTo>
                <a:lnTo>
                  <a:pt x="214" y="170"/>
                </a:lnTo>
                <a:lnTo>
                  <a:pt x="214" y="170"/>
                </a:lnTo>
                <a:lnTo>
                  <a:pt x="218" y="168"/>
                </a:lnTo>
                <a:lnTo>
                  <a:pt x="222" y="166"/>
                </a:lnTo>
                <a:lnTo>
                  <a:pt x="226" y="162"/>
                </a:lnTo>
                <a:close/>
                <a:moveTo>
                  <a:pt x="352" y="196"/>
                </a:moveTo>
                <a:lnTo>
                  <a:pt x="352" y="196"/>
                </a:lnTo>
                <a:lnTo>
                  <a:pt x="340" y="198"/>
                </a:lnTo>
                <a:lnTo>
                  <a:pt x="340" y="198"/>
                </a:lnTo>
                <a:lnTo>
                  <a:pt x="330" y="196"/>
                </a:lnTo>
                <a:lnTo>
                  <a:pt x="322" y="190"/>
                </a:lnTo>
                <a:lnTo>
                  <a:pt x="316" y="182"/>
                </a:lnTo>
                <a:lnTo>
                  <a:pt x="314" y="172"/>
                </a:lnTo>
                <a:lnTo>
                  <a:pt x="314" y="172"/>
                </a:lnTo>
                <a:lnTo>
                  <a:pt x="316" y="162"/>
                </a:lnTo>
                <a:lnTo>
                  <a:pt x="322" y="152"/>
                </a:lnTo>
                <a:lnTo>
                  <a:pt x="330" y="146"/>
                </a:lnTo>
                <a:lnTo>
                  <a:pt x="340" y="144"/>
                </a:lnTo>
                <a:lnTo>
                  <a:pt x="340" y="144"/>
                </a:lnTo>
                <a:lnTo>
                  <a:pt x="352" y="146"/>
                </a:lnTo>
                <a:lnTo>
                  <a:pt x="360" y="152"/>
                </a:lnTo>
                <a:lnTo>
                  <a:pt x="366" y="162"/>
                </a:lnTo>
                <a:lnTo>
                  <a:pt x="368" y="172"/>
                </a:lnTo>
                <a:lnTo>
                  <a:pt x="368" y="172"/>
                </a:lnTo>
                <a:lnTo>
                  <a:pt x="366" y="182"/>
                </a:lnTo>
                <a:lnTo>
                  <a:pt x="360" y="178"/>
                </a:lnTo>
                <a:lnTo>
                  <a:pt x="360" y="178"/>
                </a:lnTo>
                <a:lnTo>
                  <a:pt x="358" y="176"/>
                </a:lnTo>
                <a:lnTo>
                  <a:pt x="354" y="174"/>
                </a:lnTo>
                <a:lnTo>
                  <a:pt x="350" y="176"/>
                </a:lnTo>
                <a:lnTo>
                  <a:pt x="346" y="178"/>
                </a:lnTo>
                <a:lnTo>
                  <a:pt x="346" y="178"/>
                </a:lnTo>
                <a:lnTo>
                  <a:pt x="344" y="180"/>
                </a:lnTo>
                <a:lnTo>
                  <a:pt x="344" y="184"/>
                </a:lnTo>
                <a:lnTo>
                  <a:pt x="344" y="188"/>
                </a:lnTo>
                <a:lnTo>
                  <a:pt x="346" y="192"/>
                </a:lnTo>
                <a:lnTo>
                  <a:pt x="352" y="196"/>
                </a:lnTo>
                <a:close/>
                <a:moveTo>
                  <a:pt x="340" y="236"/>
                </a:moveTo>
                <a:lnTo>
                  <a:pt x="282" y="236"/>
                </a:lnTo>
                <a:lnTo>
                  <a:pt x="282" y="236"/>
                </a:lnTo>
                <a:lnTo>
                  <a:pt x="278" y="236"/>
                </a:lnTo>
                <a:lnTo>
                  <a:pt x="276" y="232"/>
                </a:lnTo>
                <a:lnTo>
                  <a:pt x="274" y="230"/>
                </a:lnTo>
                <a:lnTo>
                  <a:pt x="272" y="226"/>
                </a:lnTo>
                <a:lnTo>
                  <a:pt x="272" y="226"/>
                </a:lnTo>
                <a:lnTo>
                  <a:pt x="274" y="222"/>
                </a:lnTo>
                <a:lnTo>
                  <a:pt x="276" y="218"/>
                </a:lnTo>
                <a:lnTo>
                  <a:pt x="278" y="216"/>
                </a:lnTo>
                <a:lnTo>
                  <a:pt x="282" y="216"/>
                </a:lnTo>
                <a:lnTo>
                  <a:pt x="340" y="216"/>
                </a:lnTo>
                <a:lnTo>
                  <a:pt x="340" y="216"/>
                </a:lnTo>
                <a:lnTo>
                  <a:pt x="350" y="214"/>
                </a:lnTo>
                <a:lnTo>
                  <a:pt x="358" y="212"/>
                </a:lnTo>
                <a:lnTo>
                  <a:pt x="366" y="208"/>
                </a:lnTo>
                <a:lnTo>
                  <a:pt x="372" y="202"/>
                </a:lnTo>
                <a:lnTo>
                  <a:pt x="378" y="196"/>
                </a:lnTo>
                <a:lnTo>
                  <a:pt x="382" y="188"/>
                </a:lnTo>
                <a:lnTo>
                  <a:pt x="384" y="180"/>
                </a:lnTo>
                <a:lnTo>
                  <a:pt x="384" y="172"/>
                </a:lnTo>
                <a:lnTo>
                  <a:pt x="384" y="172"/>
                </a:lnTo>
                <a:lnTo>
                  <a:pt x="384" y="162"/>
                </a:lnTo>
                <a:lnTo>
                  <a:pt x="382" y="154"/>
                </a:lnTo>
                <a:lnTo>
                  <a:pt x="378" y="148"/>
                </a:lnTo>
                <a:lnTo>
                  <a:pt x="372" y="140"/>
                </a:lnTo>
                <a:lnTo>
                  <a:pt x="366" y="136"/>
                </a:lnTo>
                <a:lnTo>
                  <a:pt x="358" y="132"/>
                </a:lnTo>
                <a:lnTo>
                  <a:pt x="350" y="128"/>
                </a:lnTo>
                <a:lnTo>
                  <a:pt x="340" y="128"/>
                </a:lnTo>
                <a:lnTo>
                  <a:pt x="158" y="128"/>
                </a:lnTo>
                <a:lnTo>
                  <a:pt x="158" y="128"/>
                </a:lnTo>
                <a:lnTo>
                  <a:pt x="154" y="128"/>
                </a:lnTo>
                <a:lnTo>
                  <a:pt x="150" y="124"/>
                </a:lnTo>
                <a:lnTo>
                  <a:pt x="148" y="122"/>
                </a:lnTo>
                <a:lnTo>
                  <a:pt x="148" y="118"/>
                </a:lnTo>
                <a:lnTo>
                  <a:pt x="148" y="118"/>
                </a:lnTo>
                <a:lnTo>
                  <a:pt x="148" y="114"/>
                </a:lnTo>
                <a:lnTo>
                  <a:pt x="150" y="110"/>
                </a:lnTo>
                <a:lnTo>
                  <a:pt x="154" y="108"/>
                </a:lnTo>
                <a:lnTo>
                  <a:pt x="158" y="108"/>
                </a:lnTo>
                <a:lnTo>
                  <a:pt x="340" y="108"/>
                </a:lnTo>
                <a:lnTo>
                  <a:pt x="340" y="108"/>
                </a:lnTo>
                <a:lnTo>
                  <a:pt x="354" y="110"/>
                </a:lnTo>
                <a:lnTo>
                  <a:pt x="366" y="112"/>
                </a:lnTo>
                <a:lnTo>
                  <a:pt x="376" y="118"/>
                </a:lnTo>
                <a:lnTo>
                  <a:pt x="386" y="126"/>
                </a:lnTo>
                <a:lnTo>
                  <a:pt x="394" y="136"/>
                </a:lnTo>
                <a:lnTo>
                  <a:pt x="400" y="146"/>
                </a:lnTo>
                <a:lnTo>
                  <a:pt x="404" y="158"/>
                </a:lnTo>
                <a:lnTo>
                  <a:pt x="404" y="172"/>
                </a:lnTo>
                <a:lnTo>
                  <a:pt x="404" y="172"/>
                </a:lnTo>
                <a:lnTo>
                  <a:pt x="404" y="184"/>
                </a:lnTo>
                <a:lnTo>
                  <a:pt x="400" y="196"/>
                </a:lnTo>
                <a:lnTo>
                  <a:pt x="394" y="208"/>
                </a:lnTo>
                <a:lnTo>
                  <a:pt x="386" y="218"/>
                </a:lnTo>
                <a:lnTo>
                  <a:pt x="376" y="224"/>
                </a:lnTo>
                <a:lnTo>
                  <a:pt x="366" y="230"/>
                </a:lnTo>
                <a:lnTo>
                  <a:pt x="354" y="234"/>
                </a:lnTo>
                <a:lnTo>
                  <a:pt x="340" y="236"/>
                </a:lnTo>
                <a:lnTo>
                  <a:pt x="340" y="236"/>
                </a:lnTo>
                <a:close/>
                <a:moveTo>
                  <a:pt x="246" y="236"/>
                </a:moveTo>
                <a:lnTo>
                  <a:pt x="64" y="236"/>
                </a:lnTo>
                <a:lnTo>
                  <a:pt x="64" y="236"/>
                </a:lnTo>
                <a:lnTo>
                  <a:pt x="50" y="234"/>
                </a:lnTo>
                <a:lnTo>
                  <a:pt x="38" y="230"/>
                </a:lnTo>
                <a:lnTo>
                  <a:pt x="28" y="224"/>
                </a:lnTo>
                <a:lnTo>
                  <a:pt x="18" y="218"/>
                </a:lnTo>
                <a:lnTo>
                  <a:pt x="10" y="208"/>
                </a:lnTo>
                <a:lnTo>
                  <a:pt x="4" y="196"/>
                </a:lnTo>
                <a:lnTo>
                  <a:pt x="0" y="184"/>
                </a:lnTo>
                <a:lnTo>
                  <a:pt x="0" y="172"/>
                </a:lnTo>
                <a:lnTo>
                  <a:pt x="0" y="172"/>
                </a:lnTo>
                <a:lnTo>
                  <a:pt x="0" y="158"/>
                </a:lnTo>
                <a:lnTo>
                  <a:pt x="4" y="146"/>
                </a:lnTo>
                <a:lnTo>
                  <a:pt x="10" y="136"/>
                </a:lnTo>
                <a:lnTo>
                  <a:pt x="18" y="126"/>
                </a:lnTo>
                <a:lnTo>
                  <a:pt x="28" y="118"/>
                </a:lnTo>
                <a:lnTo>
                  <a:pt x="38" y="112"/>
                </a:lnTo>
                <a:lnTo>
                  <a:pt x="50" y="110"/>
                </a:lnTo>
                <a:lnTo>
                  <a:pt x="64" y="108"/>
                </a:lnTo>
                <a:lnTo>
                  <a:pt x="122" y="108"/>
                </a:lnTo>
                <a:lnTo>
                  <a:pt x="122" y="108"/>
                </a:lnTo>
                <a:lnTo>
                  <a:pt x="126" y="108"/>
                </a:lnTo>
                <a:lnTo>
                  <a:pt x="128" y="110"/>
                </a:lnTo>
                <a:lnTo>
                  <a:pt x="130" y="114"/>
                </a:lnTo>
                <a:lnTo>
                  <a:pt x="132" y="118"/>
                </a:lnTo>
                <a:lnTo>
                  <a:pt x="132" y="118"/>
                </a:lnTo>
                <a:lnTo>
                  <a:pt x="130" y="122"/>
                </a:lnTo>
                <a:lnTo>
                  <a:pt x="128" y="124"/>
                </a:lnTo>
                <a:lnTo>
                  <a:pt x="126" y="128"/>
                </a:lnTo>
                <a:lnTo>
                  <a:pt x="122" y="128"/>
                </a:lnTo>
                <a:lnTo>
                  <a:pt x="64" y="128"/>
                </a:lnTo>
                <a:lnTo>
                  <a:pt x="64" y="128"/>
                </a:lnTo>
                <a:lnTo>
                  <a:pt x="54" y="128"/>
                </a:lnTo>
                <a:lnTo>
                  <a:pt x="46" y="132"/>
                </a:lnTo>
                <a:lnTo>
                  <a:pt x="38" y="136"/>
                </a:lnTo>
                <a:lnTo>
                  <a:pt x="32" y="140"/>
                </a:lnTo>
                <a:lnTo>
                  <a:pt x="26" y="148"/>
                </a:lnTo>
                <a:lnTo>
                  <a:pt x="22" y="154"/>
                </a:lnTo>
                <a:lnTo>
                  <a:pt x="20" y="162"/>
                </a:lnTo>
                <a:lnTo>
                  <a:pt x="20" y="172"/>
                </a:lnTo>
                <a:lnTo>
                  <a:pt x="20" y="172"/>
                </a:lnTo>
                <a:lnTo>
                  <a:pt x="20" y="180"/>
                </a:lnTo>
                <a:lnTo>
                  <a:pt x="22" y="188"/>
                </a:lnTo>
                <a:lnTo>
                  <a:pt x="26" y="196"/>
                </a:lnTo>
                <a:lnTo>
                  <a:pt x="32" y="202"/>
                </a:lnTo>
                <a:lnTo>
                  <a:pt x="38" y="208"/>
                </a:lnTo>
                <a:lnTo>
                  <a:pt x="46" y="212"/>
                </a:lnTo>
                <a:lnTo>
                  <a:pt x="54" y="214"/>
                </a:lnTo>
                <a:lnTo>
                  <a:pt x="64" y="216"/>
                </a:lnTo>
                <a:lnTo>
                  <a:pt x="246" y="216"/>
                </a:lnTo>
                <a:lnTo>
                  <a:pt x="246" y="216"/>
                </a:lnTo>
                <a:lnTo>
                  <a:pt x="250" y="216"/>
                </a:lnTo>
                <a:lnTo>
                  <a:pt x="254" y="218"/>
                </a:lnTo>
                <a:lnTo>
                  <a:pt x="256" y="222"/>
                </a:lnTo>
                <a:lnTo>
                  <a:pt x="256" y="226"/>
                </a:lnTo>
                <a:lnTo>
                  <a:pt x="256" y="226"/>
                </a:lnTo>
                <a:lnTo>
                  <a:pt x="256" y="230"/>
                </a:lnTo>
                <a:lnTo>
                  <a:pt x="254" y="232"/>
                </a:lnTo>
                <a:lnTo>
                  <a:pt x="250" y="236"/>
                </a:lnTo>
                <a:lnTo>
                  <a:pt x="246" y="236"/>
                </a:lnTo>
                <a:lnTo>
                  <a:pt x="246" y="236"/>
                </a:lnTo>
                <a:close/>
              </a:path>
            </a:pathLst>
          </a:custGeom>
          <a:solidFill>
            <a:schemeClr val="bg2"/>
          </a:solidFill>
          <a:ln w="6350">
            <a:noFill/>
            <a:round/>
            <a:headEnd/>
            <a:tailEnd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Freeform 4817"/>
          <p:cNvSpPr>
            <a:spLocks noEditPoints="1"/>
          </p:cNvSpPr>
          <p:nvPr/>
        </p:nvSpPr>
        <p:spPr bwMode="auto">
          <a:xfrm>
            <a:off x="7582279" y="11195491"/>
            <a:ext cx="364254" cy="404610"/>
          </a:xfrm>
          <a:custGeom>
            <a:avLst/>
            <a:gdLst>
              <a:gd name="T0" fmla="*/ 322 w 358"/>
              <a:gd name="T1" fmla="*/ 152 h 348"/>
              <a:gd name="T2" fmla="*/ 318 w 358"/>
              <a:gd name="T3" fmla="*/ 158 h 348"/>
              <a:gd name="T4" fmla="*/ 306 w 358"/>
              <a:gd name="T5" fmla="*/ 162 h 348"/>
              <a:gd name="T6" fmla="*/ 300 w 358"/>
              <a:gd name="T7" fmla="*/ 152 h 348"/>
              <a:gd name="T8" fmla="*/ 306 w 358"/>
              <a:gd name="T9" fmla="*/ 142 h 348"/>
              <a:gd name="T10" fmla="*/ 318 w 358"/>
              <a:gd name="T11" fmla="*/ 144 h 348"/>
              <a:gd name="T12" fmla="*/ 356 w 358"/>
              <a:gd name="T13" fmla="*/ 160 h 348"/>
              <a:gd name="T14" fmla="*/ 336 w 358"/>
              <a:gd name="T15" fmla="*/ 190 h 348"/>
              <a:gd name="T16" fmla="*/ 312 w 358"/>
              <a:gd name="T17" fmla="*/ 198 h 348"/>
              <a:gd name="T18" fmla="*/ 278 w 358"/>
              <a:gd name="T19" fmla="*/ 184 h 348"/>
              <a:gd name="T20" fmla="*/ 264 w 358"/>
              <a:gd name="T21" fmla="*/ 152 h 348"/>
              <a:gd name="T22" fmla="*/ 282 w 358"/>
              <a:gd name="T23" fmla="*/ 116 h 348"/>
              <a:gd name="T24" fmla="*/ 288 w 358"/>
              <a:gd name="T25" fmla="*/ 106 h 348"/>
              <a:gd name="T26" fmla="*/ 258 w 358"/>
              <a:gd name="T27" fmla="*/ 104 h 348"/>
              <a:gd name="T28" fmla="*/ 242 w 358"/>
              <a:gd name="T29" fmla="*/ 134 h 348"/>
              <a:gd name="T30" fmla="*/ 258 w 358"/>
              <a:gd name="T31" fmla="*/ 264 h 348"/>
              <a:gd name="T32" fmla="*/ 238 w 358"/>
              <a:gd name="T33" fmla="*/ 320 h 348"/>
              <a:gd name="T34" fmla="*/ 174 w 358"/>
              <a:gd name="T35" fmla="*/ 348 h 348"/>
              <a:gd name="T36" fmla="*/ 126 w 358"/>
              <a:gd name="T37" fmla="*/ 332 h 348"/>
              <a:gd name="T38" fmla="*/ 94 w 358"/>
              <a:gd name="T39" fmla="*/ 294 h 348"/>
              <a:gd name="T40" fmla="*/ 88 w 358"/>
              <a:gd name="T41" fmla="*/ 228 h 348"/>
              <a:gd name="T42" fmla="*/ 26 w 358"/>
              <a:gd name="T43" fmla="*/ 196 h 348"/>
              <a:gd name="T44" fmla="*/ 0 w 358"/>
              <a:gd name="T45" fmla="*/ 130 h 348"/>
              <a:gd name="T46" fmla="*/ 4 w 358"/>
              <a:gd name="T47" fmla="*/ 12 h 348"/>
              <a:gd name="T48" fmla="*/ 48 w 358"/>
              <a:gd name="T49" fmla="*/ 0 h 348"/>
              <a:gd name="T50" fmla="*/ 78 w 358"/>
              <a:gd name="T51" fmla="*/ 6 h 348"/>
              <a:gd name="T52" fmla="*/ 82 w 358"/>
              <a:gd name="T53" fmla="*/ 32 h 348"/>
              <a:gd name="T54" fmla="*/ 48 w 358"/>
              <a:gd name="T55" fmla="*/ 46 h 348"/>
              <a:gd name="T56" fmla="*/ 28 w 358"/>
              <a:gd name="T57" fmla="*/ 130 h 348"/>
              <a:gd name="T58" fmla="*/ 48 w 358"/>
              <a:gd name="T59" fmla="*/ 180 h 348"/>
              <a:gd name="T60" fmla="*/ 98 w 358"/>
              <a:gd name="T61" fmla="*/ 200 h 348"/>
              <a:gd name="T62" fmla="*/ 138 w 358"/>
              <a:gd name="T63" fmla="*/ 188 h 348"/>
              <a:gd name="T64" fmla="*/ 164 w 358"/>
              <a:gd name="T65" fmla="*/ 156 h 348"/>
              <a:gd name="T66" fmla="*/ 168 w 358"/>
              <a:gd name="T67" fmla="*/ 130 h 348"/>
              <a:gd name="T68" fmla="*/ 136 w 358"/>
              <a:gd name="T69" fmla="*/ 46 h 348"/>
              <a:gd name="T70" fmla="*/ 114 w 358"/>
              <a:gd name="T71" fmla="*/ 32 h 348"/>
              <a:gd name="T72" fmla="*/ 120 w 358"/>
              <a:gd name="T73" fmla="*/ 6 h 348"/>
              <a:gd name="T74" fmla="*/ 148 w 358"/>
              <a:gd name="T75" fmla="*/ 8 h 348"/>
              <a:gd name="T76" fmla="*/ 192 w 358"/>
              <a:gd name="T77" fmla="*/ 12 h 348"/>
              <a:gd name="T78" fmla="*/ 196 w 358"/>
              <a:gd name="T79" fmla="*/ 130 h 348"/>
              <a:gd name="T80" fmla="*/ 190 w 358"/>
              <a:gd name="T81" fmla="*/ 166 h 348"/>
              <a:gd name="T82" fmla="*/ 156 w 358"/>
              <a:gd name="T83" fmla="*/ 210 h 348"/>
              <a:gd name="T84" fmla="*/ 108 w 358"/>
              <a:gd name="T85" fmla="*/ 262 h 348"/>
              <a:gd name="T86" fmla="*/ 114 w 358"/>
              <a:gd name="T87" fmla="*/ 286 h 348"/>
              <a:gd name="T88" fmla="*/ 138 w 358"/>
              <a:gd name="T89" fmla="*/ 316 h 348"/>
              <a:gd name="T90" fmla="*/ 174 w 358"/>
              <a:gd name="T91" fmla="*/ 328 h 348"/>
              <a:gd name="T92" fmla="*/ 224 w 358"/>
              <a:gd name="T93" fmla="*/ 306 h 348"/>
              <a:gd name="T94" fmla="*/ 238 w 358"/>
              <a:gd name="T95" fmla="*/ 262 h 348"/>
              <a:gd name="T96" fmla="*/ 222 w 358"/>
              <a:gd name="T97" fmla="*/ 134 h 348"/>
              <a:gd name="T98" fmla="*/ 236 w 358"/>
              <a:gd name="T99" fmla="*/ 94 h 348"/>
              <a:gd name="T100" fmla="*/ 264 w 358"/>
              <a:gd name="T101" fmla="*/ 80 h 348"/>
              <a:gd name="T102" fmla="*/ 300 w 358"/>
              <a:gd name="T103" fmla="*/ 90 h 348"/>
              <a:gd name="T104" fmla="*/ 314 w 358"/>
              <a:gd name="T105" fmla="*/ 106 h 348"/>
              <a:gd name="T106" fmla="*/ 344 w 358"/>
              <a:gd name="T107" fmla="*/ 120 h 348"/>
              <a:gd name="T108" fmla="*/ 358 w 358"/>
              <a:gd name="T109" fmla="*/ 152 h 348"/>
              <a:gd name="T110" fmla="*/ 336 w 358"/>
              <a:gd name="T111" fmla="*/ 142 h 348"/>
              <a:gd name="T112" fmla="*/ 312 w 358"/>
              <a:gd name="T113" fmla="*/ 124 h 348"/>
              <a:gd name="T114" fmla="*/ 286 w 358"/>
              <a:gd name="T115" fmla="*/ 140 h 348"/>
              <a:gd name="T116" fmla="*/ 292 w 358"/>
              <a:gd name="T117" fmla="*/ 170 h 348"/>
              <a:gd name="T118" fmla="*/ 322 w 358"/>
              <a:gd name="T119" fmla="*/ 176 h 348"/>
              <a:gd name="T120" fmla="*/ 338 w 358"/>
              <a:gd name="T121" fmla="*/ 152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48">
                <a:moveTo>
                  <a:pt x="318" y="144"/>
                </a:moveTo>
                <a:lnTo>
                  <a:pt x="318" y="144"/>
                </a:lnTo>
                <a:lnTo>
                  <a:pt x="322" y="148"/>
                </a:lnTo>
                <a:lnTo>
                  <a:pt x="322" y="152"/>
                </a:lnTo>
                <a:lnTo>
                  <a:pt x="322" y="152"/>
                </a:lnTo>
                <a:lnTo>
                  <a:pt x="322" y="156"/>
                </a:lnTo>
                <a:lnTo>
                  <a:pt x="318" y="158"/>
                </a:lnTo>
                <a:lnTo>
                  <a:pt x="318" y="158"/>
                </a:lnTo>
                <a:lnTo>
                  <a:pt x="316" y="162"/>
                </a:lnTo>
                <a:lnTo>
                  <a:pt x="312" y="162"/>
                </a:lnTo>
                <a:lnTo>
                  <a:pt x="312" y="162"/>
                </a:lnTo>
                <a:lnTo>
                  <a:pt x="306" y="162"/>
                </a:lnTo>
                <a:lnTo>
                  <a:pt x="304" y="158"/>
                </a:lnTo>
                <a:lnTo>
                  <a:pt x="302" y="156"/>
                </a:lnTo>
                <a:lnTo>
                  <a:pt x="300" y="152"/>
                </a:lnTo>
                <a:lnTo>
                  <a:pt x="300" y="152"/>
                </a:lnTo>
                <a:lnTo>
                  <a:pt x="302" y="148"/>
                </a:lnTo>
                <a:lnTo>
                  <a:pt x="304" y="144"/>
                </a:lnTo>
                <a:lnTo>
                  <a:pt x="304" y="144"/>
                </a:lnTo>
                <a:lnTo>
                  <a:pt x="306" y="142"/>
                </a:lnTo>
                <a:lnTo>
                  <a:pt x="312" y="140"/>
                </a:lnTo>
                <a:lnTo>
                  <a:pt x="312" y="140"/>
                </a:lnTo>
                <a:lnTo>
                  <a:pt x="316" y="142"/>
                </a:lnTo>
                <a:lnTo>
                  <a:pt x="318" y="144"/>
                </a:lnTo>
                <a:lnTo>
                  <a:pt x="318" y="144"/>
                </a:lnTo>
                <a:close/>
                <a:moveTo>
                  <a:pt x="358" y="152"/>
                </a:moveTo>
                <a:lnTo>
                  <a:pt x="358" y="152"/>
                </a:lnTo>
                <a:lnTo>
                  <a:pt x="356" y="160"/>
                </a:lnTo>
                <a:lnTo>
                  <a:pt x="354" y="170"/>
                </a:lnTo>
                <a:lnTo>
                  <a:pt x="350" y="178"/>
                </a:lnTo>
                <a:lnTo>
                  <a:pt x="344" y="184"/>
                </a:lnTo>
                <a:lnTo>
                  <a:pt x="336" y="190"/>
                </a:lnTo>
                <a:lnTo>
                  <a:pt x="330" y="194"/>
                </a:lnTo>
                <a:lnTo>
                  <a:pt x="320" y="196"/>
                </a:lnTo>
                <a:lnTo>
                  <a:pt x="312" y="198"/>
                </a:lnTo>
                <a:lnTo>
                  <a:pt x="312" y="198"/>
                </a:lnTo>
                <a:lnTo>
                  <a:pt x="302" y="196"/>
                </a:lnTo>
                <a:lnTo>
                  <a:pt x="294" y="194"/>
                </a:lnTo>
                <a:lnTo>
                  <a:pt x="286" y="190"/>
                </a:lnTo>
                <a:lnTo>
                  <a:pt x="278" y="184"/>
                </a:lnTo>
                <a:lnTo>
                  <a:pt x="272" y="178"/>
                </a:lnTo>
                <a:lnTo>
                  <a:pt x="268" y="170"/>
                </a:lnTo>
                <a:lnTo>
                  <a:pt x="266" y="160"/>
                </a:lnTo>
                <a:lnTo>
                  <a:pt x="264" y="152"/>
                </a:lnTo>
                <a:lnTo>
                  <a:pt x="264" y="152"/>
                </a:lnTo>
                <a:lnTo>
                  <a:pt x="266" y="138"/>
                </a:lnTo>
                <a:lnTo>
                  <a:pt x="272" y="126"/>
                </a:lnTo>
                <a:lnTo>
                  <a:pt x="282" y="116"/>
                </a:lnTo>
                <a:lnTo>
                  <a:pt x="292" y="110"/>
                </a:lnTo>
                <a:lnTo>
                  <a:pt x="292" y="110"/>
                </a:lnTo>
                <a:lnTo>
                  <a:pt x="288" y="106"/>
                </a:lnTo>
                <a:lnTo>
                  <a:pt x="288" y="106"/>
                </a:lnTo>
                <a:lnTo>
                  <a:pt x="278" y="100"/>
                </a:lnTo>
                <a:lnTo>
                  <a:pt x="266" y="100"/>
                </a:lnTo>
                <a:lnTo>
                  <a:pt x="266" y="100"/>
                </a:lnTo>
                <a:lnTo>
                  <a:pt x="258" y="104"/>
                </a:lnTo>
                <a:lnTo>
                  <a:pt x="250" y="108"/>
                </a:lnTo>
                <a:lnTo>
                  <a:pt x="246" y="114"/>
                </a:lnTo>
                <a:lnTo>
                  <a:pt x="244" y="120"/>
                </a:lnTo>
                <a:lnTo>
                  <a:pt x="242" y="134"/>
                </a:lnTo>
                <a:lnTo>
                  <a:pt x="242" y="144"/>
                </a:lnTo>
                <a:lnTo>
                  <a:pt x="256" y="242"/>
                </a:lnTo>
                <a:lnTo>
                  <a:pt x="256" y="242"/>
                </a:lnTo>
                <a:lnTo>
                  <a:pt x="258" y="264"/>
                </a:lnTo>
                <a:lnTo>
                  <a:pt x="256" y="284"/>
                </a:lnTo>
                <a:lnTo>
                  <a:pt x="248" y="304"/>
                </a:lnTo>
                <a:lnTo>
                  <a:pt x="238" y="320"/>
                </a:lnTo>
                <a:lnTo>
                  <a:pt x="238" y="320"/>
                </a:lnTo>
                <a:lnTo>
                  <a:pt x="226" y="332"/>
                </a:lnTo>
                <a:lnTo>
                  <a:pt x="210" y="340"/>
                </a:lnTo>
                <a:lnTo>
                  <a:pt x="192" y="346"/>
                </a:lnTo>
                <a:lnTo>
                  <a:pt x="174" y="348"/>
                </a:lnTo>
                <a:lnTo>
                  <a:pt x="174" y="348"/>
                </a:lnTo>
                <a:lnTo>
                  <a:pt x="158" y="346"/>
                </a:lnTo>
                <a:lnTo>
                  <a:pt x="142" y="340"/>
                </a:lnTo>
                <a:lnTo>
                  <a:pt x="126" y="332"/>
                </a:lnTo>
                <a:lnTo>
                  <a:pt x="114" y="322"/>
                </a:lnTo>
                <a:lnTo>
                  <a:pt x="114" y="322"/>
                </a:lnTo>
                <a:lnTo>
                  <a:pt x="102" y="308"/>
                </a:lnTo>
                <a:lnTo>
                  <a:pt x="94" y="294"/>
                </a:lnTo>
                <a:lnTo>
                  <a:pt x="90" y="278"/>
                </a:lnTo>
                <a:lnTo>
                  <a:pt x="88" y="262"/>
                </a:lnTo>
                <a:lnTo>
                  <a:pt x="88" y="228"/>
                </a:lnTo>
                <a:lnTo>
                  <a:pt x="88" y="228"/>
                </a:lnTo>
                <a:lnTo>
                  <a:pt x="70" y="224"/>
                </a:lnTo>
                <a:lnTo>
                  <a:pt x="54" y="216"/>
                </a:lnTo>
                <a:lnTo>
                  <a:pt x="38" y="208"/>
                </a:lnTo>
                <a:lnTo>
                  <a:pt x="26" y="196"/>
                </a:lnTo>
                <a:lnTo>
                  <a:pt x="16" y="182"/>
                </a:lnTo>
                <a:lnTo>
                  <a:pt x="8" y="166"/>
                </a:lnTo>
                <a:lnTo>
                  <a:pt x="2" y="148"/>
                </a:lnTo>
                <a:lnTo>
                  <a:pt x="0" y="130"/>
                </a:lnTo>
                <a:lnTo>
                  <a:pt x="0" y="22"/>
                </a:lnTo>
                <a:lnTo>
                  <a:pt x="0" y="22"/>
                </a:lnTo>
                <a:lnTo>
                  <a:pt x="2" y="16"/>
                </a:lnTo>
                <a:lnTo>
                  <a:pt x="4" y="12"/>
                </a:lnTo>
                <a:lnTo>
                  <a:pt x="8" y="10"/>
                </a:lnTo>
                <a:lnTo>
                  <a:pt x="14" y="8"/>
                </a:lnTo>
                <a:lnTo>
                  <a:pt x="48" y="8"/>
                </a:lnTo>
                <a:lnTo>
                  <a:pt x="48" y="0"/>
                </a:lnTo>
                <a:lnTo>
                  <a:pt x="62" y="0"/>
                </a:lnTo>
                <a:lnTo>
                  <a:pt x="62" y="0"/>
                </a:lnTo>
                <a:lnTo>
                  <a:pt x="70" y="2"/>
                </a:lnTo>
                <a:lnTo>
                  <a:pt x="78" y="6"/>
                </a:lnTo>
                <a:lnTo>
                  <a:pt x="82" y="14"/>
                </a:lnTo>
                <a:lnTo>
                  <a:pt x="84" y="22"/>
                </a:lnTo>
                <a:lnTo>
                  <a:pt x="84" y="22"/>
                </a:lnTo>
                <a:lnTo>
                  <a:pt x="82" y="32"/>
                </a:lnTo>
                <a:lnTo>
                  <a:pt x="78" y="38"/>
                </a:lnTo>
                <a:lnTo>
                  <a:pt x="70" y="44"/>
                </a:lnTo>
                <a:lnTo>
                  <a:pt x="62" y="46"/>
                </a:lnTo>
                <a:lnTo>
                  <a:pt x="48" y="46"/>
                </a:lnTo>
                <a:lnTo>
                  <a:pt x="48" y="36"/>
                </a:lnTo>
                <a:lnTo>
                  <a:pt x="28" y="36"/>
                </a:lnTo>
                <a:lnTo>
                  <a:pt x="28" y="130"/>
                </a:lnTo>
                <a:lnTo>
                  <a:pt x="28" y="130"/>
                </a:lnTo>
                <a:lnTo>
                  <a:pt x="30" y="144"/>
                </a:lnTo>
                <a:lnTo>
                  <a:pt x="34" y="156"/>
                </a:lnTo>
                <a:lnTo>
                  <a:pt x="40" y="168"/>
                </a:lnTo>
                <a:lnTo>
                  <a:pt x="48" y="180"/>
                </a:lnTo>
                <a:lnTo>
                  <a:pt x="60" y="188"/>
                </a:lnTo>
                <a:lnTo>
                  <a:pt x="72" y="194"/>
                </a:lnTo>
                <a:lnTo>
                  <a:pt x="84" y="198"/>
                </a:lnTo>
                <a:lnTo>
                  <a:pt x="98" y="200"/>
                </a:lnTo>
                <a:lnTo>
                  <a:pt x="98" y="200"/>
                </a:lnTo>
                <a:lnTo>
                  <a:pt x="112" y="198"/>
                </a:lnTo>
                <a:lnTo>
                  <a:pt x="126" y="194"/>
                </a:lnTo>
                <a:lnTo>
                  <a:pt x="138" y="188"/>
                </a:lnTo>
                <a:lnTo>
                  <a:pt x="148" y="180"/>
                </a:lnTo>
                <a:lnTo>
                  <a:pt x="148" y="180"/>
                </a:lnTo>
                <a:lnTo>
                  <a:pt x="156" y="168"/>
                </a:lnTo>
                <a:lnTo>
                  <a:pt x="164" y="156"/>
                </a:lnTo>
                <a:lnTo>
                  <a:pt x="168" y="144"/>
                </a:lnTo>
                <a:lnTo>
                  <a:pt x="168" y="130"/>
                </a:lnTo>
                <a:lnTo>
                  <a:pt x="168" y="130"/>
                </a:lnTo>
                <a:lnTo>
                  <a:pt x="168" y="130"/>
                </a:lnTo>
                <a:lnTo>
                  <a:pt x="168" y="36"/>
                </a:lnTo>
                <a:lnTo>
                  <a:pt x="148" y="36"/>
                </a:lnTo>
                <a:lnTo>
                  <a:pt x="148" y="46"/>
                </a:lnTo>
                <a:lnTo>
                  <a:pt x="136" y="46"/>
                </a:lnTo>
                <a:lnTo>
                  <a:pt x="136" y="46"/>
                </a:lnTo>
                <a:lnTo>
                  <a:pt x="126" y="44"/>
                </a:lnTo>
                <a:lnTo>
                  <a:pt x="120" y="38"/>
                </a:lnTo>
                <a:lnTo>
                  <a:pt x="114" y="32"/>
                </a:lnTo>
                <a:lnTo>
                  <a:pt x="112" y="22"/>
                </a:lnTo>
                <a:lnTo>
                  <a:pt x="112" y="22"/>
                </a:lnTo>
                <a:lnTo>
                  <a:pt x="114" y="14"/>
                </a:lnTo>
                <a:lnTo>
                  <a:pt x="120" y="6"/>
                </a:lnTo>
                <a:lnTo>
                  <a:pt x="126" y="2"/>
                </a:lnTo>
                <a:lnTo>
                  <a:pt x="136" y="0"/>
                </a:lnTo>
                <a:lnTo>
                  <a:pt x="148" y="0"/>
                </a:lnTo>
                <a:lnTo>
                  <a:pt x="148" y="8"/>
                </a:lnTo>
                <a:lnTo>
                  <a:pt x="182" y="8"/>
                </a:lnTo>
                <a:lnTo>
                  <a:pt x="182" y="8"/>
                </a:lnTo>
                <a:lnTo>
                  <a:pt x="188" y="10"/>
                </a:lnTo>
                <a:lnTo>
                  <a:pt x="192" y="12"/>
                </a:lnTo>
                <a:lnTo>
                  <a:pt x="196" y="16"/>
                </a:lnTo>
                <a:lnTo>
                  <a:pt x="196" y="22"/>
                </a:lnTo>
                <a:lnTo>
                  <a:pt x="196" y="130"/>
                </a:lnTo>
                <a:lnTo>
                  <a:pt x="196" y="130"/>
                </a:lnTo>
                <a:lnTo>
                  <a:pt x="196" y="130"/>
                </a:lnTo>
                <a:lnTo>
                  <a:pt x="196" y="130"/>
                </a:lnTo>
                <a:lnTo>
                  <a:pt x="194" y="148"/>
                </a:lnTo>
                <a:lnTo>
                  <a:pt x="190" y="166"/>
                </a:lnTo>
                <a:lnTo>
                  <a:pt x="180" y="184"/>
                </a:lnTo>
                <a:lnTo>
                  <a:pt x="168" y="198"/>
                </a:lnTo>
                <a:lnTo>
                  <a:pt x="168" y="198"/>
                </a:lnTo>
                <a:lnTo>
                  <a:pt x="156" y="210"/>
                </a:lnTo>
                <a:lnTo>
                  <a:pt x="140" y="218"/>
                </a:lnTo>
                <a:lnTo>
                  <a:pt x="124" y="224"/>
                </a:lnTo>
                <a:lnTo>
                  <a:pt x="108" y="228"/>
                </a:lnTo>
                <a:lnTo>
                  <a:pt x="108" y="262"/>
                </a:lnTo>
                <a:lnTo>
                  <a:pt x="108" y="262"/>
                </a:lnTo>
                <a:lnTo>
                  <a:pt x="108" y="262"/>
                </a:lnTo>
                <a:lnTo>
                  <a:pt x="110" y="274"/>
                </a:lnTo>
                <a:lnTo>
                  <a:pt x="114" y="286"/>
                </a:lnTo>
                <a:lnTo>
                  <a:pt x="120" y="298"/>
                </a:lnTo>
                <a:lnTo>
                  <a:pt x="128" y="308"/>
                </a:lnTo>
                <a:lnTo>
                  <a:pt x="128" y="308"/>
                </a:lnTo>
                <a:lnTo>
                  <a:pt x="138" y="316"/>
                </a:lnTo>
                <a:lnTo>
                  <a:pt x="148" y="322"/>
                </a:lnTo>
                <a:lnTo>
                  <a:pt x="162" y="326"/>
                </a:lnTo>
                <a:lnTo>
                  <a:pt x="174" y="328"/>
                </a:lnTo>
                <a:lnTo>
                  <a:pt x="174" y="328"/>
                </a:lnTo>
                <a:lnTo>
                  <a:pt x="188" y="326"/>
                </a:lnTo>
                <a:lnTo>
                  <a:pt x="202" y="322"/>
                </a:lnTo>
                <a:lnTo>
                  <a:pt x="214" y="316"/>
                </a:lnTo>
                <a:lnTo>
                  <a:pt x="224" y="306"/>
                </a:lnTo>
                <a:lnTo>
                  <a:pt x="224" y="306"/>
                </a:lnTo>
                <a:lnTo>
                  <a:pt x="232" y="294"/>
                </a:lnTo>
                <a:lnTo>
                  <a:pt x="236" y="280"/>
                </a:lnTo>
                <a:lnTo>
                  <a:pt x="238" y="262"/>
                </a:lnTo>
                <a:lnTo>
                  <a:pt x="238" y="246"/>
                </a:lnTo>
                <a:lnTo>
                  <a:pt x="222" y="146"/>
                </a:lnTo>
                <a:lnTo>
                  <a:pt x="222" y="146"/>
                </a:lnTo>
                <a:lnTo>
                  <a:pt x="222" y="134"/>
                </a:lnTo>
                <a:lnTo>
                  <a:pt x="222" y="122"/>
                </a:lnTo>
                <a:lnTo>
                  <a:pt x="224" y="112"/>
                </a:lnTo>
                <a:lnTo>
                  <a:pt x="230" y="102"/>
                </a:lnTo>
                <a:lnTo>
                  <a:pt x="236" y="94"/>
                </a:lnTo>
                <a:lnTo>
                  <a:pt x="244" y="88"/>
                </a:lnTo>
                <a:lnTo>
                  <a:pt x="252" y="84"/>
                </a:lnTo>
                <a:lnTo>
                  <a:pt x="264" y="80"/>
                </a:lnTo>
                <a:lnTo>
                  <a:pt x="264" y="80"/>
                </a:lnTo>
                <a:lnTo>
                  <a:pt x="272" y="80"/>
                </a:lnTo>
                <a:lnTo>
                  <a:pt x="282" y="82"/>
                </a:lnTo>
                <a:lnTo>
                  <a:pt x="292" y="84"/>
                </a:lnTo>
                <a:lnTo>
                  <a:pt x="300" y="90"/>
                </a:lnTo>
                <a:lnTo>
                  <a:pt x="300" y="90"/>
                </a:lnTo>
                <a:lnTo>
                  <a:pt x="308" y="96"/>
                </a:lnTo>
                <a:lnTo>
                  <a:pt x="314" y="106"/>
                </a:lnTo>
                <a:lnTo>
                  <a:pt x="314" y="106"/>
                </a:lnTo>
                <a:lnTo>
                  <a:pt x="324" y="106"/>
                </a:lnTo>
                <a:lnTo>
                  <a:pt x="332" y="110"/>
                </a:lnTo>
                <a:lnTo>
                  <a:pt x="338" y="114"/>
                </a:lnTo>
                <a:lnTo>
                  <a:pt x="344" y="120"/>
                </a:lnTo>
                <a:lnTo>
                  <a:pt x="350" y="126"/>
                </a:lnTo>
                <a:lnTo>
                  <a:pt x="354" y="134"/>
                </a:lnTo>
                <a:lnTo>
                  <a:pt x="356" y="142"/>
                </a:lnTo>
                <a:lnTo>
                  <a:pt x="358" y="152"/>
                </a:lnTo>
                <a:lnTo>
                  <a:pt x="358" y="152"/>
                </a:lnTo>
                <a:close/>
                <a:moveTo>
                  <a:pt x="338" y="152"/>
                </a:moveTo>
                <a:lnTo>
                  <a:pt x="338" y="152"/>
                </a:lnTo>
                <a:lnTo>
                  <a:pt x="336" y="142"/>
                </a:lnTo>
                <a:lnTo>
                  <a:pt x="330" y="132"/>
                </a:lnTo>
                <a:lnTo>
                  <a:pt x="330" y="132"/>
                </a:lnTo>
                <a:lnTo>
                  <a:pt x="322" y="126"/>
                </a:lnTo>
                <a:lnTo>
                  <a:pt x="312" y="124"/>
                </a:lnTo>
                <a:lnTo>
                  <a:pt x="300" y="126"/>
                </a:lnTo>
                <a:lnTo>
                  <a:pt x="292" y="132"/>
                </a:lnTo>
                <a:lnTo>
                  <a:pt x="292" y="132"/>
                </a:lnTo>
                <a:lnTo>
                  <a:pt x="286" y="140"/>
                </a:lnTo>
                <a:lnTo>
                  <a:pt x="284" y="152"/>
                </a:lnTo>
                <a:lnTo>
                  <a:pt x="284" y="152"/>
                </a:lnTo>
                <a:lnTo>
                  <a:pt x="286" y="162"/>
                </a:lnTo>
                <a:lnTo>
                  <a:pt x="292" y="170"/>
                </a:lnTo>
                <a:lnTo>
                  <a:pt x="300" y="176"/>
                </a:lnTo>
                <a:lnTo>
                  <a:pt x="312" y="178"/>
                </a:lnTo>
                <a:lnTo>
                  <a:pt x="312" y="178"/>
                </a:lnTo>
                <a:lnTo>
                  <a:pt x="322" y="176"/>
                </a:lnTo>
                <a:lnTo>
                  <a:pt x="330" y="170"/>
                </a:lnTo>
                <a:lnTo>
                  <a:pt x="330" y="170"/>
                </a:lnTo>
                <a:lnTo>
                  <a:pt x="336" y="162"/>
                </a:lnTo>
                <a:lnTo>
                  <a:pt x="338" y="152"/>
                </a:lnTo>
                <a:lnTo>
                  <a:pt x="338" y="152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Freeform 4970"/>
          <p:cNvSpPr>
            <a:spLocks noEditPoints="1"/>
          </p:cNvSpPr>
          <p:nvPr/>
        </p:nvSpPr>
        <p:spPr bwMode="auto">
          <a:xfrm>
            <a:off x="9130001" y="11141531"/>
            <a:ext cx="428266" cy="512531"/>
          </a:xfrm>
          <a:custGeom>
            <a:avLst/>
            <a:gdLst>
              <a:gd name="T0" fmla="*/ 318 w 412"/>
              <a:gd name="T1" fmla="*/ 358 h 392"/>
              <a:gd name="T2" fmla="*/ 268 w 412"/>
              <a:gd name="T3" fmla="*/ 382 h 392"/>
              <a:gd name="T4" fmla="*/ 234 w 412"/>
              <a:gd name="T5" fmla="*/ 390 h 392"/>
              <a:gd name="T6" fmla="*/ 208 w 412"/>
              <a:gd name="T7" fmla="*/ 392 h 392"/>
              <a:gd name="T8" fmla="*/ 146 w 412"/>
              <a:gd name="T9" fmla="*/ 382 h 392"/>
              <a:gd name="T10" fmla="*/ 92 w 412"/>
              <a:gd name="T11" fmla="*/ 356 h 392"/>
              <a:gd name="T12" fmla="*/ 48 w 412"/>
              <a:gd name="T13" fmla="*/ 316 h 392"/>
              <a:gd name="T14" fmla="*/ 18 w 412"/>
              <a:gd name="T15" fmla="*/ 264 h 392"/>
              <a:gd name="T16" fmla="*/ 2 w 412"/>
              <a:gd name="T17" fmla="*/ 206 h 392"/>
              <a:gd name="T18" fmla="*/ 2 w 412"/>
              <a:gd name="T19" fmla="*/ 172 h 392"/>
              <a:gd name="T20" fmla="*/ 30 w 412"/>
              <a:gd name="T21" fmla="*/ 166 h 392"/>
              <a:gd name="T22" fmla="*/ 182 w 412"/>
              <a:gd name="T23" fmla="*/ 166 h 392"/>
              <a:gd name="T24" fmla="*/ 224 w 412"/>
              <a:gd name="T25" fmla="*/ 180 h 392"/>
              <a:gd name="T26" fmla="*/ 234 w 412"/>
              <a:gd name="T27" fmla="*/ 204 h 392"/>
              <a:gd name="T28" fmla="*/ 256 w 412"/>
              <a:gd name="T29" fmla="*/ 212 h 392"/>
              <a:gd name="T30" fmla="*/ 282 w 412"/>
              <a:gd name="T31" fmla="*/ 240 h 392"/>
              <a:gd name="T32" fmla="*/ 292 w 412"/>
              <a:gd name="T33" fmla="*/ 262 h 392"/>
              <a:gd name="T34" fmla="*/ 314 w 412"/>
              <a:gd name="T35" fmla="*/ 272 h 392"/>
              <a:gd name="T36" fmla="*/ 138 w 412"/>
              <a:gd name="T37" fmla="*/ 140 h 392"/>
              <a:gd name="T38" fmla="*/ 164 w 412"/>
              <a:gd name="T39" fmla="*/ 134 h 392"/>
              <a:gd name="T40" fmla="*/ 196 w 412"/>
              <a:gd name="T41" fmla="*/ 108 h 392"/>
              <a:gd name="T42" fmla="*/ 208 w 412"/>
              <a:gd name="T43" fmla="*/ 70 h 392"/>
              <a:gd name="T44" fmla="*/ 202 w 412"/>
              <a:gd name="T45" fmla="*/ 42 h 392"/>
              <a:gd name="T46" fmla="*/ 176 w 412"/>
              <a:gd name="T47" fmla="*/ 12 h 392"/>
              <a:gd name="T48" fmla="*/ 138 w 412"/>
              <a:gd name="T49" fmla="*/ 0 h 392"/>
              <a:gd name="T50" fmla="*/ 110 w 412"/>
              <a:gd name="T51" fmla="*/ 4 h 392"/>
              <a:gd name="T52" fmla="*/ 80 w 412"/>
              <a:gd name="T53" fmla="*/ 30 h 392"/>
              <a:gd name="T54" fmla="*/ 68 w 412"/>
              <a:gd name="T55" fmla="*/ 70 h 392"/>
              <a:gd name="T56" fmla="*/ 74 w 412"/>
              <a:gd name="T57" fmla="*/ 96 h 392"/>
              <a:gd name="T58" fmla="*/ 98 w 412"/>
              <a:gd name="T59" fmla="*/ 128 h 392"/>
              <a:gd name="T60" fmla="*/ 138 w 412"/>
              <a:gd name="T61" fmla="*/ 140 h 392"/>
              <a:gd name="T62" fmla="*/ 412 w 412"/>
              <a:gd name="T63" fmla="*/ 152 h 392"/>
              <a:gd name="T64" fmla="*/ 408 w 412"/>
              <a:gd name="T65" fmla="*/ 146 h 392"/>
              <a:gd name="T66" fmla="*/ 354 w 412"/>
              <a:gd name="T67" fmla="*/ 142 h 392"/>
              <a:gd name="T68" fmla="*/ 352 w 412"/>
              <a:gd name="T69" fmla="*/ 90 h 392"/>
              <a:gd name="T70" fmla="*/ 344 w 412"/>
              <a:gd name="T71" fmla="*/ 84 h 392"/>
              <a:gd name="T72" fmla="*/ 312 w 412"/>
              <a:gd name="T73" fmla="*/ 84 h 392"/>
              <a:gd name="T74" fmla="*/ 304 w 412"/>
              <a:gd name="T75" fmla="*/ 94 h 392"/>
              <a:gd name="T76" fmla="*/ 256 w 412"/>
              <a:gd name="T77" fmla="*/ 142 h 392"/>
              <a:gd name="T78" fmla="*/ 248 w 412"/>
              <a:gd name="T79" fmla="*/ 148 h 392"/>
              <a:gd name="T80" fmla="*/ 246 w 412"/>
              <a:gd name="T81" fmla="*/ 180 h 392"/>
              <a:gd name="T82" fmla="*/ 252 w 412"/>
              <a:gd name="T83" fmla="*/ 190 h 392"/>
              <a:gd name="T84" fmla="*/ 304 w 412"/>
              <a:gd name="T85" fmla="*/ 240 h 392"/>
              <a:gd name="T86" fmla="*/ 308 w 412"/>
              <a:gd name="T87" fmla="*/ 246 h 392"/>
              <a:gd name="T88" fmla="*/ 344 w 412"/>
              <a:gd name="T89" fmla="*/ 250 h 392"/>
              <a:gd name="T90" fmla="*/ 350 w 412"/>
              <a:gd name="T91" fmla="*/ 246 h 392"/>
              <a:gd name="T92" fmla="*/ 354 w 412"/>
              <a:gd name="T93" fmla="*/ 190 h 392"/>
              <a:gd name="T94" fmla="*/ 406 w 412"/>
              <a:gd name="T95" fmla="*/ 190 h 392"/>
              <a:gd name="T96" fmla="*/ 412 w 412"/>
              <a:gd name="T97" fmla="*/ 180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12" h="392">
                <a:moveTo>
                  <a:pt x="334" y="348"/>
                </a:moveTo>
                <a:lnTo>
                  <a:pt x="334" y="348"/>
                </a:lnTo>
                <a:lnTo>
                  <a:pt x="318" y="358"/>
                </a:lnTo>
                <a:lnTo>
                  <a:pt x="302" y="368"/>
                </a:lnTo>
                <a:lnTo>
                  <a:pt x="286" y="376"/>
                </a:lnTo>
                <a:lnTo>
                  <a:pt x="268" y="382"/>
                </a:lnTo>
                <a:lnTo>
                  <a:pt x="250" y="280"/>
                </a:lnTo>
                <a:lnTo>
                  <a:pt x="232" y="280"/>
                </a:lnTo>
                <a:lnTo>
                  <a:pt x="234" y="390"/>
                </a:lnTo>
                <a:lnTo>
                  <a:pt x="234" y="390"/>
                </a:lnTo>
                <a:lnTo>
                  <a:pt x="208" y="392"/>
                </a:lnTo>
                <a:lnTo>
                  <a:pt x="208" y="392"/>
                </a:lnTo>
                <a:lnTo>
                  <a:pt x="186" y="390"/>
                </a:lnTo>
                <a:lnTo>
                  <a:pt x="166" y="386"/>
                </a:lnTo>
                <a:lnTo>
                  <a:pt x="146" y="382"/>
                </a:lnTo>
                <a:lnTo>
                  <a:pt x="128" y="374"/>
                </a:lnTo>
                <a:lnTo>
                  <a:pt x="110" y="366"/>
                </a:lnTo>
                <a:lnTo>
                  <a:pt x="92" y="356"/>
                </a:lnTo>
                <a:lnTo>
                  <a:pt x="76" y="344"/>
                </a:lnTo>
                <a:lnTo>
                  <a:pt x="62" y="330"/>
                </a:lnTo>
                <a:lnTo>
                  <a:pt x="48" y="316"/>
                </a:lnTo>
                <a:lnTo>
                  <a:pt x="36" y="300"/>
                </a:lnTo>
                <a:lnTo>
                  <a:pt x="26" y="282"/>
                </a:lnTo>
                <a:lnTo>
                  <a:pt x="18" y="264"/>
                </a:lnTo>
                <a:lnTo>
                  <a:pt x="10" y="246"/>
                </a:lnTo>
                <a:lnTo>
                  <a:pt x="6" y="226"/>
                </a:lnTo>
                <a:lnTo>
                  <a:pt x="2" y="206"/>
                </a:lnTo>
                <a:lnTo>
                  <a:pt x="0" y="184"/>
                </a:lnTo>
                <a:lnTo>
                  <a:pt x="0" y="184"/>
                </a:lnTo>
                <a:lnTo>
                  <a:pt x="2" y="172"/>
                </a:lnTo>
                <a:lnTo>
                  <a:pt x="2" y="172"/>
                </a:lnTo>
                <a:lnTo>
                  <a:pt x="16" y="168"/>
                </a:lnTo>
                <a:lnTo>
                  <a:pt x="30" y="166"/>
                </a:lnTo>
                <a:lnTo>
                  <a:pt x="94" y="166"/>
                </a:lnTo>
                <a:lnTo>
                  <a:pt x="138" y="244"/>
                </a:lnTo>
                <a:lnTo>
                  <a:pt x="182" y="166"/>
                </a:lnTo>
                <a:lnTo>
                  <a:pt x="224" y="166"/>
                </a:lnTo>
                <a:lnTo>
                  <a:pt x="224" y="180"/>
                </a:lnTo>
                <a:lnTo>
                  <a:pt x="224" y="180"/>
                </a:lnTo>
                <a:lnTo>
                  <a:pt x="226" y="186"/>
                </a:lnTo>
                <a:lnTo>
                  <a:pt x="228" y="192"/>
                </a:lnTo>
                <a:lnTo>
                  <a:pt x="234" y="204"/>
                </a:lnTo>
                <a:lnTo>
                  <a:pt x="244" y="210"/>
                </a:lnTo>
                <a:lnTo>
                  <a:pt x="250" y="212"/>
                </a:lnTo>
                <a:lnTo>
                  <a:pt x="256" y="212"/>
                </a:lnTo>
                <a:lnTo>
                  <a:pt x="282" y="212"/>
                </a:lnTo>
                <a:lnTo>
                  <a:pt x="282" y="240"/>
                </a:lnTo>
                <a:lnTo>
                  <a:pt x="282" y="240"/>
                </a:lnTo>
                <a:lnTo>
                  <a:pt x="284" y="246"/>
                </a:lnTo>
                <a:lnTo>
                  <a:pt x="286" y="252"/>
                </a:lnTo>
                <a:lnTo>
                  <a:pt x="292" y="262"/>
                </a:lnTo>
                <a:lnTo>
                  <a:pt x="302" y="268"/>
                </a:lnTo>
                <a:lnTo>
                  <a:pt x="308" y="270"/>
                </a:lnTo>
                <a:lnTo>
                  <a:pt x="314" y="272"/>
                </a:lnTo>
                <a:lnTo>
                  <a:pt x="322" y="272"/>
                </a:lnTo>
                <a:lnTo>
                  <a:pt x="334" y="348"/>
                </a:lnTo>
                <a:close/>
                <a:moveTo>
                  <a:pt x="138" y="140"/>
                </a:moveTo>
                <a:lnTo>
                  <a:pt x="138" y="140"/>
                </a:lnTo>
                <a:lnTo>
                  <a:pt x="152" y="138"/>
                </a:lnTo>
                <a:lnTo>
                  <a:pt x="164" y="134"/>
                </a:lnTo>
                <a:lnTo>
                  <a:pt x="176" y="128"/>
                </a:lnTo>
                <a:lnTo>
                  <a:pt x="188" y="118"/>
                </a:lnTo>
                <a:lnTo>
                  <a:pt x="196" y="108"/>
                </a:lnTo>
                <a:lnTo>
                  <a:pt x="202" y="96"/>
                </a:lnTo>
                <a:lnTo>
                  <a:pt x="206" y="84"/>
                </a:lnTo>
                <a:lnTo>
                  <a:pt x="208" y="70"/>
                </a:lnTo>
                <a:lnTo>
                  <a:pt x="208" y="70"/>
                </a:lnTo>
                <a:lnTo>
                  <a:pt x="206" y="54"/>
                </a:lnTo>
                <a:lnTo>
                  <a:pt x="202" y="42"/>
                </a:lnTo>
                <a:lnTo>
                  <a:pt x="196" y="30"/>
                </a:lnTo>
                <a:lnTo>
                  <a:pt x="188" y="20"/>
                </a:lnTo>
                <a:lnTo>
                  <a:pt x="176" y="12"/>
                </a:lnTo>
                <a:lnTo>
                  <a:pt x="164" y="4"/>
                </a:lnTo>
                <a:lnTo>
                  <a:pt x="152" y="0"/>
                </a:lnTo>
                <a:lnTo>
                  <a:pt x="138" y="0"/>
                </a:lnTo>
                <a:lnTo>
                  <a:pt x="138" y="0"/>
                </a:lnTo>
                <a:lnTo>
                  <a:pt x="124" y="0"/>
                </a:lnTo>
                <a:lnTo>
                  <a:pt x="110" y="4"/>
                </a:lnTo>
                <a:lnTo>
                  <a:pt x="98" y="12"/>
                </a:lnTo>
                <a:lnTo>
                  <a:pt x="88" y="20"/>
                </a:lnTo>
                <a:lnTo>
                  <a:pt x="80" y="30"/>
                </a:lnTo>
                <a:lnTo>
                  <a:pt x="74" y="42"/>
                </a:lnTo>
                <a:lnTo>
                  <a:pt x="70" y="54"/>
                </a:lnTo>
                <a:lnTo>
                  <a:pt x="68" y="70"/>
                </a:lnTo>
                <a:lnTo>
                  <a:pt x="68" y="70"/>
                </a:lnTo>
                <a:lnTo>
                  <a:pt x="70" y="84"/>
                </a:lnTo>
                <a:lnTo>
                  <a:pt x="74" y="96"/>
                </a:lnTo>
                <a:lnTo>
                  <a:pt x="80" y="108"/>
                </a:lnTo>
                <a:lnTo>
                  <a:pt x="88" y="118"/>
                </a:lnTo>
                <a:lnTo>
                  <a:pt x="98" y="128"/>
                </a:lnTo>
                <a:lnTo>
                  <a:pt x="110" y="134"/>
                </a:lnTo>
                <a:lnTo>
                  <a:pt x="124" y="138"/>
                </a:lnTo>
                <a:lnTo>
                  <a:pt x="138" y="140"/>
                </a:lnTo>
                <a:lnTo>
                  <a:pt x="138" y="140"/>
                </a:lnTo>
                <a:close/>
                <a:moveTo>
                  <a:pt x="412" y="180"/>
                </a:moveTo>
                <a:lnTo>
                  <a:pt x="412" y="152"/>
                </a:lnTo>
                <a:lnTo>
                  <a:pt x="412" y="152"/>
                </a:lnTo>
                <a:lnTo>
                  <a:pt x="410" y="148"/>
                </a:lnTo>
                <a:lnTo>
                  <a:pt x="408" y="146"/>
                </a:lnTo>
                <a:lnTo>
                  <a:pt x="406" y="144"/>
                </a:lnTo>
                <a:lnTo>
                  <a:pt x="402" y="142"/>
                </a:lnTo>
                <a:lnTo>
                  <a:pt x="354" y="142"/>
                </a:lnTo>
                <a:lnTo>
                  <a:pt x="354" y="94"/>
                </a:lnTo>
                <a:lnTo>
                  <a:pt x="354" y="94"/>
                </a:lnTo>
                <a:lnTo>
                  <a:pt x="352" y="90"/>
                </a:lnTo>
                <a:lnTo>
                  <a:pt x="350" y="86"/>
                </a:lnTo>
                <a:lnTo>
                  <a:pt x="346" y="84"/>
                </a:lnTo>
                <a:lnTo>
                  <a:pt x="344" y="84"/>
                </a:lnTo>
                <a:lnTo>
                  <a:pt x="314" y="84"/>
                </a:lnTo>
                <a:lnTo>
                  <a:pt x="314" y="84"/>
                </a:lnTo>
                <a:lnTo>
                  <a:pt x="312" y="84"/>
                </a:lnTo>
                <a:lnTo>
                  <a:pt x="308" y="86"/>
                </a:lnTo>
                <a:lnTo>
                  <a:pt x="306" y="90"/>
                </a:lnTo>
                <a:lnTo>
                  <a:pt x="304" y="94"/>
                </a:lnTo>
                <a:lnTo>
                  <a:pt x="304" y="142"/>
                </a:lnTo>
                <a:lnTo>
                  <a:pt x="256" y="142"/>
                </a:lnTo>
                <a:lnTo>
                  <a:pt x="256" y="142"/>
                </a:lnTo>
                <a:lnTo>
                  <a:pt x="252" y="144"/>
                </a:lnTo>
                <a:lnTo>
                  <a:pt x="250" y="146"/>
                </a:lnTo>
                <a:lnTo>
                  <a:pt x="248" y="148"/>
                </a:lnTo>
                <a:lnTo>
                  <a:pt x="246" y="152"/>
                </a:lnTo>
                <a:lnTo>
                  <a:pt x="246" y="180"/>
                </a:lnTo>
                <a:lnTo>
                  <a:pt x="246" y="180"/>
                </a:lnTo>
                <a:lnTo>
                  <a:pt x="248" y="184"/>
                </a:lnTo>
                <a:lnTo>
                  <a:pt x="250" y="188"/>
                </a:lnTo>
                <a:lnTo>
                  <a:pt x="252" y="190"/>
                </a:lnTo>
                <a:lnTo>
                  <a:pt x="256" y="190"/>
                </a:lnTo>
                <a:lnTo>
                  <a:pt x="304" y="190"/>
                </a:lnTo>
                <a:lnTo>
                  <a:pt x="304" y="240"/>
                </a:lnTo>
                <a:lnTo>
                  <a:pt x="304" y="240"/>
                </a:lnTo>
                <a:lnTo>
                  <a:pt x="306" y="242"/>
                </a:lnTo>
                <a:lnTo>
                  <a:pt x="308" y="246"/>
                </a:lnTo>
                <a:lnTo>
                  <a:pt x="312" y="248"/>
                </a:lnTo>
                <a:lnTo>
                  <a:pt x="314" y="250"/>
                </a:lnTo>
                <a:lnTo>
                  <a:pt x="344" y="250"/>
                </a:lnTo>
                <a:lnTo>
                  <a:pt x="344" y="250"/>
                </a:lnTo>
                <a:lnTo>
                  <a:pt x="346" y="248"/>
                </a:lnTo>
                <a:lnTo>
                  <a:pt x="350" y="246"/>
                </a:lnTo>
                <a:lnTo>
                  <a:pt x="352" y="242"/>
                </a:lnTo>
                <a:lnTo>
                  <a:pt x="354" y="240"/>
                </a:lnTo>
                <a:lnTo>
                  <a:pt x="354" y="190"/>
                </a:lnTo>
                <a:lnTo>
                  <a:pt x="402" y="190"/>
                </a:lnTo>
                <a:lnTo>
                  <a:pt x="402" y="190"/>
                </a:lnTo>
                <a:lnTo>
                  <a:pt x="406" y="190"/>
                </a:lnTo>
                <a:lnTo>
                  <a:pt x="408" y="188"/>
                </a:lnTo>
                <a:lnTo>
                  <a:pt x="410" y="184"/>
                </a:lnTo>
                <a:lnTo>
                  <a:pt x="412" y="180"/>
                </a:lnTo>
                <a:lnTo>
                  <a:pt x="412" y="18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/>
          <a:extLst/>
        </p:spPr>
        <p:txBody>
          <a:bodyPr vert="horz" wrap="square" lIns="152380" tIns="76191" rIns="152380" bIns="76191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73569" y="9821341"/>
            <a:ext cx="3258366" cy="6220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kniske fellestjenester for helseregistre</a:t>
            </a:r>
          </a:p>
        </p:txBody>
      </p:sp>
      <p:sp>
        <p:nvSpPr>
          <p:cNvPr id="32" name="Flowchart: Magnetic Disk 31"/>
          <p:cNvSpPr/>
          <p:nvPr/>
        </p:nvSpPr>
        <p:spPr>
          <a:xfrm>
            <a:off x="8105572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Flowchart: Magnetic Disk 32"/>
          <p:cNvSpPr/>
          <p:nvPr/>
        </p:nvSpPr>
        <p:spPr>
          <a:xfrm>
            <a:off x="8541005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Flowchart: Magnetic Disk 33"/>
          <p:cNvSpPr/>
          <p:nvPr/>
        </p:nvSpPr>
        <p:spPr>
          <a:xfrm>
            <a:off x="8976437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Flowchart: Magnetic Disk 34"/>
          <p:cNvSpPr/>
          <p:nvPr/>
        </p:nvSpPr>
        <p:spPr>
          <a:xfrm>
            <a:off x="9411869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Flowchart: Magnetic Disk 35"/>
          <p:cNvSpPr/>
          <p:nvPr/>
        </p:nvSpPr>
        <p:spPr>
          <a:xfrm>
            <a:off x="9847302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Flowchart: Magnetic Disk 36"/>
          <p:cNvSpPr/>
          <p:nvPr/>
        </p:nvSpPr>
        <p:spPr>
          <a:xfrm>
            <a:off x="10282734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Flowchart: Magnetic Disk 37"/>
          <p:cNvSpPr/>
          <p:nvPr/>
        </p:nvSpPr>
        <p:spPr>
          <a:xfrm>
            <a:off x="10718167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lowchart: Magnetic Disk 38"/>
          <p:cNvSpPr/>
          <p:nvPr/>
        </p:nvSpPr>
        <p:spPr>
          <a:xfrm>
            <a:off x="11153599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lowchart: Magnetic Disk 39"/>
          <p:cNvSpPr/>
          <p:nvPr/>
        </p:nvSpPr>
        <p:spPr>
          <a:xfrm>
            <a:off x="11589031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Flowchart: Magnetic Disk 40"/>
          <p:cNvSpPr/>
          <p:nvPr/>
        </p:nvSpPr>
        <p:spPr>
          <a:xfrm>
            <a:off x="12024464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Flowchart: Magnetic Disk 41"/>
          <p:cNvSpPr/>
          <p:nvPr/>
        </p:nvSpPr>
        <p:spPr>
          <a:xfrm>
            <a:off x="12459896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lowchart: Magnetic Disk 42"/>
          <p:cNvSpPr/>
          <p:nvPr/>
        </p:nvSpPr>
        <p:spPr>
          <a:xfrm>
            <a:off x="12895329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Flowchart: Magnetic Disk 43"/>
          <p:cNvSpPr/>
          <p:nvPr/>
        </p:nvSpPr>
        <p:spPr>
          <a:xfrm>
            <a:off x="13330761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Flowchart: Magnetic Disk 44"/>
          <p:cNvSpPr/>
          <p:nvPr/>
        </p:nvSpPr>
        <p:spPr>
          <a:xfrm>
            <a:off x="13766193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Flowchart: Magnetic Disk 45"/>
          <p:cNvSpPr/>
          <p:nvPr/>
        </p:nvSpPr>
        <p:spPr>
          <a:xfrm>
            <a:off x="14201626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Flowchart: Magnetic Disk 46"/>
          <p:cNvSpPr/>
          <p:nvPr/>
        </p:nvSpPr>
        <p:spPr>
          <a:xfrm>
            <a:off x="14637058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lowchart: Magnetic Disk 47"/>
          <p:cNvSpPr/>
          <p:nvPr/>
        </p:nvSpPr>
        <p:spPr>
          <a:xfrm>
            <a:off x="15072491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lowchart: Magnetic Disk 48"/>
          <p:cNvSpPr/>
          <p:nvPr/>
        </p:nvSpPr>
        <p:spPr>
          <a:xfrm>
            <a:off x="15507923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lowchart: Magnetic Disk 49"/>
          <p:cNvSpPr/>
          <p:nvPr/>
        </p:nvSpPr>
        <p:spPr>
          <a:xfrm>
            <a:off x="15943356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Flowchart: Magnetic Disk 50"/>
          <p:cNvSpPr/>
          <p:nvPr/>
        </p:nvSpPr>
        <p:spPr>
          <a:xfrm>
            <a:off x="16378788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Flowchart: Magnetic Disk 51"/>
          <p:cNvSpPr/>
          <p:nvPr/>
        </p:nvSpPr>
        <p:spPr>
          <a:xfrm>
            <a:off x="16814220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Flowchart: Magnetic Disk 52"/>
          <p:cNvSpPr/>
          <p:nvPr/>
        </p:nvSpPr>
        <p:spPr>
          <a:xfrm>
            <a:off x="17249653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Flowchart: Magnetic Disk 53"/>
          <p:cNvSpPr/>
          <p:nvPr/>
        </p:nvSpPr>
        <p:spPr>
          <a:xfrm>
            <a:off x="17685088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Flowchart: Magnetic Disk 54"/>
          <p:cNvSpPr/>
          <p:nvPr/>
        </p:nvSpPr>
        <p:spPr>
          <a:xfrm>
            <a:off x="7670140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Flowchart: Magnetic Disk 55"/>
          <p:cNvSpPr/>
          <p:nvPr/>
        </p:nvSpPr>
        <p:spPr>
          <a:xfrm>
            <a:off x="8105572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Flowchart: Magnetic Disk 56"/>
          <p:cNvSpPr/>
          <p:nvPr/>
        </p:nvSpPr>
        <p:spPr>
          <a:xfrm>
            <a:off x="8541005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Flowchart: Magnetic Disk 57"/>
          <p:cNvSpPr/>
          <p:nvPr/>
        </p:nvSpPr>
        <p:spPr>
          <a:xfrm>
            <a:off x="8976437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Flowchart: Magnetic Disk 58"/>
          <p:cNvSpPr/>
          <p:nvPr/>
        </p:nvSpPr>
        <p:spPr>
          <a:xfrm>
            <a:off x="9411869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Flowchart: Magnetic Disk 59"/>
          <p:cNvSpPr/>
          <p:nvPr/>
        </p:nvSpPr>
        <p:spPr>
          <a:xfrm>
            <a:off x="9847302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Flowchart: Magnetic Disk 60"/>
          <p:cNvSpPr/>
          <p:nvPr/>
        </p:nvSpPr>
        <p:spPr>
          <a:xfrm>
            <a:off x="10282734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Flowchart: Magnetic Disk 61"/>
          <p:cNvSpPr/>
          <p:nvPr/>
        </p:nvSpPr>
        <p:spPr>
          <a:xfrm>
            <a:off x="10718167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Flowchart: Magnetic Disk 62"/>
          <p:cNvSpPr/>
          <p:nvPr/>
        </p:nvSpPr>
        <p:spPr>
          <a:xfrm>
            <a:off x="11153599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4" name="Flowchart: Magnetic Disk 63"/>
          <p:cNvSpPr/>
          <p:nvPr/>
        </p:nvSpPr>
        <p:spPr>
          <a:xfrm>
            <a:off x="11589031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Flowchart: Magnetic Disk 64"/>
          <p:cNvSpPr/>
          <p:nvPr/>
        </p:nvSpPr>
        <p:spPr>
          <a:xfrm>
            <a:off x="12024464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Flowchart: Magnetic Disk 65"/>
          <p:cNvSpPr/>
          <p:nvPr/>
        </p:nvSpPr>
        <p:spPr>
          <a:xfrm>
            <a:off x="12459896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Flowchart: Magnetic Disk 66"/>
          <p:cNvSpPr/>
          <p:nvPr/>
        </p:nvSpPr>
        <p:spPr>
          <a:xfrm>
            <a:off x="12895329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Flowchart: Magnetic Disk 67"/>
          <p:cNvSpPr/>
          <p:nvPr/>
        </p:nvSpPr>
        <p:spPr>
          <a:xfrm>
            <a:off x="13330761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Flowchart: Magnetic Disk 68"/>
          <p:cNvSpPr/>
          <p:nvPr/>
        </p:nvSpPr>
        <p:spPr>
          <a:xfrm>
            <a:off x="13766193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Flowchart: Magnetic Disk 69"/>
          <p:cNvSpPr/>
          <p:nvPr/>
        </p:nvSpPr>
        <p:spPr>
          <a:xfrm>
            <a:off x="14201626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Flowchart: Magnetic Disk 70"/>
          <p:cNvSpPr/>
          <p:nvPr/>
        </p:nvSpPr>
        <p:spPr>
          <a:xfrm>
            <a:off x="14637058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Flowchart: Magnetic Disk 71"/>
          <p:cNvSpPr/>
          <p:nvPr/>
        </p:nvSpPr>
        <p:spPr>
          <a:xfrm>
            <a:off x="15072491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Flowchart: Magnetic Disk 72"/>
          <p:cNvSpPr/>
          <p:nvPr/>
        </p:nvSpPr>
        <p:spPr>
          <a:xfrm>
            <a:off x="15507923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Flowchart: Magnetic Disk 73"/>
          <p:cNvSpPr/>
          <p:nvPr/>
        </p:nvSpPr>
        <p:spPr>
          <a:xfrm>
            <a:off x="15943356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Flowchart: Magnetic Disk 74"/>
          <p:cNvSpPr/>
          <p:nvPr/>
        </p:nvSpPr>
        <p:spPr>
          <a:xfrm>
            <a:off x="16378788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Flowchart: Magnetic Disk 75"/>
          <p:cNvSpPr/>
          <p:nvPr/>
        </p:nvSpPr>
        <p:spPr>
          <a:xfrm>
            <a:off x="16814220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Flowchart: Magnetic Disk 76"/>
          <p:cNvSpPr/>
          <p:nvPr/>
        </p:nvSpPr>
        <p:spPr>
          <a:xfrm>
            <a:off x="17249653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8" name="Flowchart: Magnetic Disk 77"/>
          <p:cNvSpPr/>
          <p:nvPr/>
        </p:nvSpPr>
        <p:spPr>
          <a:xfrm>
            <a:off x="17685088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Flowchart: Magnetic Disk 78"/>
          <p:cNvSpPr/>
          <p:nvPr/>
        </p:nvSpPr>
        <p:spPr>
          <a:xfrm>
            <a:off x="7670140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Flowchart: Magnetic Disk 79"/>
          <p:cNvSpPr/>
          <p:nvPr/>
        </p:nvSpPr>
        <p:spPr>
          <a:xfrm>
            <a:off x="8105572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Flowchart: Magnetic Disk 80"/>
          <p:cNvSpPr/>
          <p:nvPr/>
        </p:nvSpPr>
        <p:spPr>
          <a:xfrm>
            <a:off x="8541005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Flowchart: Magnetic Disk 81"/>
          <p:cNvSpPr/>
          <p:nvPr/>
        </p:nvSpPr>
        <p:spPr>
          <a:xfrm>
            <a:off x="8976437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Flowchart: Magnetic Disk 82"/>
          <p:cNvSpPr/>
          <p:nvPr/>
        </p:nvSpPr>
        <p:spPr>
          <a:xfrm>
            <a:off x="9411869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Flowchart: Magnetic Disk 83"/>
          <p:cNvSpPr/>
          <p:nvPr/>
        </p:nvSpPr>
        <p:spPr>
          <a:xfrm>
            <a:off x="9847302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Flowchart: Magnetic Disk 84"/>
          <p:cNvSpPr/>
          <p:nvPr/>
        </p:nvSpPr>
        <p:spPr>
          <a:xfrm>
            <a:off x="10282734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Flowchart: Magnetic Disk 85"/>
          <p:cNvSpPr/>
          <p:nvPr/>
        </p:nvSpPr>
        <p:spPr>
          <a:xfrm>
            <a:off x="10718167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Flowchart: Magnetic Disk 86"/>
          <p:cNvSpPr/>
          <p:nvPr/>
        </p:nvSpPr>
        <p:spPr>
          <a:xfrm>
            <a:off x="11153599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Flowchart: Magnetic Disk 87"/>
          <p:cNvSpPr/>
          <p:nvPr/>
        </p:nvSpPr>
        <p:spPr>
          <a:xfrm>
            <a:off x="11589031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Flowchart: Magnetic Disk 88"/>
          <p:cNvSpPr/>
          <p:nvPr/>
        </p:nvSpPr>
        <p:spPr>
          <a:xfrm>
            <a:off x="12024464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Flowchart: Magnetic Disk 89"/>
          <p:cNvSpPr/>
          <p:nvPr/>
        </p:nvSpPr>
        <p:spPr>
          <a:xfrm>
            <a:off x="12459896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Flowchart: Magnetic Disk 90"/>
          <p:cNvSpPr/>
          <p:nvPr/>
        </p:nvSpPr>
        <p:spPr>
          <a:xfrm>
            <a:off x="12895329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2" name="Flowchart: Magnetic Disk 91"/>
          <p:cNvSpPr/>
          <p:nvPr/>
        </p:nvSpPr>
        <p:spPr>
          <a:xfrm>
            <a:off x="13330761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3" name="Flowchart: Magnetic Disk 92"/>
          <p:cNvSpPr/>
          <p:nvPr/>
        </p:nvSpPr>
        <p:spPr>
          <a:xfrm>
            <a:off x="13766193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4" name="Flowchart: Magnetic Disk 93"/>
          <p:cNvSpPr/>
          <p:nvPr/>
        </p:nvSpPr>
        <p:spPr>
          <a:xfrm>
            <a:off x="14201626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5" name="Flowchart: Magnetic Disk 94"/>
          <p:cNvSpPr/>
          <p:nvPr/>
        </p:nvSpPr>
        <p:spPr>
          <a:xfrm>
            <a:off x="14637058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6" name="Flowchart: Magnetic Disk 95"/>
          <p:cNvSpPr/>
          <p:nvPr/>
        </p:nvSpPr>
        <p:spPr>
          <a:xfrm>
            <a:off x="15072491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Flowchart: Magnetic Disk 96"/>
          <p:cNvSpPr/>
          <p:nvPr/>
        </p:nvSpPr>
        <p:spPr>
          <a:xfrm>
            <a:off x="15507923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8" name="Flowchart: Magnetic Disk 97"/>
          <p:cNvSpPr/>
          <p:nvPr/>
        </p:nvSpPr>
        <p:spPr>
          <a:xfrm>
            <a:off x="15943356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9" name="Flowchart: Magnetic Disk 98"/>
          <p:cNvSpPr/>
          <p:nvPr/>
        </p:nvSpPr>
        <p:spPr>
          <a:xfrm>
            <a:off x="16378788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Flowchart: Magnetic Disk 99"/>
          <p:cNvSpPr/>
          <p:nvPr/>
        </p:nvSpPr>
        <p:spPr>
          <a:xfrm>
            <a:off x="16814220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Flowchart: Magnetic Disk 100"/>
          <p:cNvSpPr/>
          <p:nvPr/>
        </p:nvSpPr>
        <p:spPr>
          <a:xfrm>
            <a:off x="17249653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Flowchart: Magnetic Disk 101"/>
          <p:cNvSpPr/>
          <p:nvPr/>
        </p:nvSpPr>
        <p:spPr>
          <a:xfrm>
            <a:off x="17685088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3" name="Flowchart: Magnetic Disk 102"/>
          <p:cNvSpPr/>
          <p:nvPr/>
        </p:nvSpPr>
        <p:spPr>
          <a:xfrm>
            <a:off x="7670140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4" name="Flowchart: Magnetic Disk 103"/>
          <p:cNvSpPr/>
          <p:nvPr/>
        </p:nvSpPr>
        <p:spPr>
          <a:xfrm>
            <a:off x="8105572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5" name="Flowchart: Magnetic Disk 104"/>
          <p:cNvSpPr/>
          <p:nvPr/>
        </p:nvSpPr>
        <p:spPr>
          <a:xfrm>
            <a:off x="8541005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Flowchart: Magnetic Disk 105"/>
          <p:cNvSpPr/>
          <p:nvPr/>
        </p:nvSpPr>
        <p:spPr>
          <a:xfrm>
            <a:off x="8976437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7" name="Flowchart: Magnetic Disk 106"/>
          <p:cNvSpPr/>
          <p:nvPr/>
        </p:nvSpPr>
        <p:spPr>
          <a:xfrm>
            <a:off x="9411869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" name="Flowchart: Magnetic Disk 107"/>
          <p:cNvSpPr/>
          <p:nvPr/>
        </p:nvSpPr>
        <p:spPr>
          <a:xfrm>
            <a:off x="9847302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" name="Flowchart: Magnetic Disk 108"/>
          <p:cNvSpPr/>
          <p:nvPr/>
        </p:nvSpPr>
        <p:spPr>
          <a:xfrm>
            <a:off x="10282734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0" name="Flowchart: Magnetic Disk 109"/>
          <p:cNvSpPr/>
          <p:nvPr/>
        </p:nvSpPr>
        <p:spPr>
          <a:xfrm>
            <a:off x="10718167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1" name="Flowchart: Magnetic Disk 110"/>
          <p:cNvSpPr/>
          <p:nvPr/>
        </p:nvSpPr>
        <p:spPr>
          <a:xfrm>
            <a:off x="11153599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2" name="Flowchart: Magnetic Disk 111"/>
          <p:cNvSpPr/>
          <p:nvPr/>
        </p:nvSpPr>
        <p:spPr>
          <a:xfrm>
            <a:off x="11589031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3" name="Flowchart: Magnetic Disk 112"/>
          <p:cNvSpPr/>
          <p:nvPr/>
        </p:nvSpPr>
        <p:spPr>
          <a:xfrm>
            <a:off x="12024464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4" name="Flowchart: Magnetic Disk 113"/>
          <p:cNvSpPr/>
          <p:nvPr/>
        </p:nvSpPr>
        <p:spPr>
          <a:xfrm>
            <a:off x="12459896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5" name="Flowchart: Magnetic Disk 114"/>
          <p:cNvSpPr/>
          <p:nvPr/>
        </p:nvSpPr>
        <p:spPr>
          <a:xfrm>
            <a:off x="12895329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6" name="Flowchart: Magnetic Disk 115"/>
          <p:cNvSpPr/>
          <p:nvPr/>
        </p:nvSpPr>
        <p:spPr>
          <a:xfrm>
            <a:off x="13330761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7" name="Flowchart: Magnetic Disk 116"/>
          <p:cNvSpPr/>
          <p:nvPr/>
        </p:nvSpPr>
        <p:spPr>
          <a:xfrm>
            <a:off x="13766193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8" name="Flowchart: Magnetic Disk 117"/>
          <p:cNvSpPr/>
          <p:nvPr/>
        </p:nvSpPr>
        <p:spPr>
          <a:xfrm>
            <a:off x="14201626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9" name="Flowchart: Magnetic Disk 118"/>
          <p:cNvSpPr/>
          <p:nvPr/>
        </p:nvSpPr>
        <p:spPr>
          <a:xfrm>
            <a:off x="14637058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Flowchart: Magnetic Disk 119"/>
          <p:cNvSpPr/>
          <p:nvPr/>
        </p:nvSpPr>
        <p:spPr>
          <a:xfrm>
            <a:off x="15072491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1" name="Flowchart: Magnetic Disk 120"/>
          <p:cNvSpPr/>
          <p:nvPr/>
        </p:nvSpPr>
        <p:spPr>
          <a:xfrm>
            <a:off x="15507923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2" name="Flowchart: Magnetic Disk 121"/>
          <p:cNvSpPr/>
          <p:nvPr/>
        </p:nvSpPr>
        <p:spPr>
          <a:xfrm>
            <a:off x="15943356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Flowchart: Magnetic Disk 122"/>
          <p:cNvSpPr/>
          <p:nvPr/>
        </p:nvSpPr>
        <p:spPr>
          <a:xfrm>
            <a:off x="16378788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Flowchart: Magnetic Disk 123"/>
          <p:cNvSpPr/>
          <p:nvPr/>
        </p:nvSpPr>
        <p:spPr>
          <a:xfrm>
            <a:off x="16814220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" name="Flowchart: Magnetic Disk 124"/>
          <p:cNvSpPr/>
          <p:nvPr/>
        </p:nvSpPr>
        <p:spPr>
          <a:xfrm>
            <a:off x="17249653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Flowchart: Magnetic Disk 125"/>
          <p:cNvSpPr/>
          <p:nvPr/>
        </p:nvSpPr>
        <p:spPr>
          <a:xfrm>
            <a:off x="17685088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" name="Flowchart: Magnetic Disk 126"/>
          <p:cNvSpPr/>
          <p:nvPr/>
        </p:nvSpPr>
        <p:spPr>
          <a:xfrm>
            <a:off x="7670140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" name="Flowchart: Magnetic Disk 127"/>
          <p:cNvSpPr/>
          <p:nvPr/>
        </p:nvSpPr>
        <p:spPr>
          <a:xfrm>
            <a:off x="8105572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9" name="Flowchart: Magnetic Disk 128"/>
          <p:cNvSpPr/>
          <p:nvPr/>
        </p:nvSpPr>
        <p:spPr>
          <a:xfrm>
            <a:off x="8541005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" name="Flowchart: Magnetic Disk 129"/>
          <p:cNvSpPr/>
          <p:nvPr/>
        </p:nvSpPr>
        <p:spPr>
          <a:xfrm>
            <a:off x="8976437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" name="Flowchart: Magnetic Disk 130"/>
          <p:cNvSpPr/>
          <p:nvPr/>
        </p:nvSpPr>
        <p:spPr>
          <a:xfrm>
            <a:off x="9411869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2" name="Flowchart: Magnetic Disk 131"/>
          <p:cNvSpPr/>
          <p:nvPr/>
        </p:nvSpPr>
        <p:spPr>
          <a:xfrm>
            <a:off x="9847302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3" name="Flowchart: Magnetic Disk 132"/>
          <p:cNvSpPr/>
          <p:nvPr/>
        </p:nvSpPr>
        <p:spPr>
          <a:xfrm>
            <a:off x="10282734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Flowchart: Magnetic Disk 133"/>
          <p:cNvSpPr/>
          <p:nvPr/>
        </p:nvSpPr>
        <p:spPr>
          <a:xfrm>
            <a:off x="10718167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5" name="Flowchart: Magnetic Disk 134"/>
          <p:cNvSpPr/>
          <p:nvPr/>
        </p:nvSpPr>
        <p:spPr>
          <a:xfrm>
            <a:off x="11153599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6" name="Flowchart: Magnetic Disk 135"/>
          <p:cNvSpPr/>
          <p:nvPr/>
        </p:nvSpPr>
        <p:spPr>
          <a:xfrm>
            <a:off x="11589031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7" name="Flowchart: Magnetic Disk 136"/>
          <p:cNvSpPr/>
          <p:nvPr/>
        </p:nvSpPr>
        <p:spPr>
          <a:xfrm>
            <a:off x="12024464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Flowchart: Magnetic Disk 137"/>
          <p:cNvSpPr/>
          <p:nvPr/>
        </p:nvSpPr>
        <p:spPr>
          <a:xfrm>
            <a:off x="12459896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9" name="Flowchart: Magnetic Disk 138"/>
          <p:cNvSpPr/>
          <p:nvPr/>
        </p:nvSpPr>
        <p:spPr>
          <a:xfrm>
            <a:off x="12895329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0" name="Flowchart: Magnetic Disk 139"/>
          <p:cNvSpPr/>
          <p:nvPr/>
        </p:nvSpPr>
        <p:spPr>
          <a:xfrm>
            <a:off x="13330761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1" name="Flowchart: Magnetic Disk 140"/>
          <p:cNvSpPr/>
          <p:nvPr/>
        </p:nvSpPr>
        <p:spPr>
          <a:xfrm>
            <a:off x="13766193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2" name="Flowchart: Magnetic Disk 141"/>
          <p:cNvSpPr/>
          <p:nvPr/>
        </p:nvSpPr>
        <p:spPr>
          <a:xfrm>
            <a:off x="14201626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Flowchart: Magnetic Disk 142"/>
          <p:cNvSpPr/>
          <p:nvPr/>
        </p:nvSpPr>
        <p:spPr>
          <a:xfrm>
            <a:off x="14637058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4" name="Flowchart: Magnetic Disk 143"/>
          <p:cNvSpPr/>
          <p:nvPr/>
        </p:nvSpPr>
        <p:spPr>
          <a:xfrm>
            <a:off x="15072491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5" name="Flowchart: Magnetic Disk 144"/>
          <p:cNvSpPr/>
          <p:nvPr/>
        </p:nvSpPr>
        <p:spPr>
          <a:xfrm>
            <a:off x="15507923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Flowchart: Magnetic Disk 145"/>
          <p:cNvSpPr/>
          <p:nvPr/>
        </p:nvSpPr>
        <p:spPr>
          <a:xfrm>
            <a:off x="15943356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7" name="Flowchart: Magnetic Disk 146"/>
          <p:cNvSpPr/>
          <p:nvPr/>
        </p:nvSpPr>
        <p:spPr>
          <a:xfrm>
            <a:off x="16378788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Flowchart: Magnetic Disk 147"/>
          <p:cNvSpPr/>
          <p:nvPr/>
        </p:nvSpPr>
        <p:spPr>
          <a:xfrm>
            <a:off x="16814220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Flowchart: Magnetic Disk 148"/>
          <p:cNvSpPr/>
          <p:nvPr/>
        </p:nvSpPr>
        <p:spPr>
          <a:xfrm>
            <a:off x="17249653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0" name="Flowchart: Magnetic Disk 149"/>
          <p:cNvSpPr/>
          <p:nvPr/>
        </p:nvSpPr>
        <p:spPr>
          <a:xfrm>
            <a:off x="17685088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1" name="Flowchart: Magnetic Disk 150"/>
          <p:cNvSpPr/>
          <p:nvPr/>
        </p:nvSpPr>
        <p:spPr>
          <a:xfrm>
            <a:off x="7670140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2" name="Flowchart: Magnetic Disk 151"/>
          <p:cNvSpPr/>
          <p:nvPr/>
        </p:nvSpPr>
        <p:spPr>
          <a:xfrm>
            <a:off x="8105572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3" name="Flowchart: Magnetic Disk 152"/>
          <p:cNvSpPr/>
          <p:nvPr/>
        </p:nvSpPr>
        <p:spPr>
          <a:xfrm>
            <a:off x="8541005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4" name="Flowchart: Magnetic Disk 153"/>
          <p:cNvSpPr/>
          <p:nvPr/>
        </p:nvSpPr>
        <p:spPr>
          <a:xfrm>
            <a:off x="8976437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5" name="Flowchart: Magnetic Disk 154"/>
          <p:cNvSpPr/>
          <p:nvPr/>
        </p:nvSpPr>
        <p:spPr>
          <a:xfrm>
            <a:off x="9411869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Flowchart: Magnetic Disk 155"/>
          <p:cNvSpPr/>
          <p:nvPr/>
        </p:nvSpPr>
        <p:spPr>
          <a:xfrm>
            <a:off x="9847302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7" name="Flowchart: Magnetic Disk 156"/>
          <p:cNvSpPr/>
          <p:nvPr/>
        </p:nvSpPr>
        <p:spPr>
          <a:xfrm>
            <a:off x="10282734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8" name="Flowchart: Magnetic Disk 157"/>
          <p:cNvSpPr/>
          <p:nvPr/>
        </p:nvSpPr>
        <p:spPr>
          <a:xfrm>
            <a:off x="10718167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9" name="Flowchart: Magnetic Disk 158"/>
          <p:cNvSpPr/>
          <p:nvPr/>
        </p:nvSpPr>
        <p:spPr>
          <a:xfrm>
            <a:off x="11153599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0" name="Flowchart: Magnetic Disk 159"/>
          <p:cNvSpPr/>
          <p:nvPr/>
        </p:nvSpPr>
        <p:spPr>
          <a:xfrm>
            <a:off x="11589031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Flowchart: Magnetic Disk 160"/>
          <p:cNvSpPr/>
          <p:nvPr/>
        </p:nvSpPr>
        <p:spPr>
          <a:xfrm>
            <a:off x="12024464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2" name="Flowchart: Magnetic Disk 161"/>
          <p:cNvSpPr/>
          <p:nvPr/>
        </p:nvSpPr>
        <p:spPr>
          <a:xfrm>
            <a:off x="12459896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3" name="Flowchart: Magnetic Disk 162"/>
          <p:cNvSpPr/>
          <p:nvPr/>
        </p:nvSpPr>
        <p:spPr>
          <a:xfrm>
            <a:off x="12895329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Flowchart: Magnetic Disk 163"/>
          <p:cNvSpPr/>
          <p:nvPr/>
        </p:nvSpPr>
        <p:spPr>
          <a:xfrm>
            <a:off x="13330761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5" name="Flowchart: Magnetic Disk 164"/>
          <p:cNvSpPr/>
          <p:nvPr/>
        </p:nvSpPr>
        <p:spPr>
          <a:xfrm>
            <a:off x="13766193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6" name="Flowchart: Magnetic Disk 165"/>
          <p:cNvSpPr/>
          <p:nvPr/>
        </p:nvSpPr>
        <p:spPr>
          <a:xfrm>
            <a:off x="14201626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7" name="Flowchart: Magnetic Disk 166"/>
          <p:cNvSpPr/>
          <p:nvPr/>
        </p:nvSpPr>
        <p:spPr>
          <a:xfrm>
            <a:off x="14637058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8" name="Flowchart: Magnetic Disk 167"/>
          <p:cNvSpPr/>
          <p:nvPr/>
        </p:nvSpPr>
        <p:spPr>
          <a:xfrm>
            <a:off x="15072491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9" name="Flowchart: Magnetic Disk 168"/>
          <p:cNvSpPr/>
          <p:nvPr/>
        </p:nvSpPr>
        <p:spPr>
          <a:xfrm>
            <a:off x="15507923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0" name="Flowchart: Magnetic Disk 169"/>
          <p:cNvSpPr/>
          <p:nvPr/>
        </p:nvSpPr>
        <p:spPr>
          <a:xfrm>
            <a:off x="15943356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1" name="Flowchart: Magnetic Disk 170"/>
          <p:cNvSpPr/>
          <p:nvPr/>
        </p:nvSpPr>
        <p:spPr>
          <a:xfrm>
            <a:off x="16378788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Flowchart: Magnetic Disk 171"/>
          <p:cNvSpPr/>
          <p:nvPr/>
        </p:nvSpPr>
        <p:spPr>
          <a:xfrm>
            <a:off x="16814220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3" name="Flowchart: Magnetic Disk 172"/>
          <p:cNvSpPr/>
          <p:nvPr/>
        </p:nvSpPr>
        <p:spPr>
          <a:xfrm>
            <a:off x="17249653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4" name="Flowchart: Magnetic Disk 173"/>
          <p:cNvSpPr/>
          <p:nvPr/>
        </p:nvSpPr>
        <p:spPr>
          <a:xfrm>
            <a:off x="17685088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Rectangle 175"/>
          <p:cNvSpPr/>
          <p:nvPr/>
        </p:nvSpPr>
        <p:spPr>
          <a:xfrm>
            <a:off x="18550152" y="3663774"/>
            <a:ext cx="528182" cy="6220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§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177" name="Freeform 4949"/>
          <p:cNvSpPr>
            <a:spLocks noEditPoints="1"/>
          </p:cNvSpPr>
          <p:nvPr/>
        </p:nvSpPr>
        <p:spPr bwMode="auto">
          <a:xfrm>
            <a:off x="6912255" y="3725263"/>
            <a:ext cx="383362" cy="511423"/>
          </a:xfrm>
          <a:custGeom>
            <a:avLst/>
            <a:gdLst>
              <a:gd name="T0" fmla="*/ 128 w 330"/>
              <a:gd name="T1" fmla="*/ 144 h 350"/>
              <a:gd name="T2" fmla="*/ 116 w 330"/>
              <a:gd name="T3" fmla="*/ 138 h 350"/>
              <a:gd name="T4" fmla="*/ 126 w 330"/>
              <a:gd name="T5" fmla="*/ 90 h 350"/>
              <a:gd name="T6" fmla="*/ 188 w 330"/>
              <a:gd name="T7" fmla="*/ 52 h 350"/>
              <a:gd name="T8" fmla="*/ 210 w 330"/>
              <a:gd name="T9" fmla="*/ 14 h 350"/>
              <a:gd name="T10" fmla="*/ 250 w 330"/>
              <a:gd name="T11" fmla="*/ 0 h 350"/>
              <a:gd name="T12" fmla="*/ 260 w 330"/>
              <a:gd name="T13" fmla="*/ 10 h 350"/>
              <a:gd name="T14" fmla="*/ 250 w 330"/>
              <a:gd name="T15" fmla="*/ 20 h 350"/>
              <a:gd name="T16" fmla="*/ 214 w 330"/>
              <a:gd name="T17" fmla="*/ 38 h 350"/>
              <a:gd name="T18" fmla="*/ 206 w 330"/>
              <a:gd name="T19" fmla="*/ 66 h 350"/>
              <a:gd name="T20" fmla="*/ 198 w 330"/>
              <a:gd name="T21" fmla="*/ 72 h 350"/>
              <a:gd name="T22" fmla="*/ 172 w 330"/>
              <a:gd name="T23" fmla="*/ 76 h 350"/>
              <a:gd name="T24" fmla="*/ 136 w 330"/>
              <a:gd name="T25" fmla="*/ 122 h 350"/>
              <a:gd name="T26" fmla="*/ 124 w 330"/>
              <a:gd name="T27" fmla="*/ 6 h 350"/>
              <a:gd name="T28" fmla="*/ 100 w 330"/>
              <a:gd name="T29" fmla="*/ 0 h 350"/>
              <a:gd name="T30" fmla="*/ 46 w 330"/>
              <a:gd name="T31" fmla="*/ 44 h 350"/>
              <a:gd name="T32" fmla="*/ 44 w 330"/>
              <a:gd name="T33" fmla="*/ 80 h 350"/>
              <a:gd name="T34" fmla="*/ 58 w 330"/>
              <a:gd name="T35" fmla="*/ 80 h 350"/>
              <a:gd name="T36" fmla="*/ 64 w 330"/>
              <a:gd name="T37" fmla="*/ 52 h 350"/>
              <a:gd name="T38" fmla="*/ 104 w 330"/>
              <a:gd name="T39" fmla="*/ 20 h 350"/>
              <a:gd name="T40" fmla="*/ 124 w 330"/>
              <a:gd name="T41" fmla="*/ 14 h 350"/>
              <a:gd name="T42" fmla="*/ 246 w 330"/>
              <a:gd name="T43" fmla="*/ 34 h 350"/>
              <a:gd name="T44" fmla="*/ 238 w 330"/>
              <a:gd name="T45" fmla="*/ 54 h 350"/>
              <a:gd name="T46" fmla="*/ 208 w 330"/>
              <a:gd name="T47" fmla="*/ 92 h 350"/>
              <a:gd name="T48" fmla="*/ 180 w 330"/>
              <a:gd name="T49" fmla="*/ 98 h 350"/>
              <a:gd name="T50" fmla="*/ 172 w 330"/>
              <a:gd name="T51" fmla="*/ 118 h 350"/>
              <a:gd name="T52" fmla="*/ 150 w 330"/>
              <a:gd name="T53" fmla="*/ 128 h 350"/>
              <a:gd name="T54" fmla="*/ 150 w 330"/>
              <a:gd name="T55" fmla="*/ 142 h 350"/>
              <a:gd name="T56" fmla="*/ 182 w 330"/>
              <a:gd name="T57" fmla="*/ 136 h 350"/>
              <a:gd name="T58" fmla="*/ 222 w 330"/>
              <a:gd name="T59" fmla="*/ 106 h 350"/>
              <a:gd name="T60" fmla="*/ 258 w 330"/>
              <a:gd name="T61" fmla="*/ 56 h 350"/>
              <a:gd name="T62" fmla="*/ 254 w 330"/>
              <a:gd name="T63" fmla="*/ 34 h 350"/>
              <a:gd name="T64" fmla="*/ 158 w 330"/>
              <a:gd name="T65" fmla="*/ 6 h 350"/>
              <a:gd name="T66" fmla="*/ 144 w 330"/>
              <a:gd name="T67" fmla="*/ 0 h 350"/>
              <a:gd name="T68" fmla="*/ 138 w 330"/>
              <a:gd name="T69" fmla="*/ 16 h 350"/>
              <a:gd name="T70" fmla="*/ 124 w 330"/>
              <a:gd name="T71" fmla="*/ 36 h 350"/>
              <a:gd name="T72" fmla="*/ 106 w 330"/>
              <a:gd name="T73" fmla="*/ 42 h 350"/>
              <a:gd name="T74" fmla="*/ 96 w 330"/>
              <a:gd name="T75" fmla="*/ 52 h 350"/>
              <a:gd name="T76" fmla="*/ 106 w 330"/>
              <a:gd name="T77" fmla="*/ 62 h 350"/>
              <a:gd name="T78" fmla="*/ 136 w 330"/>
              <a:gd name="T79" fmla="*/ 52 h 350"/>
              <a:gd name="T80" fmla="*/ 158 w 330"/>
              <a:gd name="T81" fmla="*/ 20 h 350"/>
              <a:gd name="T82" fmla="*/ 242 w 330"/>
              <a:gd name="T83" fmla="*/ 258 h 350"/>
              <a:gd name="T84" fmla="*/ 128 w 330"/>
              <a:gd name="T85" fmla="*/ 252 h 350"/>
              <a:gd name="T86" fmla="*/ 138 w 330"/>
              <a:gd name="T87" fmla="*/ 164 h 350"/>
              <a:gd name="T88" fmla="*/ 114 w 330"/>
              <a:gd name="T89" fmla="*/ 162 h 350"/>
              <a:gd name="T90" fmla="*/ 82 w 330"/>
              <a:gd name="T91" fmla="*/ 258 h 350"/>
              <a:gd name="T92" fmla="*/ 60 w 330"/>
              <a:gd name="T93" fmla="*/ 102 h 350"/>
              <a:gd name="T94" fmla="*/ 38 w 330"/>
              <a:gd name="T95" fmla="*/ 104 h 350"/>
              <a:gd name="T96" fmla="*/ 10 w 330"/>
              <a:gd name="T97" fmla="*/ 258 h 350"/>
              <a:gd name="T98" fmla="*/ 0 w 330"/>
              <a:gd name="T99" fmla="*/ 340 h 350"/>
              <a:gd name="T100" fmla="*/ 10 w 330"/>
              <a:gd name="T101" fmla="*/ 350 h 350"/>
              <a:gd name="T102" fmla="*/ 330 w 330"/>
              <a:gd name="T103" fmla="*/ 344 h 350"/>
              <a:gd name="T104" fmla="*/ 330 w 330"/>
              <a:gd name="T105" fmla="*/ 268 h 350"/>
              <a:gd name="T106" fmla="*/ 76 w 330"/>
              <a:gd name="T107" fmla="*/ 314 h 350"/>
              <a:gd name="T108" fmla="*/ 154 w 330"/>
              <a:gd name="T109" fmla="*/ 314 h 350"/>
              <a:gd name="T110" fmla="*/ 232 w 330"/>
              <a:gd name="T111" fmla="*/ 314 h 350"/>
              <a:gd name="T112" fmla="*/ 308 w 330"/>
              <a:gd name="T113" fmla="*/ 31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0" h="350">
                <a:moveTo>
                  <a:pt x="134" y="134"/>
                </a:moveTo>
                <a:lnTo>
                  <a:pt x="134" y="134"/>
                </a:lnTo>
                <a:lnTo>
                  <a:pt x="134" y="138"/>
                </a:lnTo>
                <a:lnTo>
                  <a:pt x="132" y="142"/>
                </a:lnTo>
                <a:lnTo>
                  <a:pt x="128" y="144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18" y="142"/>
                </a:lnTo>
                <a:lnTo>
                  <a:pt x="116" y="138"/>
                </a:lnTo>
                <a:lnTo>
                  <a:pt x="114" y="134"/>
                </a:lnTo>
                <a:lnTo>
                  <a:pt x="114" y="134"/>
                </a:lnTo>
                <a:lnTo>
                  <a:pt x="116" y="118"/>
                </a:lnTo>
                <a:lnTo>
                  <a:pt x="120" y="104"/>
                </a:lnTo>
                <a:lnTo>
                  <a:pt x="126" y="90"/>
                </a:lnTo>
                <a:lnTo>
                  <a:pt x="136" y="78"/>
                </a:lnTo>
                <a:lnTo>
                  <a:pt x="146" y="68"/>
                </a:lnTo>
                <a:lnTo>
                  <a:pt x="160" y="60"/>
                </a:lnTo>
                <a:lnTo>
                  <a:pt x="174" y="56"/>
                </a:lnTo>
                <a:lnTo>
                  <a:pt x="188" y="52"/>
                </a:lnTo>
                <a:lnTo>
                  <a:pt x="188" y="52"/>
                </a:lnTo>
                <a:lnTo>
                  <a:pt x="192" y="42"/>
                </a:lnTo>
                <a:lnTo>
                  <a:pt x="196" y="32"/>
                </a:lnTo>
                <a:lnTo>
                  <a:pt x="202" y="22"/>
                </a:lnTo>
                <a:lnTo>
                  <a:pt x="210" y="14"/>
                </a:lnTo>
                <a:lnTo>
                  <a:pt x="218" y="8"/>
                </a:lnTo>
                <a:lnTo>
                  <a:pt x="228" y="4"/>
                </a:lnTo>
                <a:lnTo>
                  <a:pt x="238" y="0"/>
                </a:lnTo>
                <a:lnTo>
                  <a:pt x="250" y="0"/>
                </a:lnTo>
                <a:lnTo>
                  <a:pt x="250" y="0"/>
                </a:lnTo>
                <a:lnTo>
                  <a:pt x="254" y="0"/>
                </a:lnTo>
                <a:lnTo>
                  <a:pt x="258" y="2"/>
                </a:lnTo>
                <a:lnTo>
                  <a:pt x="260" y="6"/>
                </a:lnTo>
                <a:lnTo>
                  <a:pt x="260" y="10"/>
                </a:lnTo>
                <a:lnTo>
                  <a:pt x="260" y="10"/>
                </a:lnTo>
                <a:lnTo>
                  <a:pt x="260" y="14"/>
                </a:lnTo>
                <a:lnTo>
                  <a:pt x="258" y="16"/>
                </a:lnTo>
                <a:lnTo>
                  <a:pt x="254" y="18"/>
                </a:lnTo>
                <a:lnTo>
                  <a:pt x="250" y="20"/>
                </a:lnTo>
                <a:lnTo>
                  <a:pt x="250" y="20"/>
                </a:lnTo>
                <a:lnTo>
                  <a:pt x="242" y="20"/>
                </a:lnTo>
                <a:lnTo>
                  <a:pt x="234" y="22"/>
                </a:lnTo>
                <a:lnTo>
                  <a:pt x="226" y="26"/>
                </a:lnTo>
                <a:lnTo>
                  <a:pt x="220" y="32"/>
                </a:lnTo>
                <a:lnTo>
                  <a:pt x="214" y="38"/>
                </a:lnTo>
                <a:lnTo>
                  <a:pt x="212" y="46"/>
                </a:lnTo>
                <a:lnTo>
                  <a:pt x="208" y="52"/>
                </a:lnTo>
                <a:lnTo>
                  <a:pt x="208" y="62"/>
                </a:lnTo>
                <a:lnTo>
                  <a:pt x="208" y="62"/>
                </a:lnTo>
                <a:lnTo>
                  <a:pt x="206" y="66"/>
                </a:lnTo>
                <a:lnTo>
                  <a:pt x="204" y="68"/>
                </a:lnTo>
                <a:lnTo>
                  <a:pt x="202" y="70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84" y="72"/>
                </a:lnTo>
                <a:lnTo>
                  <a:pt x="172" y="76"/>
                </a:lnTo>
                <a:lnTo>
                  <a:pt x="162" y="82"/>
                </a:lnTo>
                <a:lnTo>
                  <a:pt x="152" y="90"/>
                </a:lnTo>
                <a:lnTo>
                  <a:pt x="146" y="100"/>
                </a:lnTo>
                <a:lnTo>
                  <a:pt x="140" y="110"/>
                </a:lnTo>
                <a:lnTo>
                  <a:pt x="136" y="122"/>
                </a:lnTo>
                <a:lnTo>
                  <a:pt x="134" y="134"/>
                </a:lnTo>
                <a:lnTo>
                  <a:pt x="134" y="134"/>
                </a:lnTo>
                <a:close/>
                <a:moveTo>
                  <a:pt x="124" y="10"/>
                </a:moveTo>
                <a:lnTo>
                  <a:pt x="124" y="10"/>
                </a:lnTo>
                <a:lnTo>
                  <a:pt x="124" y="6"/>
                </a:lnTo>
                <a:lnTo>
                  <a:pt x="122" y="2"/>
                </a:lnTo>
                <a:lnTo>
                  <a:pt x="118" y="0"/>
                </a:lnTo>
                <a:lnTo>
                  <a:pt x="114" y="0"/>
                </a:lnTo>
                <a:lnTo>
                  <a:pt x="114" y="0"/>
                </a:lnTo>
                <a:lnTo>
                  <a:pt x="100" y="0"/>
                </a:lnTo>
                <a:lnTo>
                  <a:pt x="86" y="6"/>
                </a:lnTo>
                <a:lnTo>
                  <a:pt x="72" y="12"/>
                </a:lnTo>
                <a:lnTo>
                  <a:pt x="62" y="20"/>
                </a:lnTo>
                <a:lnTo>
                  <a:pt x="52" y="32"/>
                </a:lnTo>
                <a:lnTo>
                  <a:pt x="46" y="44"/>
                </a:lnTo>
                <a:lnTo>
                  <a:pt x="42" y="58"/>
                </a:lnTo>
                <a:lnTo>
                  <a:pt x="40" y="74"/>
                </a:lnTo>
                <a:lnTo>
                  <a:pt x="40" y="74"/>
                </a:lnTo>
                <a:lnTo>
                  <a:pt x="40" y="78"/>
                </a:lnTo>
                <a:lnTo>
                  <a:pt x="44" y="80"/>
                </a:lnTo>
                <a:lnTo>
                  <a:pt x="46" y="82"/>
                </a:lnTo>
                <a:lnTo>
                  <a:pt x="50" y="84"/>
                </a:lnTo>
                <a:lnTo>
                  <a:pt x="50" y="84"/>
                </a:lnTo>
                <a:lnTo>
                  <a:pt x="54" y="82"/>
                </a:lnTo>
                <a:lnTo>
                  <a:pt x="58" y="80"/>
                </a:lnTo>
                <a:lnTo>
                  <a:pt x="60" y="78"/>
                </a:lnTo>
                <a:lnTo>
                  <a:pt x="60" y="74"/>
                </a:lnTo>
                <a:lnTo>
                  <a:pt x="60" y="74"/>
                </a:lnTo>
                <a:lnTo>
                  <a:pt x="62" y="62"/>
                </a:lnTo>
                <a:lnTo>
                  <a:pt x="64" y="52"/>
                </a:lnTo>
                <a:lnTo>
                  <a:pt x="70" y="44"/>
                </a:lnTo>
                <a:lnTo>
                  <a:pt x="76" y="36"/>
                </a:lnTo>
                <a:lnTo>
                  <a:pt x="84" y="28"/>
                </a:lnTo>
                <a:lnTo>
                  <a:pt x="94" y="24"/>
                </a:lnTo>
                <a:lnTo>
                  <a:pt x="104" y="20"/>
                </a:lnTo>
                <a:lnTo>
                  <a:pt x="114" y="20"/>
                </a:lnTo>
                <a:lnTo>
                  <a:pt x="114" y="20"/>
                </a:lnTo>
                <a:lnTo>
                  <a:pt x="118" y="18"/>
                </a:lnTo>
                <a:lnTo>
                  <a:pt x="122" y="16"/>
                </a:lnTo>
                <a:lnTo>
                  <a:pt x="124" y="14"/>
                </a:lnTo>
                <a:lnTo>
                  <a:pt x="124" y="10"/>
                </a:lnTo>
                <a:lnTo>
                  <a:pt x="124" y="10"/>
                </a:lnTo>
                <a:close/>
                <a:moveTo>
                  <a:pt x="250" y="32"/>
                </a:moveTo>
                <a:lnTo>
                  <a:pt x="250" y="32"/>
                </a:lnTo>
                <a:lnTo>
                  <a:pt x="246" y="34"/>
                </a:lnTo>
                <a:lnTo>
                  <a:pt x="242" y="36"/>
                </a:lnTo>
                <a:lnTo>
                  <a:pt x="240" y="38"/>
                </a:lnTo>
                <a:lnTo>
                  <a:pt x="240" y="42"/>
                </a:lnTo>
                <a:lnTo>
                  <a:pt x="240" y="42"/>
                </a:lnTo>
                <a:lnTo>
                  <a:pt x="238" y="54"/>
                </a:lnTo>
                <a:lnTo>
                  <a:pt x="236" y="62"/>
                </a:lnTo>
                <a:lnTo>
                  <a:pt x="230" y="72"/>
                </a:lnTo>
                <a:lnTo>
                  <a:pt x="224" y="80"/>
                </a:lnTo>
                <a:lnTo>
                  <a:pt x="216" y="86"/>
                </a:lnTo>
                <a:lnTo>
                  <a:pt x="208" y="92"/>
                </a:lnTo>
                <a:lnTo>
                  <a:pt x="198" y="94"/>
                </a:lnTo>
                <a:lnTo>
                  <a:pt x="188" y="96"/>
                </a:lnTo>
                <a:lnTo>
                  <a:pt x="188" y="96"/>
                </a:lnTo>
                <a:lnTo>
                  <a:pt x="184" y="96"/>
                </a:lnTo>
                <a:lnTo>
                  <a:pt x="180" y="98"/>
                </a:lnTo>
                <a:lnTo>
                  <a:pt x="178" y="102"/>
                </a:lnTo>
                <a:lnTo>
                  <a:pt x="178" y="106"/>
                </a:lnTo>
                <a:lnTo>
                  <a:pt x="178" y="106"/>
                </a:lnTo>
                <a:lnTo>
                  <a:pt x="176" y="112"/>
                </a:lnTo>
                <a:lnTo>
                  <a:pt x="172" y="118"/>
                </a:lnTo>
                <a:lnTo>
                  <a:pt x="166" y="124"/>
                </a:lnTo>
                <a:lnTo>
                  <a:pt x="158" y="124"/>
                </a:lnTo>
                <a:lnTo>
                  <a:pt x="158" y="124"/>
                </a:lnTo>
                <a:lnTo>
                  <a:pt x="154" y="126"/>
                </a:lnTo>
                <a:lnTo>
                  <a:pt x="150" y="128"/>
                </a:lnTo>
                <a:lnTo>
                  <a:pt x="148" y="130"/>
                </a:lnTo>
                <a:lnTo>
                  <a:pt x="148" y="134"/>
                </a:lnTo>
                <a:lnTo>
                  <a:pt x="148" y="134"/>
                </a:lnTo>
                <a:lnTo>
                  <a:pt x="148" y="138"/>
                </a:lnTo>
                <a:lnTo>
                  <a:pt x="150" y="142"/>
                </a:lnTo>
                <a:lnTo>
                  <a:pt x="154" y="144"/>
                </a:lnTo>
                <a:lnTo>
                  <a:pt x="158" y="144"/>
                </a:lnTo>
                <a:lnTo>
                  <a:pt x="158" y="144"/>
                </a:lnTo>
                <a:lnTo>
                  <a:pt x="170" y="142"/>
                </a:lnTo>
                <a:lnTo>
                  <a:pt x="182" y="136"/>
                </a:lnTo>
                <a:lnTo>
                  <a:pt x="190" y="126"/>
                </a:lnTo>
                <a:lnTo>
                  <a:pt x="196" y="114"/>
                </a:lnTo>
                <a:lnTo>
                  <a:pt x="196" y="114"/>
                </a:lnTo>
                <a:lnTo>
                  <a:pt x="208" y="112"/>
                </a:lnTo>
                <a:lnTo>
                  <a:pt x="222" y="106"/>
                </a:lnTo>
                <a:lnTo>
                  <a:pt x="232" y="100"/>
                </a:lnTo>
                <a:lnTo>
                  <a:pt x="242" y="90"/>
                </a:lnTo>
                <a:lnTo>
                  <a:pt x="250" y="80"/>
                </a:lnTo>
                <a:lnTo>
                  <a:pt x="256" y="68"/>
                </a:lnTo>
                <a:lnTo>
                  <a:pt x="258" y="56"/>
                </a:lnTo>
                <a:lnTo>
                  <a:pt x="260" y="42"/>
                </a:lnTo>
                <a:lnTo>
                  <a:pt x="260" y="42"/>
                </a:lnTo>
                <a:lnTo>
                  <a:pt x="260" y="38"/>
                </a:lnTo>
                <a:lnTo>
                  <a:pt x="258" y="36"/>
                </a:lnTo>
                <a:lnTo>
                  <a:pt x="254" y="34"/>
                </a:lnTo>
                <a:lnTo>
                  <a:pt x="250" y="32"/>
                </a:lnTo>
                <a:lnTo>
                  <a:pt x="250" y="32"/>
                </a:lnTo>
                <a:close/>
                <a:moveTo>
                  <a:pt x="158" y="10"/>
                </a:moveTo>
                <a:lnTo>
                  <a:pt x="158" y="10"/>
                </a:lnTo>
                <a:lnTo>
                  <a:pt x="158" y="6"/>
                </a:lnTo>
                <a:lnTo>
                  <a:pt x="156" y="2"/>
                </a:lnTo>
                <a:lnTo>
                  <a:pt x="152" y="0"/>
                </a:lnTo>
                <a:lnTo>
                  <a:pt x="148" y="0"/>
                </a:lnTo>
                <a:lnTo>
                  <a:pt x="148" y="0"/>
                </a:lnTo>
                <a:lnTo>
                  <a:pt x="144" y="0"/>
                </a:lnTo>
                <a:lnTo>
                  <a:pt x="142" y="2"/>
                </a:lnTo>
                <a:lnTo>
                  <a:pt x="138" y="6"/>
                </a:lnTo>
                <a:lnTo>
                  <a:pt x="138" y="10"/>
                </a:lnTo>
                <a:lnTo>
                  <a:pt x="138" y="10"/>
                </a:lnTo>
                <a:lnTo>
                  <a:pt x="138" y="16"/>
                </a:lnTo>
                <a:lnTo>
                  <a:pt x="136" y="22"/>
                </a:lnTo>
                <a:lnTo>
                  <a:pt x="132" y="26"/>
                </a:lnTo>
                <a:lnTo>
                  <a:pt x="128" y="32"/>
                </a:lnTo>
                <a:lnTo>
                  <a:pt x="128" y="32"/>
                </a:lnTo>
                <a:lnTo>
                  <a:pt x="124" y="36"/>
                </a:lnTo>
                <a:lnTo>
                  <a:pt x="118" y="38"/>
                </a:lnTo>
                <a:lnTo>
                  <a:pt x="112" y="40"/>
                </a:lnTo>
                <a:lnTo>
                  <a:pt x="106" y="42"/>
                </a:lnTo>
                <a:lnTo>
                  <a:pt x="106" y="42"/>
                </a:lnTo>
                <a:lnTo>
                  <a:pt x="106" y="42"/>
                </a:lnTo>
                <a:lnTo>
                  <a:pt x="102" y="42"/>
                </a:lnTo>
                <a:lnTo>
                  <a:pt x="100" y="44"/>
                </a:lnTo>
                <a:lnTo>
                  <a:pt x="98" y="48"/>
                </a:lnTo>
                <a:lnTo>
                  <a:pt x="96" y="52"/>
                </a:lnTo>
                <a:lnTo>
                  <a:pt x="96" y="52"/>
                </a:lnTo>
                <a:lnTo>
                  <a:pt x="98" y="56"/>
                </a:lnTo>
                <a:lnTo>
                  <a:pt x="100" y="58"/>
                </a:lnTo>
                <a:lnTo>
                  <a:pt x="102" y="60"/>
                </a:lnTo>
                <a:lnTo>
                  <a:pt x="106" y="62"/>
                </a:lnTo>
                <a:lnTo>
                  <a:pt x="106" y="62"/>
                </a:lnTo>
                <a:lnTo>
                  <a:pt x="106" y="62"/>
                </a:lnTo>
                <a:lnTo>
                  <a:pt x="106" y="62"/>
                </a:lnTo>
                <a:lnTo>
                  <a:pt x="116" y="60"/>
                </a:lnTo>
                <a:lnTo>
                  <a:pt x="126" y="58"/>
                </a:lnTo>
                <a:lnTo>
                  <a:pt x="136" y="52"/>
                </a:lnTo>
                <a:lnTo>
                  <a:pt x="142" y="46"/>
                </a:lnTo>
                <a:lnTo>
                  <a:pt x="142" y="46"/>
                </a:lnTo>
                <a:lnTo>
                  <a:pt x="150" y="38"/>
                </a:lnTo>
                <a:lnTo>
                  <a:pt x="154" y="30"/>
                </a:lnTo>
                <a:lnTo>
                  <a:pt x="158" y="20"/>
                </a:lnTo>
                <a:lnTo>
                  <a:pt x="158" y="10"/>
                </a:lnTo>
                <a:lnTo>
                  <a:pt x="158" y="10"/>
                </a:lnTo>
                <a:close/>
                <a:moveTo>
                  <a:pt x="330" y="268"/>
                </a:moveTo>
                <a:lnTo>
                  <a:pt x="330" y="190"/>
                </a:lnTo>
                <a:lnTo>
                  <a:pt x="242" y="258"/>
                </a:lnTo>
                <a:lnTo>
                  <a:pt x="242" y="190"/>
                </a:lnTo>
                <a:lnTo>
                  <a:pt x="154" y="258"/>
                </a:lnTo>
                <a:lnTo>
                  <a:pt x="148" y="258"/>
                </a:lnTo>
                <a:lnTo>
                  <a:pt x="122" y="258"/>
                </a:lnTo>
                <a:lnTo>
                  <a:pt x="128" y="252"/>
                </a:lnTo>
                <a:lnTo>
                  <a:pt x="146" y="240"/>
                </a:lnTo>
                <a:lnTo>
                  <a:pt x="140" y="172"/>
                </a:lnTo>
                <a:lnTo>
                  <a:pt x="140" y="172"/>
                </a:lnTo>
                <a:lnTo>
                  <a:pt x="140" y="168"/>
                </a:lnTo>
                <a:lnTo>
                  <a:pt x="138" y="164"/>
                </a:lnTo>
                <a:lnTo>
                  <a:pt x="134" y="162"/>
                </a:lnTo>
                <a:lnTo>
                  <a:pt x="130" y="162"/>
                </a:lnTo>
                <a:lnTo>
                  <a:pt x="118" y="162"/>
                </a:lnTo>
                <a:lnTo>
                  <a:pt x="118" y="162"/>
                </a:lnTo>
                <a:lnTo>
                  <a:pt x="114" y="162"/>
                </a:lnTo>
                <a:lnTo>
                  <a:pt x="112" y="164"/>
                </a:lnTo>
                <a:lnTo>
                  <a:pt x="110" y="168"/>
                </a:lnTo>
                <a:lnTo>
                  <a:pt x="108" y="172"/>
                </a:lnTo>
                <a:lnTo>
                  <a:pt x="100" y="258"/>
                </a:lnTo>
                <a:lnTo>
                  <a:pt x="82" y="258"/>
                </a:lnTo>
                <a:lnTo>
                  <a:pt x="66" y="110"/>
                </a:lnTo>
                <a:lnTo>
                  <a:pt x="66" y="110"/>
                </a:lnTo>
                <a:lnTo>
                  <a:pt x="66" y="106"/>
                </a:lnTo>
                <a:lnTo>
                  <a:pt x="64" y="104"/>
                </a:lnTo>
                <a:lnTo>
                  <a:pt x="60" y="102"/>
                </a:lnTo>
                <a:lnTo>
                  <a:pt x="56" y="100"/>
                </a:lnTo>
                <a:lnTo>
                  <a:pt x="44" y="100"/>
                </a:lnTo>
                <a:lnTo>
                  <a:pt x="44" y="100"/>
                </a:lnTo>
                <a:lnTo>
                  <a:pt x="40" y="102"/>
                </a:lnTo>
                <a:lnTo>
                  <a:pt x="38" y="104"/>
                </a:lnTo>
                <a:lnTo>
                  <a:pt x="36" y="106"/>
                </a:lnTo>
                <a:lnTo>
                  <a:pt x="34" y="110"/>
                </a:lnTo>
                <a:lnTo>
                  <a:pt x="18" y="258"/>
                </a:lnTo>
                <a:lnTo>
                  <a:pt x="10" y="258"/>
                </a:lnTo>
                <a:lnTo>
                  <a:pt x="10" y="258"/>
                </a:lnTo>
                <a:lnTo>
                  <a:pt x="6" y="260"/>
                </a:lnTo>
                <a:lnTo>
                  <a:pt x="2" y="262"/>
                </a:lnTo>
                <a:lnTo>
                  <a:pt x="0" y="264"/>
                </a:lnTo>
                <a:lnTo>
                  <a:pt x="0" y="268"/>
                </a:lnTo>
                <a:lnTo>
                  <a:pt x="0" y="340"/>
                </a:lnTo>
                <a:lnTo>
                  <a:pt x="0" y="340"/>
                </a:lnTo>
                <a:lnTo>
                  <a:pt x="0" y="344"/>
                </a:lnTo>
                <a:lnTo>
                  <a:pt x="2" y="348"/>
                </a:lnTo>
                <a:lnTo>
                  <a:pt x="6" y="350"/>
                </a:lnTo>
                <a:lnTo>
                  <a:pt x="10" y="350"/>
                </a:lnTo>
                <a:lnTo>
                  <a:pt x="320" y="350"/>
                </a:lnTo>
                <a:lnTo>
                  <a:pt x="320" y="350"/>
                </a:lnTo>
                <a:lnTo>
                  <a:pt x="324" y="350"/>
                </a:lnTo>
                <a:lnTo>
                  <a:pt x="328" y="348"/>
                </a:lnTo>
                <a:lnTo>
                  <a:pt x="330" y="344"/>
                </a:lnTo>
                <a:lnTo>
                  <a:pt x="330" y="340"/>
                </a:lnTo>
                <a:lnTo>
                  <a:pt x="330" y="268"/>
                </a:lnTo>
                <a:lnTo>
                  <a:pt x="330" y="268"/>
                </a:lnTo>
                <a:lnTo>
                  <a:pt x="330" y="268"/>
                </a:lnTo>
                <a:lnTo>
                  <a:pt x="330" y="268"/>
                </a:lnTo>
                <a:close/>
                <a:moveTo>
                  <a:pt x="76" y="314"/>
                </a:moveTo>
                <a:lnTo>
                  <a:pt x="22" y="314"/>
                </a:lnTo>
                <a:lnTo>
                  <a:pt x="22" y="288"/>
                </a:lnTo>
                <a:lnTo>
                  <a:pt x="76" y="288"/>
                </a:lnTo>
                <a:lnTo>
                  <a:pt x="76" y="314"/>
                </a:lnTo>
                <a:close/>
                <a:moveTo>
                  <a:pt x="154" y="314"/>
                </a:moveTo>
                <a:lnTo>
                  <a:pt x="100" y="314"/>
                </a:lnTo>
                <a:lnTo>
                  <a:pt x="100" y="288"/>
                </a:lnTo>
                <a:lnTo>
                  <a:pt x="154" y="288"/>
                </a:lnTo>
                <a:lnTo>
                  <a:pt x="154" y="314"/>
                </a:lnTo>
                <a:close/>
                <a:moveTo>
                  <a:pt x="232" y="314"/>
                </a:moveTo>
                <a:lnTo>
                  <a:pt x="176" y="314"/>
                </a:lnTo>
                <a:lnTo>
                  <a:pt x="176" y="288"/>
                </a:lnTo>
                <a:lnTo>
                  <a:pt x="232" y="288"/>
                </a:lnTo>
                <a:lnTo>
                  <a:pt x="232" y="314"/>
                </a:lnTo>
                <a:close/>
                <a:moveTo>
                  <a:pt x="308" y="314"/>
                </a:moveTo>
                <a:lnTo>
                  <a:pt x="254" y="314"/>
                </a:lnTo>
                <a:lnTo>
                  <a:pt x="254" y="288"/>
                </a:lnTo>
                <a:lnTo>
                  <a:pt x="308" y="288"/>
                </a:lnTo>
                <a:lnTo>
                  <a:pt x="308" y="31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6" name="Flowchart: Magnetic Disk 205"/>
          <p:cNvSpPr/>
          <p:nvPr/>
        </p:nvSpPr>
        <p:spPr>
          <a:xfrm>
            <a:off x="11153599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" name="Flowchart: Magnetic Disk 206"/>
          <p:cNvSpPr/>
          <p:nvPr/>
        </p:nvSpPr>
        <p:spPr>
          <a:xfrm>
            <a:off x="11589031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8" name="Flowchart: Magnetic Disk 207"/>
          <p:cNvSpPr/>
          <p:nvPr/>
        </p:nvSpPr>
        <p:spPr>
          <a:xfrm>
            <a:off x="12024464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9" name="Flowchart: Magnetic Disk 208"/>
          <p:cNvSpPr/>
          <p:nvPr/>
        </p:nvSpPr>
        <p:spPr>
          <a:xfrm>
            <a:off x="12459896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0" name="Flowchart: Magnetic Disk 209"/>
          <p:cNvSpPr/>
          <p:nvPr/>
        </p:nvSpPr>
        <p:spPr>
          <a:xfrm>
            <a:off x="12895329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1" name="Flowchart: Magnetic Disk 210"/>
          <p:cNvSpPr/>
          <p:nvPr/>
        </p:nvSpPr>
        <p:spPr>
          <a:xfrm>
            <a:off x="13330761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2" name="Flowchart: Magnetic Disk 211"/>
          <p:cNvSpPr/>
          <p:nvPr/>
        </p:nvSpPr>
        <p:spPr>
          <a:xfrm>
            <a:off x="13766193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3" name="Flowchart: Magnetic Disk 212"/>
          <p:cNvSpPr/>
          <p:nvPr/>
        </p:nvSpPr>
        <p:spPr>
          <a:xfrm>
            <a:off x="14201626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4" name="Flowchart: Magnetic Disk 213"/>
          <p:cNvSpPr/>
          <p:nvPr/>
        </p:nvSpPr>
        <p:spPr>
          <a:xfrm>
            <a:off x="14637058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5" name="Flowchart: Magnetic Disk 214"/>
          <p:cNvSpPr/>
          <p:nvPr/>
        </p:nvSpPr>
        <p:spPr>
          <a:xfrm>
            <a:off x="15072491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6" name="Flowchart: Magnetic Disk 215"/>
          <p:cNvSpPr/>
          <p:nvPr/>
        </p:nvSpPr>
        <p:spPr>
          <a:xfrm>
            <a:off x="15507923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7" name="Flowchart: Magnetic Disk 216"/>
          <p:cNvSpPr/>
          <p:nvPr/>
        </p:nvSpPr>
        <p:spPr>
          <a:xfrm>
            <a:off x="15943356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8" name="Flowchart: Magnetic Disk 217"/>
          <p:cNvSpPr/>
          <p:nvPr/>
        </p:nvSpPr>
        <p:spPr>
          <a:xfrm>
            <a:off x="16378788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9" name="Flowchart: Magnetic Disk 218"/>
          <p:cNvSpPr/>
          <p:nvPr/>
        </p:nvSpPr>
        <p:spPr>
          <a:xfrm>
            <a:off x="16814220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0" name="Flowchart: Magnetic Disk 219"/>
          <p:cNvSpPr/>
          <p:nvPr/>
        </p:nvSpPr>
        <p:spPr>
          <a:xfrm>
            <a:off x="17249653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1" name="Flowchart: Magnetic Disk 220"/>
          <p:cNvSpPr/>
          <p:nvPr/>
        </p:nvSpPr>
        <p:spPr>
          <a:xfrm>
            <a:off x="17685088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2" name="Flowchart: Magnetic Disk 221"/>
          <p:cNvSpPr/>
          <p:nvPr/>
        </p:nvSpPr>
        <p:spPr>
          <a:xfrm>
            <a:off x="11153599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3" name="Flowchart: Magnetic Disk 222"/>
          <p:cNvSpPr/>
          <p:nvPr/>
        </p:nvSpPr>
        <p:spPr>
          <a:xfrm>
            <a:off x="11589031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4" name="Flowchart: Magnetic Disk 223"/>
          <p:cNvSpPr/>
          <p:nvPr/>
        </p:nvSpPr>
        <p:spPr>
          <a:xfrm>
            <a:off x="12024464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5" name="Flowchart: Magnetic Disk 224"/>
          <p:cNvSpPr/>
          <p:nvPr/>
        </p:nvSpPr>
        <p:spPr>
          <a:xfrm>
            <a:off x="12459896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6" name="Flowchart: Magnetic Disk 225"/>
          <p:cNvSpPr/>
          <p:nvPr/>
        </p:nvSpPr>
        <p:spPr>
          <a:xfrm>
            <a:off x="12895329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7" name="Flowchart: Magnetic Disk 226"/>
          <p:cNvSpPr/>
          <p:nvPr/>
        </p:nvSpPr>
        <p:spPr>
          <a:xfrm>
            <a:off x="13330761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8" name="Flowchart: Magnetic Disk 227"/>
          <p:cNvSpPr/>
          <p:nvPr/>
        </p:nvSpPr>
        <p:spPr>
          <a:xfrm>
            <a:off x="13766193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9" name="Flowchart: Magnetic Disk 228"/>
          <p:cNvSpPr/>
          <p:nvPr/>
        </p:nvSpPr>
        <p:spPr>
          <a:xfrm>
            <a:off x="14201626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0" name="Flowchart: Magnetic Disk 229"/>
          <p:cNvSpPr/>
          <p:nvPr/>
        </p:nvSpPr>
        <p:spPr>
          <a:xfrm>
            <a:off x="14637058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1" name="Flowchart: Magnetic Disk 230"/>
          <p:cNvSpPr/>
          <p:nvPr/>
        </p:nvSpPr>
        <p:spPr>
          <a:xfrm>
            <a:off x="15072491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2" name="Flowchart: Magnetic Disk 231"/>
          <p:cNvSpPr/>
          <p:nvPr/>
        </p:nvSpPr>
        <p:spPr>
          <a:xfrm>
            <a:off x="15507923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3" name="Flowchart: Magnetic Disk 232"/>
          <p:cNvSpPr/>
          <p:nvPr/>
        </p:nvSpPr>
        <p:spPr>
          <a:xfrm>
            <a:off x="15943356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4" name="Flowchart: Magnetic Disk 233"/>
          <p:cNvSpPr/>
          <p:nvPr/>
        </p:nvSpPr>
        <p:spPr>
          <a:xfrm>
            <a:off x="16378788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5" name="Flowchart: Magnetic Disk 234"/>
          <p:cNvSpPr/>
          <p:nvPr/>
        </p:nvSpPr>
        <p:spPr>
          <a:xfrm>
            <a:off x="16814220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6" name="Flowchart: Magnetic Disk 235"/>
          <p:cNvSpPr/>
          <p:nvPr/>
        </p:nvSpPr>
        <p:spPr>
          <a:xfrm>
            <a:off x="17249653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7" name="Flowchart: Magnetic Disk 236"/>
          <p:cNvSpPr/>
          <p:nvPr/>
        </p:nvSpPr>
        <p:spPr>
          <a:xfrm>
            <a:off x="17685088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8" name="Flowchart: Magnetic Disk 237"/>
          <p:cNvSpPr/>
          <p:nvPr/>
        </p:nvSpPr>
        <p:spPr>
          <a:xfrm>
            <a:off x="18120523" y="572391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0" name="Flowchart: Magnetic Disk 239"/>
          <p:cNvSpPr/>
          <p:nvPr/>
        </p:nvSpPr>
        <p:spPr>
          <a:xfrm>
            <a:off x="18120523" y="622881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2" name="Flowchart: Magnetic Disk 241"/>
          <p:cNvSpPr/>
          <p:nvPr/>
        </p:nvSpPr>
        <p:spPr>
          <a:xfrm>
            <a:off x="18120523" y="6736197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4" name="Flowchart: Magnetic Disk 243"/>
          <p:cNvSpPr/>
          <p:nvPr/>
        </p:nvSpPr>
        <p:spPr>
          <a:xfrm>
            <a:off x="18120523" y="7241095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6" name="Flowchart: Magnetic Disk 245"/>
          <p:cNvSpPr/>
          <p:nvPr/>
        </p:nvSpPr>
        <p:spPr>
          <a:xfrm>
            <a:off x="18120523" y="774599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8" name="Flowchart: Magnetic Disk 247"/>
          <p:cNvSpPr/>
          <p:nvPr/>
        </p:nvSpPr>
        <p:spPr>
          <a:xfrm>
            <a:off x="18120523" y="825205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2" name="Flowchart: Magnetic Disk 251"/>
          <p:cNvSpPr/>
          <p:nvPr/>
        </p:nvSpPr>
        <p:spPr>
          <a:xfrm>
            <a:off x="18120523" y="875811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4" name="Flowchart: Magnetic Disk 253"/>
          <p:cNvSpPr/>
          <p:nvPr/>
        </p:nvSpPr>
        <p:spPr>
          <a:xfrm>
            <a:off x="18120523" y="9280083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6" name="Flowchart: Magnetic Disk 255"/>
          <p:cNvSpPr/>
          <p:nvPr/>
        </p:nvSpPr>
        <p:spPr>
          <a:xfrm>
            <a:off x="15507923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7" name="Flowchart: Magnetic Disk 256"/>
          <p:cNvSpPr/>
          <p:nvPr/>
        </p:nvSpPr>
        <p:spPr>
          <a:xfrm>
            <a:off x="15943356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8" name="Flowchart: Magnetic Disk 257"/>
          <p:cNvSpPr/>
          <p:nvPr/>
        </p:nvSpPr>
        <p:spPr>
          <a:xfrm>
            <a:off x="16378788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9" name="Flowchart: Magnetic Disk 258"/>
          <p:cNvSpPr/>
          <p:nvPr/>
        </p:nvSpPr>
        <p:spPr>
          <a:xfrm>
            <a:off x="16814220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0" name="Flowchart: Magnetic Disk 259"/>
          <p:cNvSpPr/>
          <p:nvPr/>
        </p:nvSpPr>
        <p:spPr>
          <a:xfrm>
            <a:off x="17249653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1" name="Flowchart: Magnetic Disk 260"/>
          <p:cNvSpPr/>
          <p:nvPr/>
        </p:nvSpPr>
        <p:spPr>
          <a:xfrm>
            <a:off x="17685088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2" name="Flowchart: Magnetic Disk 261"/>
          <p:cNvSpPr/>
          <p:nvPr/>
        </p:nvSpPr>
        <p:spPr>
          <a:xfrm>
            <a:off x="18120523" y="9786862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4" name="Flowchart: Magnetic Disk 263"/>
          <p:cNvSpPr/>
          <p:nvPr/>
        </p:nvSpPr>
        <p:spPr>
          <a:xfrm>
            <a:off x="15507923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5" name="Flowchart: Magnetic Disk 264"/>
          <p:cNvSpPr/>
          <p:nvPr/>
        </p:nvSpPr>
        <p:spPr>
          <a:xfrm>
            <a:off x="15943356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6" name="Flowchart: Magnetic Disk 265"/>
          <p:cNvSpPr/>
          <p:nvPr/>
        </p:nvSpPr>
        <p:spPr>
          <a:xfrm>
            <a:off x="16378788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7" name="Flowchart: Magnetic Disk 266"/>
          <p:cNvSpPr/>
          <p:nvPr/>
        </p:nvSpPr>
        <p:spPr>
          <a:xfrm>
            <a:off x="16814220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8" name="Flowchart: Magnetic Disk 267"/>
          <p:cNvSpPr/>
          <p:nvPr/>
        </p:nvSpPr>
        <p:spPr>
          <a:xfrm>
            <a:off x="17249653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9" name="Flowchart: Magnetic Disk 268"/>
          <p:cNvSpPr/>
          <p:nvPr/>
        </p:nvSpPr>
        <p:spPr>
          <a:xfrm>
            <a:off x="17685088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0" name="Flowchart: Magnetic Disk 269"/>
          <p:cNvSpPr/>
          <p:nvPr/>
        </p:nvSpPr>
        <p:spPr>
          <a:xfrm>
            <a:off x="18120523" y="10291758"/>
            <a:ext cx="297180" cy="351867"/>
          </a:xfrm>
          <a:prstGeom prst="flowChartMagneticDisk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2" name="Left Brace 271"/>
          <p:cNvSpPr/>
          <p:nvPr/>
        </p:nvSpPr>
        <p:spPr>
          <a:xfrm>
            <a:off x="6174347" y="4927690"/>
            <a:ext cx="183021" cy="4352392"/>
          </a:xfrm>
          <a:prstGeom prst="leftBrace">
            <a:avLst>
              <a:gd name="adj1" fmla="val 218583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3" name="Left Brace 272"/>
          <p:cNvSpPr/>
          <p:nvPr/>
        </p:nvSpPr>
        <p:spPr>
          <a:xfrm>
            <a:off x="6174347" y="9631950"/>
            <a:ext cx="183021" cy="2137471"/>
          </a:xfrm>
          <a:prstGeom prst="leftBrace">
            <a:avLst>
              <a:gd name="adj1" fmla="val 218583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4" name="Left Brace 273"/>
          <p:cNvSpPr/>
          <p:nvPr/>
        </p:nvSpPr>
        <p:spPr>
          <a:xfrm>
            <a:off x="6174347" y="3341764"/>
            <a:ext cx="183021" cy="1266058"/>
          </a:xfrm>
          <a:prstGeom prst="leftBrace">
            <a:avLst>
              <a:gd name="adj1" fmla="val 218583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5" name="Rectangle 274"/>
          <p:cNvSpPr/>
          <p:nvPr/>
        </p:nvSpPr>
        <p:spPr>
          <a:xfrm>
            <a:off x="11955339" y="7007602"/>
            <a:ext cx="3048024" cy="76909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registre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+ andre datakilder)</a:t>
            </a:r>
          </a:p>
        </p:txBody>
      </p:sp>
      <p:sp>
        <p:nvSpPr>
          <p:cNvPr id="239" name="Left Brace 238"/>
          <p:cNvSpPr/>
          <p:nvPr/>
        </p:nvSpPr>
        <p:spPr>
          <a:xfrm flipH="1">
            <a:off x="19375024" y="3376996"/>
            <a:ext cx="510373" cy="8427657"/>
          </a:xfrm>
          <a:prstGeom prst="leftBrace">
            <a:avLst>
              <a:gd name="adj1" fmla="val 218583"/>
              <a:gd name="adj2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1" name="Rectangle 240"/>
          <p:cNvSpPr/>
          <p:nvPr/>
        </p:nvSpPr>
        <p:spPr>
          <a:xfrm>
            <a:off x="20171725" y="6912130"/>
            <a:ext cx="3662249" cy="126605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ganisasjonsutvikling</a:t>
            </a:r>
          </a:p>
        </p:txBody>
      </p:sp>
      <p:pic>
        <p:nvPicPr>
          <p:cNvPr id="243" name="Picture 6" descr="http://clipartbarn.com/wp-content/uploads/2016/11/Puzzle-piece-clipart-hostted.png">
            <a:extLst>
              <a:ext uri="{FF2B5EF4-FFF2-40B4-BE49-F238E27FC236}">
                <a16:creationId xmlns:a16="http://schemas.microsoft.com/office/drawing/2014/main" id="{6D0D0A21-15AE-4115-AFEB-5E107F008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3145" y="6831034"/>
            <a:ext cx="747562" cy="644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108940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9C353D0-7BB1-4C25-9377-099F66DB35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for trenger vi en nasjonal plattform for helseanalyse?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09BA1CC-C104-47BE-9240-E195365F753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12</a:t>
            </a:fld>
            <a:endParaRPr lang="nb-NO" dirty="0"/>
          </a:p>
        </p:txBody>
      </p:sp>
      <p:pic>
        <p:nvPicPr>
          <p:cNvPr id="5" name="Picture 2" descr="Related image">
            <a:extLst>
              <a:ext uri="{FF2B5EF4-FFF2-40B4-BE49-F238E27FC236}">
                <a16:creationId xmlns:a16="http://schemas.microsoft.com/office/drawing/2014/main" id="{188D4606-01EB-44ED-A832-72D380A0B7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598" y="3658341"/>
            <a:ext cx="4156556" cy="5264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Bilderesultat for bureaucracy">
            <a:extLst>
              <a:ext uri="{FF2B5EF4-FFF2-40B4-BE49-F238E27FC236}">
                <a16:creationId xmlns:a16="http://schemas.microsoft.com/office/drawing/2014/main" id="{BD81A56E-3EF1-41B3-92F7-037215874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4080" y="2993154"/>
            <a:ext cx="6294638" cy="3664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50898E2F-3051-4C43-8F17-364A85377E22}"/>
              </a:ext>
            </a:extLst>
          </p:cNvPr>
          <p:cNvSpPr txBox="1">
            <a:spLocks/>
          </p:cNvSpPr>
          <p:nvPr/>
        </p:nvSpPr>
        <p:spPr>
          <a:xfrm>
            <a:off x="8636598" y="2781523"/>
            <a:ext cx="4156556" cy="88644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3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400" b="0" dirty="0"/>
              <a:t>Det må bli enklere å finne frem til riktige data enn det er i da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CF333426-3106-4A4B-9EE2-28F3319703AD}"/>
              </a:ext>
            </a:extLst>
          </p:cNvPr>
          <p:cNvSpPr txBox="1">
            <a:spLocks/>
          </p:cNvSpPr>
          <p:nvPr/>
        </p:nvSpPr>
        <p:spPr>
          <a:xfrm>
            <a:off x="14014080" y="6657924"/>
            <a:ext cx="6294638" cy="88644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3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400" b="0" dirty="0"/>
              <a:t>Det må bli enklere for brukere å få tilgang til data for legitime formål enn det er i dag </a:t>
            </a:r>
          </a:p>
        </p:txBody>
      </p:sp>
      <p:pic>
        <p:nvPicPr>
          <p:cNvPr id="210946" name="Picture 2" descr="Bilderesultat for happy people">
            <a:extLst>
              <a:ext uri="{FF2B5EF4-FFF2-40B4-BE49-F238E27FC236}">
                <a16:creationId xmlns:a16="http://schemas.microsoft.com/office/drawing/2014/main" id="{0EB8C8B7-4C4E-4C17-847C-6322B0237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178" y="2649543"/>
            <a:ext cx="5975494" cy="398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tel 1">
            <a:extLst>
              <a:ext uri="{FF2B5EF4-FFF2-40B4-BE49-F238E27FC236}">
                <a16:creationId xmlns:a16="http://schemas.microsoft.com/office/drawing/2014/main" id="{D7911BE5-F73C-40F1-B95F-91E0386DBA68}"/>
              </a:ext>
            </a:extLst>
          </p:cNvPr>
          <p:cNvSpPr txBox="1">
            <a:spLocks/>
          </p:cNvSpPr>
          <p:nvPr/>
        </p:nvSpPr>
        <p:spPr>
          <a:xfrm>
            <a:off x="1440177" y="6681446"/>
            <a:ext cx="5975495" cy="886448"/>
          </a:xfrm>
          <a:prstGeom prst="rect">
            <a:avLst/>
          </a:prstGeom>
        </p:spPr>
        <p:txBody>
          <a:bodyPr vert="horz" lIns="0" tIns="0" rIns="0" bIns="0" rtlCol="0" anchor="ctr" anchorCtr="0">
            <a:normAutofit lnSpcReduction="10000"/>
          </a:bodyPr>
          <a:lstStyle>
            <a:lvl1pPr algn="l" defTabSz="18283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400" b="0" dirty="0"/>
              <a:t>Det må bli enklere for innbyggere å få innsikt i egne helsedata og personvernet må styrkes</a:t>
            </a:r>
          </a:p>
        </p:txBody>
      </p:sp>
      <p:pic>
        <p:nvPicPr>
          <p:cNvPr id="210948" name="Picture 4" descr="Bilderesultat for mer penger">
            <a:extLst>
              <a:ext uri="{FF2B5EF4-FFF2-40B4-BE49-F238E27FC236}">
                <a16:creationId xmlns:a16="http://schemas.microsoft.com/office/drawing/2014/main" id="{CB611DFF-4AC5-4790-9F9E-34F032103B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463" y="8272088"/>
            <a:ext cx="5693935" cy="3224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E8F96090-4C41-44D2-A932-553BEEE5E758}"/>
              </a:ext>
            </a:extLst>
          </p:cNvPr>
          <p:cNvSpPr txBox="1">
            <a:spLocks/>
          </p:cNvSpPr>
          <p:nvPr/>
        </p:nvSpPr>
        <p:spPr>
          <a:xfrm>
            <a:off x="1509463" y="11053055"/>
            <a:ext cx="5693935" cy="88644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3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400" b="0" dirty="0"/>
              <a:t>Vi må bruke ressursene våre smartere</a:t>
            </a:r>
          </a:p>
        </p:txBody>
      </p:sp>
      <p:pic>
        <p:nvPicPr>
          <p:cNvPr id="210952" name="Picture 8" descr="Bilderesultat for siloer">
            <a:extLst>
              <a:ext uri="{FF2B5EF4-FFF2-40B4-BE49-F238E27FC236}">
                <a16:creationId xmlns:a16="http://schemas.microsoft.com/office/drawing/2014/main" id="{21107E96-FE66-4E05-B0FD-EBD550B86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13399" y="8024569"/>
            <a:ext cx="5925362" cy="2981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tel 1">
            <a:extLst>
              <a:ext uri="{FF2B5EF4-FFF2-40B4-BE49-F238E27FC236}">
                <a16:creationId xmlns:a16="http://schemas.microsoft.com/office/drawing/2014/main" id="{8DDFDC4C-432D-45BC-8C70-0C0A9CC327A5}"/>
              </a:ext>
            </a:extLst>
          </p:cNvPr>
          <p:cNvSpPr txBox="1">
            <a:spLocks/>
          </p:cNvSpPr>
          <p:nvPr/>
        </p:nvSpPr>
        <p:spPr>
          <a:xfrm>
            <a:off x="14113399" y="11005767"/>
            <a:ext cx="5925362" cy="88644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3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b-NO" sz="2400" b="0" dirty="0"/>
              <a:t>Vi har alt å hente på tettere tverrsektorielt samarbeid og ved å bryte ned siloene</a:t>
            </a:r>
          </a:p>
        </p:txBody>
      </p:sp>
      <p:sp>
        <p:nvSpPr>
          <p:cNvPr id="19" name="Tittel 1">
            <a:extLst>
              <a:ext uri="{FF2B5EF4-FFF2-40B4-BE49-F238E27FC236}">
                <a16:creationId xmlns:a16="http://schemas.microsoft.com/office/drawing/2014/main" id="{E8F96090-4C41-44D2-A932-553BEEE5E758}"/>
              </a:ext>
            </a:extLst>
          </p:cNvPr>
          <p:cNvSpPr txBox="1">
            <a:spLocks/>
          </p:cNvSpPr>
          <p:nvPr/>
        </p:nvSpPr>
        <p:spPr>
          <a:xfrm>
            <a:off x="7811431" y="11448991"/>
            <a:ext cx="5693935" cy="2267009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3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nb-NO" sz="2400" b="0" dirty="0"/>
          </a:p>
          <a:p>
            <a:pPr algn="ctr"/>
            <a:r>
              <a:rPr lang="nb-NO" sz="2400" b="0" dirty="0"/>
              <a:t>Vi må utnytte mulighetene ved ny teknologi til å skape bedre folkehelse!</a:t>
            </a:r>
          </a:p>
        </p:txBody>
      </p:sp>
      <p:pic>
        <p:nvPicPr>
          <p:cNvPr id="228356" name="Picture 4" descr="Bilderesultat for kunstig intelligens">
            <a:extLst>
              <a:ext uri="{FF2B5EF4-FFF2-40B4-BE49-F238E27FC236}">
                <a16:creationId xmlns:a16="http://schemas.microsoft.com/office/drawing/2014/main" id="{988ED389-F848-4D5D-BDE3-69C292D16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0069" y="9742868"/>
            <a:ext cx="5673208" cy="2525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56751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3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2" grpId="0"/>
      <p:bldP spid="16" grpId="0"/>
      <p:bldP spid="20" grpId="0"/>
      <p:bldP spid="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entagon 4"/>
          <p:cNvSpPr/>
          <p:nvPr/>
        </p:nvSpPr>
        <p:spPr>
          <a:xfrm>
            <a:off x="1599157" y="1112833"/>
            <a:ext cx="12213596" cy="11490335"/>
          </a:xfrm>
          <a:prstGeom prst="homePlate">
            <a:avLst>
              <a:gd name="adj" fmla="val 10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6000"/>
          </a:p>
        </p:txBody>
      </p:sp>
      <p:grpSp>
        <p:nvGrpSpPr>
          <p:cNvPr id="7" name="Group 6"/>
          <p:cNvGrpSpPr/>
          <p:nvPr/>
        </p:nvGrpSpPr>
        <p:grpSpPr>
          <a:xfrm>
            <a:off x="1599157" y="1112833"/>
            <a:ext cx="3871396" cy="11490335"/>
            <a:chOff x="959556" y="498670"/>
            <a:chExt cx="2322989" cy="6894650"/>
          </a:xfrm>
        </p:grpSpPr>
        <p:pic>
          <p:nvPicPr>
            <p:cNvPr id="10" name="Bild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59556" y="498670"/>
              <a:ext cx="2318429" cy="328363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" cap="sq">
              <a:solidFill>
                <a:schemeClr val="tx1"/>
              </a:solidFill>
              <a:miter lim="800000"/>
            </a:ln>
            <a:effectLst>
              <a:outerShdw blurRad="50800" dist="406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1" name="Bild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9556" y="4109685"/>
              <a:ext cx="2322989" cy="328363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" cap="sq">
              <a:solidFill>
                <a:schemeClr val="tx1"/>
              </a:solidFill>
              <a:miter lim="800000"/>
            </a:ln>
            <a:effectLst>
              <a:outerShdw blurRad="50800" dist="4064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l="67908" t="20052" r="19071" b="13575"/>
          <a:stretch/>
        </p:blipFill>
        <p:spPr>
          <a:xfrm>
            <a:off x="6337378" y="4121817"/>
            <a:ext cx="3817130" cy="5472369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chemeClr val="tx1"/>
            </a:solidFill>
            <a:miter lim="800000"/>
          </a:ln>
          <a:effectLst>
            <a:outerShdw blurRad="50800" dist="406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820351" y="831509"/>
            <a:ext cx="8187724" cy="11490335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chemeClr val="tx1"/>
            </a:solidFill>
            <a:miter lim="800000"/>
          </a:ln>
          <a:effectLst>
            <a:outerShdw blurRad="50800" dist="4064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432963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4">
            <a:extLst>
              <a:ext uri="{FF2B5EF4-FFF2-40B4-BE49-F238E27FC236}">
                <a16:creationId xmlns:a16="http://schemas.microsoft.com/office/drawing/2014/main" id="{1CB206A6-3975-49C4-8F1E-05DABB4E0F27}"/>
              </a:ext>
            </a:extLst>
          </p:cNvPr>
          <p:cNvSpPr/>
          <p:nvPr/>
        </p:nvSpPr>
        <p:spPr>
          <a:xfrm>
            <a:off x="7643325" y="2376716"/>
            <a:ext cx="9501889" cy="181053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360 MILL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ftskostnader og investeringer i helseregistre og kvalitetsregistre i 2017</a:t>
            </a: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1CB206A6-3975-49C4-8F1E-05DABB4E0F27}"/>
              </a:ext>
            </a:extLst>
          </p:cNvPr>
          <p:cNvSpPr/>
          <p:nvPr/>
        </p:nvSpPr>
        <p:spPr>
          <a:xfrm>
            <a:off x="7643325" y="6561394"/>
            <a:ext cx="9501889" cy="181053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,4 MR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fentlige helsekroner til FoU i 2017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A5767CE-6BDB-46D6-AAB0-1EF97E3C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Det investeres betydelig i helse og helseforskning</a:t>
            </a: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FCA9E2B-A9C6-40AE-BF7A-2368FA7E510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de </a:t>
            </a:r>
            <a:fld id="{5751DFAA-887F-4071-8EAD-E8CA316FCF06}" type="slidenum">
              <a:rPr kumimoji="0" lang="nb-NO" sz="2000" b="0" i="0" u="none" strike="noStrike" kern="1200" cap="none" spc="0" normalizeH="0" baseline="0" noProof="0" smtClean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919D16B3-1533-4BF4-ACBC-39F30C3636A4}"/>
              </a:ext>
            </a:extLst>
          </p:cNvPr>
          <p:cNvSpPr/>
          <p:nvPr/>
        </p:nvSpPr>
        <p:spPr>
          <a:xfrm>
            <a:off x="7643325" y="10746072"/>
            <a:ext cx="9501889" cy="181053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 860 MRD 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funnskostnader ved sykdom og ulykker i 2013</a:t>
            </a:r>
          </a:p>
        </p:txBody>
      </p:sp>
      <p:sp>
        <p:nvSpPr>
          <p:cNvPr id="8" name="Rectangle 4">
            <a:extLst>
              <a:ext uri="{FF2B5EF4-FFF2-40B4-BE49-F238E27FC236}">
                <a16:creationId xmlns:a16="http://schemas.microsoft.com/office/drawing/2014/main" id="{6AA20ACB-5B23-408B-A68C-104CE814D469}"/>
              </a:ext>
            </a:extLst>
          </p:cNvPr>
          <p:cNvSpPr/>
          <p:nvPr/>
        </p:nvSpPr>
        <p:spPr>
          <a:xfrm>
            <a:off x="7643325" y="4469055"/>
            <a:ext cx="9501889" cy="181053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,2 MR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esteringer i forskningsinfrastrukturer 2010-2016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1CB206A6-3975-49C4-8F1E-05DABB4E0F27}"/>
              </a:ext>
            </a:extLst>
          </p:cNvPr>
          <p:cNvSpPr/>
          <p:nvPr/>
        </p:nvSpPr>
        <p:spPr>
          <a:xfrm>
            <a:off x="7643325" y="8653733"/>
            <a:ext cx="9501889" cy="1810539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42 MR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fentlige </a:t>
            </a: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utgifter i 2017</a:t>
            </a:r>
          </a:p>
        </p:txBody>
      </p:sp>
    </p:spTree>
    <p:extLst>
      <p:ext uri="{BB962C8B-B14F-4D97-AF65-F5344CB8AC3E}">
        <p14:creationId xmlns:p14="http://schemas.microsoft.com/office/powerpoint/2010/main" val="88325925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A81112B-1A91-4807-894D-B8E304F3B450}"/>
              </a:ext>
            </a:extLst>
          </p:cNvPr>
          <p:cNvSpPr/>
          <p:nvPr/>
        </p:nvSpPr>
        <p:spPr>
          <a:xfrm>
            <a:off x="265449" y="3806944"/>
            <a:ext cx="23846882" cy="766385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33" name="Tittel 32">
            <a:extLst>
              <a:ext uri="{FF2B5EF4-FFF2-40B4-BE49-F238E27FC236}">
                <a16:creationId xmlns:a16="http://schemas.microsoft.com/office/drawing/2014/main" id="{170D273D-E8C0-4808-9410-224D11BC6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rosessen fra alle mulige konsepter til det anbefalte konseptet har gått gjennom flere filtreringsrun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1971007" y="13069634"/>
            <a:ext cx="1436097" cy="369332"/>
          </a:xfrm>
        </p:spPr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2" name="Rectangle 1"/>
          <p:cNvSpPr/>
          <p:nvPr/>
        </p:nvSpPr>
        <p:spPr>
          <a:xfrm>
            <a:off x="525800" y="4851853"/>
            <a:ext cx="4831550" cy="14114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dirty="0"/>
              <a:t>13 konsepter har blitt utarbeidet med utgangspunkt i mulighetsdimensjonene</a:t>
            </a:r>
          </a:p>
        </p:txBody>
      </p:sp>
      <p:sp>
        <p:nvSpPr>
          <p:cNvPr id="5" name="Rectangle 4"/>
          <p:cNvSpPr/>
          <p:nvPr/>
        </p:nvSpPr>
        <p:spPr>
          <a:xfrm>
            <a:off x="6559335" y="4851853"/>
            <a:ext cx="4831550" cy="14114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dirty="0"/>
              <a:t>7 konsepter består de absolutte kravene og representerer nok ulikheter til å vurderes videre</a:t>
            </a:r>
          </a:p>
        </p:txBody>
      </p:sp>
      <p:sp>
        <p:nvSpPr>
          <p:cNvPr id="6" name="Rectangle 5"/>
          <p:cNvSpPr/>
          <p:nvPr/>
        </p:nvSpPr>
        <p:spPr>
          <a:xfrm>
            <a:off x="12592869" y="4851853"/>
            <a:ext cx="4831550" cy="14114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dirty="0"/>
              <a:t>4 konsepter videreført i en samfunnsøkonomisk analyse</a:t>
            </a:r>
          </a:p>
        </p:txBody>
      </p:sp>
      <p:sp>
        <p:nvSpPr>
          <p:cNvPr id="3" name="Right Arrow 2"/>
          <p:cNvSpPr/>
          <p:nvPr/>
        </p:nvSpPr>
        <p:spPr>
          <a:xfrm>
            <a:off x="5622390" y="5316547"/>
            <a:ext cx="671905" cy="48203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ctangle 7"/>
          <p:cNvSpPr/>
          <p:nvPr/>
        </p:nvSpPr>
        <p:spPr>
          <a:xfrm>
            <a:off x="523518" y="3806944"/>
            <a:ext cx="4069976" cy="824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nb-NO" sz="2800" b="1" dirty="0">
                <a:solidFill>
                  <a:schemeClr val="tx1"/>
                </a:solidFill>
              </a:rPr>
              <a:t>Utarbeidede konsepter</a:t>
            </a:r>
          </a:p>
        </p:txBody>
      </p:sp>
      <p:sp>
        <p:nvSpPr>
          <p:cNvPr id="9" name="Rectangle 8"/>
          <p:cNvSpPr/>
          <p:nvPr/>
        </p:nvSpPr>
        <p:spPr>
          <a:xfrm>
            <a:off x="6557052" y="3806944"/>
            <a:ext cx="4069976" cy="824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nb-NO" sz="2800" b="1" dirty="0">
                <a:solidFill>
                  <a:schemeClr val="tx1"/>
                </a:solidFill>
              </a:rPr>
              <a:t>Evaluerte konsepter</a:t>
            </a:r>
          </a:p>
        </p:txBody>
      </p:sp>
      <p:sp>
        <p:nvSpPr>
          <p:cNvPr id="10" name="Rectangle 9"/>
          <p:cNvSpPr/>
          <p:nvPr/>
        </p:nvSpPr>
        <p:spPr>
          <a:xfrm>
            <a:off x="12590586" y="3806944"/>
            <a:ext cx="4069976" cy="824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nb-NO" sz="2800" b="1" dirty="0">
                <a:solidFill>
                  <a:schemeClr val="tx1"/>
                </a:solidFill>
              </a:rPr>
              <a:t>Nedvalg konsepter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525800" y="4636697"/>
            <a:ext cx="48312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2592869" y="4636697"/>
            <a:ext cx="48312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559685" y="4636697"/>
            <a:ext cx="48312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25800" y="6379969"/>
            <a:ext cx="4960274" cy="509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400" dirty="0">
                <a:solidFill>
                  <a:schemeClr val="tx1"/>
                </a:solidFill>
              </a:rPr>
              <a:t>K1: Helsedataportal</a:t>
            </a:r>
          </a:p>
          <a:p>
            <a:r>
              <a:rPr lang="nb-NO" sz="2400" dirty="0">
                <a:solidFill>
                  <a:schemeClr val="tx1"/>
                </a:solidFill>
              </a:rPr>
              <a:t>K2: Forskermaskinen</a:t>
            </a:r>
          </a:p>
          <a:p>
            <a:r>
              <a:rPr lang="nb-NO" sz="2400" dirty="0">
                <a:solidFill>
                  <a:schemeClr val="tx1"/>
                </a:solidFill>
              </a:rPr>
              <a:t>K3: Analysero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4: Registerkonsolidering</a:t>
            </a:r>
          </a:p>
          <a:p>
            <a:r>
              <a:rPr lang="nb-NO" sz="2400" dirty="0">
                <a:solidFill>
                  <a:schemeClr val="tx1"/>
                </a:solidFill>
              </a:rPr>
              <a:t>K5: Analyseinfrastruktur</a:t>
            </a:r>
          </a:p>
          <a:p>
            <a:r>
              <a:rPr lang="nb-NO" sz="2400" dirty="0">
                <a:solidFill>
                  <a:schemeClr val="tx1"/>
                </a:solidFill>
              </a:rPr>
              <a:t>K6: Helsedataplattfor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7: Analyseøkosyste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8: Lovendringer</a:t>
            </a:r>
          </a:p>
          <a:p>
            <a:r>
              <a:rPr lang="nb-NO" sz="2400" dirty="0">
                <a:solidFill>
                  <a:schemeClr val="tx1"/>
                </a:solidFill>
              </a:rPr>
              <a:t>K9: Helseregisterbemanning</a:t>
            </a:r>
          </a:p>
          <a:p>
            <a:r>
              <a:rPr lang="nb-NO" sz="2400" dirty="0">
                <a:solidFill>
                  <a:schemeClr val="tx1"/>
                </a:solidFill>
              </a:rPr>
              <a:t>K10: Utleveringsplattfor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11: PAS/EPJ-analyseplattfor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12: Statistikkbank</a:t>
            </a:r>
          </a:p>
          <a:p>
            <a:r>
              <a:rPr lang="nb-NO" sz="2400" dirty="0">
                <a:solidFill>
                  <a:schemeClr val="tx1"/>
                </a:solidFill>
              </a:rPr>
              <a:t>K13: Tilgjengeliggjøringsplattform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559335" y="6379969"/>
            <a:ext cx="4831550" cy="509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400" dirty="0">
                <a:solidFill>
                  <a:schemeClr val="tx1"/>
                </a:solidFill>
              </a:rPr>
              <a:t>K1: Helsedataportal</a:t>
            </a:r>
          </a:p>
          <a:p>
            <a:r>
              <a:rPr lang="nb-NO" sz="2400" dirty="0">
                <a:solidFill>
                  <a:schemeClr val="tx1"/>
                </a:solidFill>
              </a:rPr>
              <a:t>K2: Forskermaskinen</a:t>
            </a:r>
          </a:p>
          <a:p>
            <a:r>
              <a:rPr lang="nb-NO" sz="2400" dirty="0">
                <a:solidFill>
                  <a:schemeClr val="tx1"/>
                </a:solidFill>
              </a:rPr>
              <a:t>K3: Analysero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4: Registerkonsolidering</a:t>
            </a:r>
          </a:p>
          <a:p>
            <a:r>
              <a:rPr lang="nb-NO" sz="2400" dirty="0">
                <a:solidFill>
                  <a:schemeClr val="tx1"/>
                </a:solidFill>
              </a:rPr>
              <a:t>K5: Analyseinfrastruktur</a:t>
            </a:r>
          </a:p>
          <a:p>
            <a:r>
              <a:rPr lang="nb-NO" sz="2400" dirty="0">
                <a:solidFill>
                  <a:schemeClr val="tx1"/>
                </a:solidFill>
              </a:rPr>
              <a:t>K6: Helsedataplattfor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7: Analyseøkosystem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2592519" y="6379969"/>
            <a:ext cx="4831550" cy="509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400" dirty="0">
                <a:solidFill>
                  <a:schemeClr val="tx1"/>
                </a:solidFill>
              </a:rPr>
              <a:t>K1: Helsedataportal</a:t>
            </a:r>
          </a:p>
          <a:p>
            <a:r>
              <a:rPr lang="nb-NO" sz="2400" dirty="0">
                <a:solidFill>
                  <a:schemeClr val="tx1"/>
                </a:solidFill>
              </a:rPr>
              <a:t>K4: Registerkonsolidering</a:t>
            </a:r>
          </a:p>
          <a:p>
            <a:r>
              <a:rPr lang="nb-NO" sz="2400" dirty="0">
                <a:solidFill>
                  <a:schemeClr val="tx1"/>
                </a:solidFill>
              </a:rPr>
              <a:t>K6: Helsedataplattform</a:t>
            </a:r>
          </a:p>
          <a:p>
            <a:r>
              <a:rPr lang="nb-NO" sz="2400" dirty="0">
                <a:solidFill>
                  <a:schemeClr val="tx1"/>
                </a:solidFill>
              </a:rPr>
              <a:t>K7: Analyseøkosystem</a:t>
            </a:r>
          </a:p>
        </p:txBody>
      </p:sp>
      <p:sp>
        <p:nvSpPr>
          <p:cNvPr id="20" name="Right Arrow 2">
            <a:extLst>
              <a:ext uri="{FF2B5EF4-FFF2-40B4-BE49-F238E27FC236}">
                <a16:creationId xmlns:a16="http://schemas.microsoft.com/office/drawing/2014/main" id="{81BA8292-9123-4EE3-9016-2F899D6964E1}"/>
              </a:ext>
            </a:extLst>
          </p:cNvPr>
          <p:cNvSpPr/>
          <p:nvPr/>
        </p:nvSpPr>
        <p:spPr>
          <a:xfrm>
            <a:off x="11655924" y="5316547"/>
            <a:ext cx="671905" cy="48203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B3284203-3449-4513-98DC-6B4083EDAAC3}"/>
              </a:ext>
            </a:extLst>
          </p:cNvPr>
          <p:cNvSpPr/>
          <p:nvPr/>
        </p:nvSpPr>
        <p:spPr>
          <a:xfrm>
            <a:off x="18680517" y="4851853"/>
            <a:ext cx="4831550" cy="14114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dirty="0"/>
              <a:t>1 anbefalt konsept</a:t>
            </a: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8BACFF20-EDC5-4297-907A-710EAB5B7928}"/>
              </a:ext>
            </a:extLst>
          </p:cNvPr>
          <p:cNvSpPr/>
          <p:nvPr/>
        </p:nvSpPr>
        <p:spPr>
          <a:xfrm>
            <a:off x="18678234" y="3806944"/>
            <a:ext cx="4069976" cy="824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nb-NO" sz="2800" b="1" dirty="0">
                <a:solidFill>
                  <a:schemeClr val="tx1"/>
                </a:solidFill>
              </a:rPr>
              <a:t>Anbefalt konsept</a:t>
            </a:r>
          </a:p>
        </p:txBody>
      </p:sp>
      <p:cxnSp>
        <p:nvCxnSpPr>
          <p:cNvPr id="21" name="Straight Connector 12">
            <a:extLst>
              <a:ext uri="{FF2B5EF4-FFF2-40B4-BE49-F238E27FC236}">
                <a16:creationId xmlns:a16="http://schemas.microsoft.com/office/drawing/2014/main" id="{321DDB48-09A2-40F0-AE17-135C91B5BE05}"/>
              </a:ext>
            </a:extLst>
          </p:cNvPr>
          <p:cNvCxnSpPr/>
          <p:nvPr/>
        </p:nvCxnSpPr>
        <p:spPr>
          <a:xfrm>
            <a:off x="18680517" y="4636697"/>
            <a:ext cx="48312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16">
            <a:extLst>
              <a:ext uri="{FF2B5EF4-FFF2-40B4-BE49-F238E27FC236}">
                <a16:creationId xmlns:a16="http://schemas.microsoft.com/office/drawing/2014/main" id="{ACA2BF4D-4F54-4B5C-BFCF-CDC4946A4836}"/>
              </a:ext>
            </a:extLst>
          </p:cNvPr>
          <p:cNvSpPr/>
          <p:nvPr/>
        </p:nvSpPr>
        <p:spPr>
          <a:xfrm>
            <a:off x="18680167" y="6379969"/>
            <a:ext cx="4831550" cy="5090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400" dirty="0">
                <a:solidFill>
                  <a:schemeClr val="tx1"/>
                </a:solidFill>
              </a:rPr>
              <a:t>K7: Analyseøkosystem</a:t>
            </a:r>
          </a:p>
        </p:txBody>
      </p:sp>
      <p:sp>
        <p:nvSpPr>
          <p:cNvPr id="23" name="Right Arrow 2">
            <a:extLst>
              <a:ext uri="{FF2B5EF4-FFF2-40B4-BE49-F238E27FC236}">
                <a16:creationId xmlns:a16="http://schemas.microsoft.com/office/drawing/2014/main" id="{D6F40E15-4693-41BF-B57B-4C1B768D9F7B}"/>
              </a:ext>
            </a:extLst>
          </p:cNvPr>
          <p:cNvSpPr/>
          <p:nvPr/>
        </p:nvSpPr>
        <p:spPr>
          <a:xfrm>
            <a:off x="17743572" y="5316547"/>
            <a:ext cx="671905" cy="482039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5DE48616-58E1-432F-947A-F3DC327F616B}"/>
              </a:ext>
            </a:extLst>
          </p:cNvPr>
          <p:cNvSpPr/>
          <p:nvPr/>
        </p:nvSpPr>
        <p:spPr>
          <a:xfrm>
            <a:off x="12464146" y="3975548"/>
            <a:ext cx="11227127" cy="4503433"/>
          </a:xfrm>
          <a:prstGeom prst="roundRect">
            <a:avLst/>
          </a:prstGeom>
          <a:noFill/>
          <a:ln w="539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78197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befalingen oppsumme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16</a:t>
            </a:fld>
            <a:endParaRPr lang="nb-NO" dirty="0"/>
          </a:p>
        </p:txBody>
      </p:sp>
      <p:grpSp>
        <p:nvGrpSpPr>
          <p:cNvPr id="28" name="Group 27"/>
          <p:cNvGrpSpPr/>
          <p:nvPr/>
        </p:nvGrpSpPr>
        <p:grpSpPr>
          <a:xfrm>
            <a:off x="2036868" y="2798753"/>
            <a:ext cx="19287630" cy="1243806"/>
            <a:chOff x="2036868" y="2798753"/>
            <a:chExt cx="19287630" cy="1243806"/>
          </a:xfrm>
        </p:grpSpPr>
        <p:sp>
          <p:nvSpPr>
            <p:cNvPr id="6" name="Rektangel 22">
              <a:extLst>
                <a:ext uri="{FF2B5EF4-FFF2-40B4-BE49-F238E27FC236}">
                  <a16:creationId xmlns:a16="http://schemas.microsoft.com/office/drawing/2014/main" id="{E09AA1F3-5EE1-4615-8E7C-FC9C6CB054AA}"/>
                </a:ext>
              </a:extLst>
            </p:cNvPr>
            <p:cNvSpPr/>
            <p:nvPr/>
          </p:nvSpPr>
          <p:spPr>
            <a:xfrm>
              <a:off x="2645674" y="2798753"/>
              <a:ext cx="18678824" cy="124380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810000" rtlCol="0" anchor="ctr"/>
            <a:lstStyle/>
            <a:p>
              <a:r>
                <a:rPr lang="nb-NO" sz="3200" dirty="0">
                  <a:solidFill>
                    <a:schemeClr val="tx1"/>
                  </a:solidFill>
                </a:rPr>
                <a:t>Det etableres digitale tjenester for </a:t>
              </a:r>
              <a:r>
                <a:rPr lang="nb-NO" sz="3200" b="1" dirty="0">
                  <a:solidFill>
                    <a:schemeClr val="tx1"/>
                  </a:solidFill>
                </a:rPr>
                <a:t>forskere, registerforvaltere, myndigheter, innbyggere, helsepersonell og næringslivet</a:t>
              </a:r>
            </a:p>
          </p:txBody>
        </p:sp>
        <p:sp>
          <p:nvSpPr>
            <p:cNvPr id="8" name="Ellipse 17">
              <a:extLst>
                <a:ext uri="{FF2B5EF4-FFF2-40B4-BE49-F238E27FC236}">
                  <a16:creationId xmlns:a16="http://schemas.microsoft.com/office/drawing/2014/main" id="{EEF6B7F9-6451-4F16-A9F0-5AA73AFB5D94}"/>
                </a:ext>
              </a:extLst>
            </p:cNvPr>
            <p:cNvSpPr/>
            <p:nvPr/>
          </p:nvSpPr>
          <p:spPr>
            <a:xfrm>
              <a:off x="2036868" y="2798753"/>
              <a:ext cx="1243806" cy="1243806"/>
            </a:xfrm>
            <a:prstGeom prst="ellipse">
              <a:avLst/>
            </a:prstGeom>
            <a:solidFill>
              <a:schemeClr val="tx2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5400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023771" y="7698176"/>
            <a:ext cx="19300727" cy="1243806"/>
            <a:chOff x="2023771" y="7698176"/>
            <a:chExt cx="19300727" cy="1243806"/>
          </a:xfrm>
        </p:grpSpPr>
        <p:sp>
          <p:nvSpPr>
            <p:cNvPr id="11" name="Rektangel 27">
              <a:extLst>
                <a:ext uri="{FF2B5EF4-FFF2-40B4-BE49-F238E27FC236}">
                  <a16:creationId xmlns:a16="http://schemas.microsoft.com/office/drawing/2014/main" id="{658ADC06-653E-4E1A-8E8C-88630172B08C}"/>
                </a:ext>
              </a:extLst>
            </p:cNvPr>
            <p:cNvSpPr/>
            <p:nvPr/>
          </p:nvSpPr>
          <p:spPr>
            <a:xfrm>
              <a:off x="2645674" y="7698176"/>
              <a:ext cx="18678824" cy="124380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810000" rtlCol="0" anchor="ctr"/>
            <a:lstStyle/>
            <a:p>
              <a:r>
                <a:rPr lang="nb-NO" sz="3200" dirty="0">
                  <a:solidFill>
                    <a:schemeClr val="tx1"/>
                  </a:solidFill>
                </a:rPr>
                <a:t>Løsningen skal tilrettelegge for et offentlig og kommersielt </a:t>
              </a:r>
              <a:r>
                <a:rPr lang="nb-NO" sz="3200" b="1" dirty="0">
                  <a:solidFill>
                    <a:schemeClr val="tx1"/>
                  </a:solidFill>
                </a:rPr>
                <a:t>økosystem</a:t>
              </a:r>
              <a:r>
                <a:rPr lang="nb-NO" sz="3200" dirty="0">
                  <a:solidFill>
                    <a:schemeClr val="tx1"/>
                  </a:solidFill>
                </a:rPr>
                <a:t> for analysetjenester</a:t>
              </a:r>
            </a:p>
          </p:txBody>
        </p:sp>
        <p:sp>
          <p:nvSpPr>
            <p:cNvPr id="14" name="Ellipse 20">
              <a:extLst>
                <a:ext uri="{FF2B5EF4-FFF2-40B4-BE49-F238E27FC236}">
                  <a16:creationId xmlns:a16="http://schemas.microsoft.com/office/drawing/2014/main" id="{A6692DAF-0D51-4639-8591-7915297DB6BD}"/>
                </a:ext>
              </a:extLst>
            </p:cNvPr>
            <p:cNvSpPr/>
            <p:nvPr/>
          </p:nvSpPr>
          <p:spPr>
            <a:xfrm>
              <a:off x="2023771" y="7698176"/>
              <a:ext cx="1243806" cy="1243806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5400" dirty="0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036868" y="9331317"/>
            <a:ext cx="19287630" cy="1243806"/>
            <a:chOff x="2036868" y="9331317"/>
            <a:chExt cx="19287630" cy="1243806"/>
          </a:xfrm>
        </p:grpSpPr>
        <p:sp>
          <p:nvSpPr>
            <p:cNvPr id="12" name="Rektangel 28">
              <a:extLst>
                <a:ext uri="{FF2B5EF4-FFF2-40B4-BE49-F238E27FC236}">
                  <a16:creationId xmlns:a16="http://schemas.microsoft.com/office/drawing/2014/main" id="{45715BBE-B050-431B-8F0F-87DDF33F94CA}"/>
                </a:ext>
              </a:extLst>
            </p:cNvPr>
            <p:cNvSpPr/>
            <p:nvPr/>
          </p:nvSpPr>
          <p:spPr>
            <a:xfrm>
              <a:off x="2645674" y="9331317"/>
              <a:ext cx="18678824" cy="124380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810000" rtlCol="0" anchor="ctr"/>
            <a:lstStyle/>
            <a:p>
              <a:pPr lvl="0"/>
              <a:r>
                <a:rPr lang="nb-NO" sz="3200" dirty="0">
                  <a:solidFill>
                    <a:schemeClr val="tx1"/>
                  </a:solidFill>
                </a:rPr>
                <a:t>De fleste </a:t>
              </a:r>
              <a:r>
                <a:rPr lang="nb-NO" sz="3200" b="1" dirty="0">
                  <a:solidFill>
                    <a:schemeClr val="tx1"/>
                  </a:solidFill>
                </a:rPr>
                <a:t>registerfunksjoner videreføres </a:t>
              </a:r>
              <a:r>
                <a:rPr lang="nb-NO" sz="3200" dirty="0">
                  <a:solidFill>
                    <a:schemeClr val="tx1"/>
                  </a:solidFill>
                </a:rPr>
                <a:t>og forsterkes. Tilgangsforvaltningsfunksjon utredes separat</a:t>
              </a:r>
            </a:p>
          </p:txBody>
        </p:sp>
        <p:sp>
          <p:nvSpPr>
            <p:cNvPr id="17" name="Ellipse 21">
              <a:extLst>
                <a:ext uri="{FF2B5EF4-FFF2-40B4-BE49-F238E27FC236}">
                  <a16:creationId xmlns:a16="http://schemas.microsoft.com/office/drawing/2014/main" id="{2B36853C-19EE-4D69-BC8C-21202C8D08DB}"/>
                </a:ext>
              </a:extLst>
            </p:cNvPr>
            <p:cNvSpPr/>
            <p:nvPr/>
          </p:nvSpPr>
          <p:spPr>
            <a:xfrm>
              <a:off x="2036868" y="9331317"/>
              <a:ext cx="1243806" cy="1243806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5400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2083288" y="6065035"/>
            <a:ext cx="19241210" cy="1243806"/>
            <a:chOff x="2083288" y="6065035"/>
            <a:chExt cx="19241210" cy="1243806"/>
          </a:xfrm>
        </p:grpSpPr>
        <p:sp>
          <p:nvSpPr>
            <p:cNvPr id="10" name="Rektangel 26">
              <a:extLst>
                <a:ext uri="{FF2B5EF4-FFF2-40B4-BE49-F238E27FC236}">
                  <a16:creationId xmlns:a16="http://schemas.microsoft.com/office/drawing/2014/main" id="{B1091C2B-E400-4032-A6EF-BD8AE36807A5}"/>
                </a:ext>
              </a:extLst>
            </p:cNvPr>
            <p:cNvSpPr/>
            <p:nvPr/>
          </p:nvSpPr>
          <p:spPr>
            <a:xfrm>
              <a:off x="2645674" y="6065035"/>
              <a:ext cx="18678824" cy="124380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810000" rtlCol="0" anchor="ctr"/>
            <a:lstStyle/>
            <a:p>
              <a:pPr lvl="0"/>
              <a:r>
                <a:rPr lang="nb-NO" sz="3200" b="1" dirty="0">
                  <a:solidFill>
                    <a:schemeClr val="tx1"/>
                  </a:solidFill>
                </a:rPr>
                <a:t>Innbyggerne</a:t>
              </a:r>
              <a:r>
                <a:rPr lang="nb-NO" sz="3200" dirty="0">
                  <a:solidFill>
                    <a:schemeClr val="tx1"/>
                  </a:solidFill>
                </a:rPr>
                <a:t> gis stor grad av kontroll og medvirkning i løsningen</a:t>
              </a:r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1168A0DE-0EE5-4AF7-BD10-169DA3EA2CA0}"/>
                </a:ext>
              </a:extLst>
            </p:cNvPr>
            <p:cNvSpPr/>
            <p:nvPr/>
          </p:nvSpPr>
          <p:spPr>
            <a:xfrm>
              <a:off x="2083288" y="6065035"/>
              <a:ext cx="1243806" cy="1243806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5400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083288" y="4429214"/>
            <a:ext cx="19241210" cy="1243806"/>
            <a:chOff x="2083288" y="4429214"/>
            <a:chExt cx="19241210" cy="1243806"/>
          </a:xfrm>
        </p:grpSpPr>
        <p:sp>
          <p:nvSpPr>
            <p:cNvPr id="5" name="Rektangel 24">
              <a:extLst>
                <a:ext uri="{FF2B5EF4-FFF2-40B4-BE49-F238E27FC236}">
                  <a16:creationId xmlns:a16="http://schemas.microsoft.com/office/drawing/2014/main" id="{5425753B-20F0-45CE-8E3F-16C5C611805B}"/>
                </a:ext>
              </a:extLst>
            </p:cNvPr>
            <p:cNvSpPr/>
            <p:nvPr/>
          </p:nvSpPr>
          <p:spPr>
            <a:xfrm>
              <a:off x="2645674" y="4429214"/>
              <a:ext cx="18678824" cy="124380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810000" rtlCol="0" anchor="ctr"/>
            <a:lstStyle/>
            <a:p>
              <a:pPr lvl="0"/>
              <a:r>
                <a:rPr lang="nb-NO" sz="3200" dirty="0">
                  <a:solidFill>
                    <a:schemeClr val="tx1"/>
                  </a:solidFill>
                </a:rPr>
                <a:t>Det etableres </a:t>
              </a:r>
              <a:r>
                <a:rPr lang="nb-NO" sz="3200" b="1" dirty="0">
                  <a:solidFill>
                    <a:schemeClr val="tx1"/>
                  </a:solidFill>
                </a:rPr>
                <a:t>en felles analyseinfrastruktur </a:t>
              </a:r>
              <a:r>
                <a:rPr lang="nb-NO" sz="3200" dirty="0">
                  <a:solidFill>
                    <a:schemeClr val="tx1"/>
                  </a:solidFill>
                </a:rPr>
                <a:t>og dataplattform </a:t>
              </a:r>
              <a:r>
                <a:rPr lang="nb-NO" sz="3200" dirty="0" smtClean="0">
                  <a:solidFill>
                    <a:schemeClr val="tx1"/>
                  </a:solidFill>
                </a:rPr>
                <a:t>som skal tilknyttes </a:t>
              </a:r>
              <a:r>
                <a:rPr lang="nb-NO" sz="3200" b="1" dirty="0">
                  <a:solidFill>
                    <a:schemeClr val="tx1"/>
                  </a:solidFill>
                </a:rPr>
                <a:t>eksterne </a:t>
              </a:r>
              <a:r>
                <a:rPr lang="nb-NO" sz="3200" dirty="0" smtClean="0">
                  <a:solidFill>
                    <a:schemeClr val="tx1"/>
                  </a:solidFill>
                </a:rPr>
                <a:t>analyseinfrastrukturer</a:t>
              </a:r>
              <a:endParaRPr lang="nb-NO" sz="3200" dirty="0">
                <a:solidFill>
                  <a:schemeClr val="tx1"/>
                </a:solidFill>
              </a:endParaRPr>
            </a:p>
          </p:txBody>
        </p:sp>
        <p:sp>
          <p:nvSpPr>
            <p:cNvPr id="23" name="Ellipse 18">
              <a:extLst>
                <a:ext uri="{FF2B5EF4-FFF2-40B4-BE49-F238E27FC236}">
                  <a16:creationId xmlns:a16="http://schemas.microsoft.com/office/drawing/2014/main" id="{CC835C4A-D2EC-446C-8E7A-EFF2FBBDCD58}"/>
                </a:ext>
              </a:extLst>
            </p:cNvPr>
            <p:cNvSpPr/>
            <p:nvPr/>
          </p:nvSpPr>
          <p:spPr>
            <a:xfrm>
              <a:off x="2083288" y="4429214"/>
              <a:ext cx="1243806" cy="1243806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54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036868" y="10964459"/>
            <a:ext cx="19287630" cy="1243806"/>
            <a:chOff x="2036868" y="10964459"/>
            <a:chExt cx="19287630" cy="1243806"/>
          </a:xfrm>
        </p:grpSpPr>
        <p:sp>
          <p:nvSpPr>
            <p:cNvPr id="25" name="Rektangel 28">
              <a:extLst>
                <a:ext uri="{FF2B5EF4-FFF2-40B4-BE49-F238E27FC236}">
                  <a16:creationId xmlns:a16="http://schemas.microsoft.com/office/drawing/2014/main" id="{45715BBE-B050-431B-8F0F-87DDF33F94CA}"/>
                </a:ext>
              </a:extLst>
            </p:cNvPr>
            <p:cNvSpPr/>
            <p:nvPr/>
          </p:nvSpPr>
          <p:spPr>
            <a:xfrm>
              <a:off x="2645674" y="10964459"/>
              <a:ext cx="18678824" cy="124380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810000" rtlCol="0" anchor="ctr"/>
            <a:lstStyle/>
            <a:p>
              <a:pPr lvl="0"/>
              <a:r>
                <a:rPr lang="nb-NO" sz="3200" dirty="0">
                  <a:solidFill>
                    <a:schemeClr val="tx1"/>
                  </a:solidFill>
                </a:rPr>
                <a:t>Det jobbes videre med </a:t>
              </a:r>
              <a:r>
                <a:rPr lang="nb-NO" sz="3200" b="1" dirty="0">
                  <a:solidFill>
                    <a:schemeClr val="tx1"/>
                  </a:solidFill>
                </a:rPr>
                <a:t>innrapportering</a:t>
              </a:r>
              <a:r>
                <a:rPr lang="nb-NO" sz="3200" dirty="0">
                  <a:solidFill>
                    <a:schemeClr val="tx1"/>
                  </a:solidFill>
                </a:rPr>
                <a:t> og </a:t>
              </a:r>
              <a:r>
                <a:rPr lang="nb-NO" sz="3200" b="1" dirty="0">
                  <a:solidFill>
                    <a:schemeClr val="tx1"/>
                  </a:solidFill>
                </a:rPr>
                <a:t>datakvalitet</a:t>
              </a:r>
              <a:r>
                <a:rPr lang="nb-NO" sz="3200" dirty="0">
                  <a:solidFill>
                    <a:schemeClr val="tx1"/>
                  </a:solidFill>
                </a:rPr>
                <a:t> primært gjennom andre initiativ</a:t>
              </a:r>
            </a:p>
          </p:txBody>
        </p:sp>
        <p:sp>
          <p:nvSpPr>
            <p:cNvPr id="26" name="Ellipse 21">
              <a:extLst>
                <a:ext uri="{FF2B5EF4-FFF2-40B4-BE49-F238E27FC236}">
                  <a16:creationId xmlns:a16="http://schemas.microsoft.com/office/drawing/2014/main" id="{2B36853C-19EE-4D69-BC8C-21202C8D08DB}"/>
                </a:ext>
              </a:extLst>
            </p:cNvPr>
            <p:cNvSpPr/>
            <p:nvPr/>
          </p:nvSpPr>
          <p:spPr>
            <a:xfrm>
              <a:off x="2036868" y="10964459"/>
              <a:ext cx="1243806" cy="1243806"/>
            </a:xfrm>
            <a:prstGeom prst="ellipse">
              <a:avLst/>
            </a:prstGeom>
            <a:solidFill>
              <a:schemeClr val="accent1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5400" dirty="0">
                  <a:solidFill>
                    <a:schemeClr val="bg1"/>
                  </a:solidFill>
                </a:rPr>
                <a:t>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26919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1662222" y="2224449"/>
            <a:ext cx="21611493" cy="10693172"/>
          </a:xfrm>
          <a:prstGeom prst="roundRect">
            <a:avLst>
              <a:gd name="adj" fmla="val 9007"/>
            </a:avLst>
          </a:prstGeom>
          <a:noFill/>
          <a:ln w="63500">
            <a:prstDash val="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Rectangle 76">
            <a:extLst>
              <a:ext uri="{FF2B5EF4-FFF2-40B4-BE49-F238E27FC236}">
                <a16:creationId xmlns:a16="http://schemas.microsoft.com/office/drawing/2014/main" id="{C1BF426B-0486-488D-9F5A-A3F26EE4227D}"/>
              </a:ext>
            </a:extLst>
          </p:cNvPr>
          <p:cNvSpPr/>
          <p:nvPr/>
        </p:nvSpPr>
        <p:spPr>
          <a:xfrm rot="5400000">
            <a:off x="1768287" y="7869328"/>
            <a:ext cx="7655682" cy="2189379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800000" rtlCol="0" anchor="ctr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valtningstjenester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ålbilde for Helseanalyseplattformen</a:t>
            </a:r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44E2ED8-5AB3-452F-8695-F1C8455B5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945725" y="13069888"/>
            <a:ext cx="1436688" cy="368300"/>
          </a:xfrm>
        </p:spPr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de </a:t>
            </a:r>
            <a:fld id="{5751DFAA-887F-4071-8EAD-E8CA316FCF06}" type="slidenum">
              <a:rPr kumimoji="0" lang="nb-NO" sz="2000" b="0" i="0" u="none" strike="noStrike" kern="1200" cap="none" spc="0" normalizeH="0" baseline="0" noProof="0" smtClean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76">
            <a:extLst>
              <a:ext uri="{FF2B5EF4-FFF2-40B4-BE49-F238E27FC236}">
                <a16:creationId xmlns:a16="http://schemas.microsoft.com/office/drawing/2014/main" id="{72ACB32C-0B93-4432-8BC6-2142A2133EC7}"/>
              </a:ext>
            </a:extLst>
          </p:cNvPr>
          <p:cNvSpPr/>
          <p:nvPr/>
        </p:nvSpPr>
        <p:spPr>
          <a:xfrm>
            <a:off x="7084217" y="5136176"/>
            <a:ext cx="5300433" cy="23136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440000" rtlCol="0" anchor="ctr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alysetjenester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 dirty="0" smtClean="0">
                <a:solidFill>
                  <a:prstClr val="white"/>
                </a:solidFill>
                <a:latin typeface="Arial" panose="020B0604020202020204"/>
              </a:rPr>
              <a:t>(Interne og eksterne)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76">
            <a:extLst>
              <a:ext uri="{FF2B5EF4-FFF2-40B4-BE49-F238E27FC236}">
                <a16:creationId xmlns:a16="http://schemas.microsoft.com/office/drawing/2014/main" id="{3B7D386B-5FC5-438A-B0D7-82AB8B6BE9B1}"/>
              </a:ext>
            </a:extLst>
          </p:cNvPr>
          <p:cNvSpPr/>
          <p:nvPr/>
        </p:nvSpPr>
        <p:spPr>
          <a:xfrm>
            <a:off x="12607915" y="5136176"/>
            <a:ext cx="5241431" cy="23136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440000" rtlCol="0" anchor="ctr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knadstjenester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76">
            <a:extLst>
              <a:ext uri="{FF2B5EF4-FFF2-40B4-BE49-F238E27FC236}">
                <a16:creationId xmlns:a16="http://schemas.microsoft.com/office/drawing/2014/main" id="{68156AD1-073C-4F2A-B7DC-B6F78744615A}"/>
              </a:ext>
            </a:extLst>
          </p:cNvPr>
          <p:cNvSpPr/>
          <p:nvPr/>
        </p:nvSpPr>
        <p:spPr>
          <a:xfrm rot="5400000">
            <a:off x="15509594" y="7869328"/>
            <a:ext cx="7655682" cy="2189379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800000" rtlCol="0" anchor="ctr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byggertjenester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76">
            <a:extLst>
              <a:ext uri="{FF2B5EF4-FFF2-40B4-BE49-F238E27FC236}">
                <a16:creationId xmlns:a16="http://schemas.microsoft.com/office/drawing/2014/main" id="{7674705E-D11C-42AA-9300-392398043672}"/>
              </a:ext>
            </a:extLst>
          </p:cNvPr>
          <p:cNvSpPr/>
          <p:nvPr/>
        </p:nvSpPr>
        <p:spPr>
          <a:xfrm>
            <a:off x="7089431" y="7807186"/>
            <a:ext cx="10759915" cy="23136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440000" rtlCol="0" anchor="ctr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plattform med innebygget </a:t>
            </a: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vern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400" dirty="0" smtClean="0">
                <a:solidFill>
                  <a:prstClr val="white"/>
                </a:solidFill>
                <a:latin typeface="Arial" panose="020B0604020202020204"/>
              </a:rPr>
              <a:t>(Data: kopier, syntetiske, virtuelle, masterdata, generert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38" name="Rectangle 76">
            <a:extLst>
              <a:ext uri="{FF2B5EF4-FFF2-40B4-BE49-F238E27FC236}">
                <a16:creationId xmlns:a16="http://schemas.microsoft.com/office/drawing/2014/main" id="{55E72316-79E7-4855-9F22-7CB3DB1C0270}"/>
              </a:ext>
            </a:extLst>
          </p:cNvPr>
          <p:cNvSpPr/>
          <p:nvPr/>
        </p:nvSpPr>
        <p:spPr>
          <a:xfrm>
            <a:off x="7089430" y="10478195"/>
            <a:ext cx="10759915" cy="231366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2880000" rtlCol="0" anchor="ctr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kilder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Freeform 152">
            <a:extLst>
              <a:ext uri="{FF2B5EF4-FFF2-40B4-BE49-F238E27FC236}">
                <a16:creationId xmlns:a16="http://schemas.microsoft.com/office/drawing/2014/main" id="{C61A1766-ED2B-4C00-A484-85C9DCDFA509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19211706" y="5947221"/>
            <a:ext cx="386814" cy="1078386"/>
          </a:xfrm>
          <a:custGeom>
            <a:avLst/>
            <a:gdLst>
              <a:gd name="T0" fmla="*/ 179275 w 353"/>
              <a:gd name="T1" fmla="*/ 172618 h 995"/>
              <a:gd name="T2" fmla="*/ 168590 w 353"/>
              <a:gd name="T3" fmla="*/ 164398 h 995"/>
              <a:gd name="T4" fmla="*/ 105072 w 353"/>
              <a:gd name="T5" fmla="*/ 142087 h 995"/>
              <a:gd name="T6" fmla="*/ 105072 w 353"/>
              <a:gd name="T7" fmla="*/ 142674 h 995"/>
              <a:gd name="T8" fmla="*/ 104478 w 353"/>
              <a:gd name="T9" fmla="*/ 142087 h 995"/>
              <a:gd name="T10" fmla="*/ 40960 w 353"/>
              <a:gd name="T11" fmla="*/ 164398 h 995"/>
              <a:gd name="T12" fmla="*/ 30869 w 353"/>
              <a:gd name="T13" fmla="*/ 172618 h 995"/>
              <a:gd name="T14" fmla="*/ 0 w 353"/>
              <a:gd name="T15" fmla="*/ 246597 h 995"/>
              <a:gd name="T16" fmla="*/ 0 w 353"/>
              <a:gd name="T17" fmla="*/ 364611 h 995"/>
              <a:gd name="T18" fmla="*/ 12466 w 353"/>
              <a:gd name="T19" fmla="*/ 376941 h 995"/>
              <a:gd name="T20" fmla="*/ 36211 w 353"/>
              <a:gd name="T21" fmla="*/ 376941 h 995"/>
              <a:gd name="T22" fmla="*/ 48677 w 353"/>
              <a:gd name="T23" fmla="*/ 389271 h 995"/>
              <a:gd name="T24" fmla="*/ 48677 w 353"/>
              <a:gd name="T25" fmla="*/ 571870 h 995"/>
              <a:gd name="T26" fmla="*/ 61143 w 353"/>
              <a:gd name="T27" fmla="*/ 584200 h 995"/>
              <a:gd name="T28" fmla="*/ 149000 w 353"/>
              <a:gd name="T29" fmla="*/ 584200 h 995"/>
              <a:gd name="T30" fmla="*/ 161466 w 353"/>
              <a:gd name="T31" fmla="*/ 571870 h 995"/>
              <a:gd name="T32" fmla="*/ 161466 w 353"/>
              <a:gd name="T33" fmla="*/ 389271 h 995"/>
              <a:gd name="T34" fmla="*/ 173932 w 353"/>
              <a:gd name="T35" fmla="*/ 376941 h 995"/>
              <a:gd name="T36" fmla="*/ 197084 w 353"/>
              <a:gd name="T37" fmla="*/ 376941 h 995"/>
              <a:gd name="T38" fmla="*/ 209550 w 353"/>
              <a:gd name="T39" fmla="*/ 364611 h 995"/>
              <a:gd name="T40" fmla="*/ 209550 w 353"/>
              <a:gd name="T41" fmla="*/ 246597 h 995"/>
              <a:gd name="T42" fmla="*/ 179275 w 353"/>
              <a:gd name="T43" fmla="*/ 172618 h 995"/>
              <a:gd name="T44" fmla="*/ 105072 w 353"/>
              <a:gd name="T45" fmla="*/ 129170 h 995"/>
              <a:gd name="T46" fmla="*/ 170371 w 353"/>
              <a:gd name="T47" fmla="*/ 64585 h 995"/>
              <a:gd name="T48" fmla="*/ 105072 w 353"/>
              <a:gd name="T49" fmla="*/ 0 h 995"/>
              <a:gd name="T50" fmla="*/ 39773 w 353"/>
              <a:gd name="T51" fmla="*/ 64585 h 995"/>
              <a:gd name="T52" fmla="*/ 105072 w 353"/>
              <a:gd name="T53" fmla="*/ 129170 h 99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353" h="995">
                <a:moveTo>
                  <a:pt x="302" y="294"/>
                </a:moveTo>
                <a:cubicBezTo>
                  <a:pt x="296" y="289"/>
                  <a:pt x="290" y="284"/>
                  <a:pt x="284" y="280"/>
                </a:cubicBezTo>
                <a:cubicBezTo>
                  <a:pt x="253" y="255"/>
                  <a:pt x="218" y="242"/>
                  <a:pt x="177" y="242"/>
                </a:cubicBezTo>
                <a:cubicBezTo>
                  <a:pt x="177" y="242"/>
                  <a:pt x="177" y="243"/>
                  <a:pt x="177" y="243"/>
                </a:cubicBezTo>
                <a:cubicBezTo>
                  <a:pt x="176" y="243"/>
                  <a:pt x="176" y="242"/>
                  <a:pt x="176" y="242"/>
                </a:cubicBezTo>
                <a:cubicBezTo>
                  <a:pt x="136" y="242"/>
                  <a:pt x="100" y="255"/>
                  <a:pt x="69" y="280"/>
                </a:cubicBezTo>
                <a:cubicBezTo>
                  <a:pt x="63" y="284"/>
                  <a:pt x="57" y="289"/>
                  <a:pt x="52" y="294"/>
                </a:cubicBezTo>
                <a:cubicBezTo>
                  <a:pt x="17" y="329"/>
                  <a:pt x="0" y="371"/>
                  <a:pt x="0" y="420"/>
                </a:cubicBezTo>
                <a:cubicBezTo>
                  <a:pt x="0" y="621"/>
                  <a:pt x="0" y="621"/>
                  <a:pt x="0" y="621"/>
                </a:cubicBezTo>
                <a:cubicBezTo>
                  <a:pt x="0" y="633"/>
                  <a:pt x="9" y="642"/>
                  <a:pt x="21" y="642"/>
                </a:cubicBezTo>
                <a:cubicBezTo>
                  <a:pt x="61" y="642"/>
                  <a:pt x="61" y="642"/>
                  <a:pt x="61" y="642"/>
                </a:cubicBezTo>
                <a:cubicBezTo>
                  <a:pt x="72" y="642"/>
                  <a:pt x="82" y="652"/>
                  <a:pt x="82" y="663"/>
                </a:cubicBezTo>
                <a:cubicBezTo>
                  <a:pt x="82" y="974"/>
                  <a:pt x="82" y="974"/>
                  <a:pt x="82" y="974"/>
                </a:cubicBezTo>
                <a:cubicBezTo>
                  <a:pt x="82" y="985"/>
                  <a:pt x="91" y="995"/>
                  <a:pt x="103" y="995"/>
                </a:cubicBezTo>
                <a:cubicBezTo>
                  <a:pt x="251" y="995"/>
                  <a:pt x="251" y="995"/>
                  <a:pt x="251" y="995"/>
                </a:cubicBezTo>
                <a:cubicBezTo>
                  <a:pt x="262" y="995"/>
                  <a:pt x="272" y="985"/>
                  <a:pt x="272" y="974"/>
                </a:cubicBezTo>
                <a:cubicBezTo>
                  <a:pt x="272" y="663"/>
                  <a:pt x="272" y="663"/>
                  <a:pt x="272" y="663"/>
                </a:cubicBezTo>
                <a:cubicBezTo>
                  <a:pt x="272" y="652"/>
                  <a:pt x="281" y="642"/>
                  <a:pt x="293" y="642"/>
                </a:cubicBezTo>
                <a:cubicBezTo>
                  <a:pt x="332" y="642"/>
                  <a:pt x="332" y="642"/>
                  <a:pt x="332" y="642"/>
                </a:cubicBezTo>
                <a:cubicBezTo>
                  <a:pt x="344" y="642"/>
                  <a:pt x="353" y="633"/>
                  <a:pt x="353" y="621"/>
                </a:cubicBezTo>
                <a:cubicBezTo>
                  <a:pt x="353" y="420"/>
                  <a:pt x="353" y="420"/>
                  <a:pt x="353" y="420"/>
                </a:cubicBezTo>
                <a:cubicBezTo>
                  <a:pt x="353" y="371"/>
                  <a:pt x="336" y="329"/>
                  <a:pt x="302" y="294"/>
                </a:cubicBezTo>
                <a:close/>
                <a:moveTo>
                  <a:pt x="177" y="220"/>
                </a:moveTo>
                <a:cubicBezTo>
                  <a:pt x="238" y="220"/>
                  <a:pt x="287" y="171"/>
                  <a:pt x="287" y="110"/>
                </a:cubicBezTo>
                <a:cubicBezTo>
                  <a:pt x="287" y="49"/>
                  <a:pt x="238" y="0"/>
                  <a:pt x="177" y="0"/>
                </a:cubicBezTo>
                <a:cubicBezTo>
                  <a:pt x="117" y="0"/>
                  <a:pt x="67" y="49"/>
                  <a:pt x="67" y="110"/>
                </a:cubicBezTo>
                <a:cubicBezTo>
                  <a:pt x="67" y="171"/>
                  <a:pt x="117" y="220"/>
                  <a:pt x="177" y="22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reeform 146">
            <a:extLst>
              <a:ext uri="{FF2B5EF4-FFF2-40B4-BE49-F238E27FC236}">
                <a16:creationId xmlns:a16="http://schemas.microsoft.com/office/drawing/2014/main" id="{364F99E6-1D82-4493-8C21-AA69E5DDFCF2}"/>
              </a:ext>
            </a:extLst>
          </p:cNvPr>
          <p:cNvSpPr>
            <a:spLocks noChangeAspect="1" noEditPoints="1"/>
          </p:cNvSpPr>
          <p:nvPr/>
        </p:nvSpPr>
        <p:spPr bwMode="ltGray">
          <a:xfrm rot="5400000">
            <a:off x="5271094" y="5790343"/>
            <a:ext cx="650068" cy="652520"/>
          </a:xfrm>
          <a:custGeom>
            <a:avLst/>
            <a:gdLst>
              <a:gd name="T0" fmla="*/ 3768 w 4239"/>
              <a:gd name="T1" fmla="*/ 4710 h 5181"/>
              <a:gd name="T2" fmla="*/ 471 w 4239"/>
              <a:gd name="T3" fmla="*/ 4710 h 5181"/>
              <a:gd name="T4" fmla="*/ 471 w 4239"/>
              <a:gd name="T5" fmla="*/ 942 h 5181"/>
              <a:gd name="T6" fmla="*/ 942 w 4239"/>
              <a:gd name="T7" fmla="*/ 942 h 5181"/>
              <a:gd name="T8" fmla="*/ 942 w 4239"/>
              <a:gd name="T9" fmla="*/ 1648 h 5181"/>
              <a:gd name="T10" fmla="*/ 3297 w 4239"/>
              <a:gd name="T11" fmla="*/ 1648 h 5181"/>
              <a:gd name="T12" fmla="*/ 3297 w 4239"/>
              <a:gd name="T13" fmla="*/ 942 h 5181"/>
              <a:gd name="T14" fmla="*/ 3768 w 4239"/>
              <a:gd name="T15" fmla="*/ 942 h 5181"/>
              <a:gd name="T16" fmla="*/ 3768 w 4239"/>
              <a:gd name="T17" fmla="*/ 4710 h 5181"/>
              <a:gd name="T18" fmla="*/ 2119 w 4239"/>
              <a:gd name="T19" fmla="*/ 471 h 5181"/>
              <a:gd name="T20" fmla="*/ 2355 w 4239"/>
              <a:gd name="T21" fmla="*/ 706 h 5181"/>
              <a:gd name="T22" fmla="*/ 2119 w 4239"/>
              <a:gd name="T23" fmla="*/ 942 h 5181"/>
              <a:gd name="T24" fmla="*/ 1884 w 4239"/>
              <a:gd name="T25" fmla="*/ 706 h 5181"/>
              <a:gd name="T26" fmla="*/ 2119 w 4239"/>
              <a:gd name="T27" fmla="*/ 471 h 5181"/>
              <a:gd name="T28" fmla="*/ 3768 w 4239"/>
              <a:gd name="T29" fmla="*/ 471 h 5181"/>
              <a:gd name="T30" fmla="*/ 2779 w 4239"/>
              <a:gd name="T31" fmla="*/ 471 h 5181"/>
              <a:gd name="T32" fmla="*/ 2119 w 4239"/>
              <a:gd name="T33" fmla="*/ 0 h 5181"/>
              <a:gd name="T34" fmla="*/ 1460 w 4239"/>
              <a:gd name="T35" fmla="*/ 471 h 5181"/>
              <a:gd name="T36" fmla="*/ 471 w 4239"/>
              <a:gd name="T37" fmla="*/ 471 h 5181"/>
              <a:gd name="T38" fmla="*/ 0 w 4239"/>
              <a:gd name="T39" fmla="*/ 942 h 5181"/>
              <a:gd name="T40" fmla="*/ 0 w 4239"/>
              <a:gd name="T41" fmla="*/ 4710 h 5181"/>
              <a:gd name="T42" fmla="*/ 471 w 4239"/>
              <a:gd name="T43" fmla="*/ 5181 h 5181"/>
              <a:gd name="T44" fmla="*/ 3768 w 4239"/>
              <a:gd name="T45" fmla="*/ 5181 h 5181"/>
              <a:gd name="T46" fmla="*/ 4239 w 4239"/>
              <a:gd name="T47" fmla="*/ 4710 h 5181"/>
              <a:gd name="T48" fmla="*/ 4239 w 4239"/>
              <a:gd name="T49" fmla="*/ 942 h 5181"/>
              <a:gd name="T50" fmla="*/ 3768 w 4239"/>
              <a:gd name="T51" fmla="*/ 471 h 5181"/>
              <a:gd name="T52" fmla="*/ 1694 w 4239"/>
              <a:gd name="T53" fmla="*/ 2555 h 5181"/>
              <a:gd name="T54" fmla="*/ 3392 w 4239"/>
              <a:gd name="T55" fmla="*/ 2555 h 5181"/>
              <a:gd name="T56" fmla="*/ 3392 w 4239"/>
              <a:gd name="T57" fmla="*/ 2138 h 5181"/>
              <a:gd name="T58" fmla="*/ 1694 w 4239"/>
              <a:gd name="T59" fmla="*/ 2138 h 5181"/>
              <a:gd name="T60" fmla="*/ 1694 w 4239"/>
              <a:gd name="T61" fmla="*/ 2555 h 5181"/>
              <a:gd name="T62" fmla="*/ 1694 w 4239"/>
              <a:gd name="T63" fmla="*/ 4224 h 5181"/>
              <a:gd name="T64" fmla="*/ 3392 w 4239"/>
              <a:gd name="T65" fmla="*/ 4224 h 5181"/>
              <a:gd name="T66" fmla="*/ 3392 w 4239"/>
              <a:gd name="T67" fmla="*/ 3806 h 5181"/>
              <a:gd name="T68" fmla="*/ 1694 w 4239"/>
              <a:gd name="T69" fmla="*/ 3806 h 5181"/>
              <a:gd name="T70" fmla="*/ 1694 w 4239"/>
              <a:gd name="T71" fmla="*/ 4224 h 5181"/>
              <a:gd name="T72" fmla="*/ 1694 w 4239"/>
              <a:gd name="T73" fmla="*/ 3389 h 5181"/>
              <a:gd name="T74" fmla="*/ 3392 w 4239"/>
              <a:gd name="T75" fmla="*/ 3389 h 5181"/>
              <a:gd name="T76" fmla="*/ 3392 w 4239"/>
              <a:gd name="T77" fmla="*/ 2972 h 5181"/>
              <a:gd name="T78" fmla="*/ 1694 w 4239"/>
              <a:gd name="T79" fmla="*/ 2972 h 5181"/>
              <a:gd name="T80" fmla="*/ 1694 w 4239"/>
              <a:gd name="T81" fmla="*/ 3389 h 5181"/>
              <a:gd name="T82" fmla="*/ 860 w 4239"/>
              <a:gd name="T83" fmla="*/ 2555 h 5181"/>
              <a:gd name="T84" fmla="*/ 1277 w 4239"/>
              <a:gd name="T85" fmla="*/ 2555 h 5181"/>
              <a:gd name="T86" fmla="*/ 1277 w 4239"/>
              <a:gd name="T87" fmla="*/ 2138 h 5181"/>
              <a:gd name="T88" fmla="*/ 860 w 4239"/>
              <a:gd name="T89" fmla="*/ 2138 h 5181"/>
              <a:gd name="T90" fmla="*/ 860 w 4239"/>
              <a:gd name="T91" fmla="*/ 2555 h 5181"/>
              <a:gd name="T92" fmla="*/ 860 w 4239"/>
              <a:gd name="T93" fmla="*/ 4224 h 5181"/>
              <a:gd name="T94" fmla="*/ 1277 w 4239"/>
              <a:gd name="T95" fmla="*/ 4224 h 5181"/>
              <a:gd name="T96" fmla="*/ 1277 w 4239"/>
              <a:gd name="T97" fmla="*/ 3806 h 5181"/>
              <a:gd name="T98" fmla="*/ 860 w 4239"/>
              <a:gd name="T99" fmla="*/ 3806 h 5181"/>
              <a:gd name="T100" fmla="*/ 860 w 4239"/>
              <a:gd name="T101" fmla="*/ 4224 h 5181"/>
              <a:gd name="T102" fmla="*/ 860 w 4239"/>
              <a:gd name="T103" fmla="*/ 3389 h 5181"/>
              <a:gd name="T104" fmla="*/ 1277 w 4239"/>
              <a:gd name="T105" fmla="*/ 3389 h 5181"/>
              <a:gd name="T106" fmla="*/ 1277 w 4239"/>
              <a:gd name="T107" fmla="*/ 2972 h 5181"/>
              <a:gd name="T108" fmla="*/ 860 w 4239"/>
              <a:gd name="T109" fmla="*/ 2972 h 5181"/>
              <a:gd name="T110" fmla="*/ 860 w 4239"/>
              <a:gd name="T111" fmla="*/ 3389 h 5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239" h="5181">
                <a:moveTo>
                  <a:pt x="3768" y="4710"/>
                </a:moveTo>
                <a:cubicBezTo>
                  <a:pt x="471" y="4710"/>
                  <a:pt x="471" y="4710"/>
                  <a:pt x="471" y="4710"/>
                </a:cubicBezTo>
                <a:cubicBezTo>
                  <a:pt x="471" y="942"/>
                  <a:pt x="471" y="942"/>
                  <a:pt x="471" y="942"/>
                </a:cubicBezTo>
                <a:cubicBezTo>
                  <a:pt x="942" y="942"/>
                  <a:pt x="942" y="942"/>
                  <a:pt x="942" y="942"/>
                </a:cubicBezTo>
                <a:cubicBezTo>
                  <a:pt x="942" y="1648"/>
                  <a:pt x="942" y="1648"/>
                  <a:pt x="942" y="1648"/>
                </a:cubicBezTo>
                <a:cubicBezTo>
                  <a:pt x="3297" y="1648"/>
                  <a:pt x="3297" y="1648"/>
                  <a:pt x="3297" y="1648"/>
                </a:cubicBezTo>
                <a:cubicBezTo>
                  <a:pt x="3297" y="942"/>
                  <a:pt x="3297" y="942"/>
                  <a:pt x="3297" y="942"/>
                </a:cubicBezTo>
                <a:cubicBezTo>
                  <a:pt x="3768" y="942"/>
                  <a:pt x="3768" y="942"/>
                  <a:pt x="3768" y="942"/>
                </a:cubicBezTo>
                <a:lnTo>
                  <a:pt x="3768" y="4710"/>
                </a:lnTo>
                <a:close/>
                <a:moveTo>
                  <a:pt x="2119" y="471"/>
                </a:moveTo>
                <a:cubicBezTo>
                  <a:pt x="2261" y="471"/>
                  <a:pt x="2355" y="565"/>
                  <a:pt x="2355" y="706"/>
                </a:cubicBezTo>
                <a:cubicBezTo>
                  <a:pt x="2355" y="847"/>
                  <a:pt x="2261" y="942"/>
                  <a:pt x="2119" y="942"/>
                </a:cubicBezTo>
                <a:cubicBezTo>
                  <a:pt x="1978" y="942"/>
                  <a:pt x="1884" y="847"/>
                  <a:pt x="1884" y="706"/>
                </a:cubicBezTo>
                <a:cubicBezTo>
                  <a:pt x="1884" y="565"/>
                  <a:pt x="1978" y="471"/>
                  <a:pt x="2119" y="471"/>
                </a:cubicBezTo>
                <a:moveTo>
                  <a:pt x="3768" y="471"/>
                </a:moveTo>
                <a:cubicBezTo>
                  <a:pt x="2779" y="471"/>
                  <a:pt x="2779" y="471"/>
                  <a:pt x="2779" y="471"/>
                </a:cubicBezTo>
                <a:cubicBezTo>
                  <a:pt x="2684" y="188"/>
                  <a:pt x="2425" y="0"/>
                  <a:pt x="2119" y="0"/>
                </a:cubicBezTo>
                <a:cubicBezTo>
                  <a:pt x="1813" y="0"/>
                  <a:pt x="1554" y="188"/>
                  <a:pt x="1460" y="471"/>
                </a:cubicBezTo>
                <a:cubicBezTo>
                  <a:pt x="471" y="471"/>
                  <a:pt x="471" y="471"/>
                  <a:pt x="471" y="471"/>
                </a:cubicBezTo>
                <a:cubicBezTo>
                  <a:pt x="212" y="471"/>
                  <a:pt x="0" y="683"/>
                  <a:pt x="0" y="942"/>
                </a:cubicBezTo>
                <a:cubicBezTo>
                  <a:pt x="0" y="4710"/>
                  <a:pt x="0" y="4710"/>
                  <a:pt x="0" y="4710"/>
                </a:cubicBezTo>
                <a:cubicBezTo>
                  <a:pt x="0" y="4969"/>
                  <a:pt x="212" y="5181"/>
                  <a:pt x="471" y="5181"/>
                </a:cubicBezTo>
                <a:cubicBezTo>
                  <a:pt x="3768" y="5181"/>
                  <a:pt x="3768" y="5181"/>
                  <a:pt x="3768" y="5181"/>
                </a:cubicBezTo>
                <a:cubicBezTo>
                  <a:pt x="4027" y="5181"/>
                  <a:pt x="4239" y="4969"/>
                  <a:pt x="4239" y="4710"/>
                </a:cubicBezTo>
                <a:cubicBezTo>
                  <a:pt x="4239" y="942"/>
                  <a:pt x="4239" y="942"/>
                  <a:pt x="4239" y="942"/>
                </a:cubicBezTo>
                <a:cubicBezTo>
                  <a:pt x="4239" y="683"/>
                  <a:pt x="4027" y="471"/>
                  <a:pt x="3768" y="471"/>
                </a:cubicBezTo>
                <a:moveTo>
                  <a:pt x="1694" y="2555"/>
                </a:moveTo>
                <a:cubicBezTo>
                  <a:pt x="3392" y="2555"/>
                  <a:pt x="3392" y="2555"/>
                  <a:pt x="3392" y="2555"/>
                </a:cubicBezTo>
                <a:cubicBezTo>
                  <a:pt x="3392" y="2138"/>
                  <a:pt x="3392" y="2138"/>
                  <a:pt x="3392" y="2138"/>
                </a:cubicBezTo>
                <a:cubicBezTo>
                  <a:pt x="1694" y="2138"/>
                  <a:pt x="1694" y="2138"/>
                  <a:pt x="1694" y="2138"/>
                </a:cubicBezTo>
                <a:lnTo>
                  <a:pt x="1694" y="2555"/>
                </a:lnTo>
                <a:close/>
                <a:moveTo>
                  <a:pt x="1694" y="4224"/>
                </a:moveTo>
                <a:cubicBezTo>
                  <a:pt x="3392" y="4224"/>
                  <a:pt x="3392" y="4224"/>
                  <a:pt x="3392" y="4224"/>
                </a:cubicBezTo>
                <a:cubicBezTo>
                  <a:pt x="3392" y="3806"/>
                  <a:pt x="3392" y="3806"/>
                  <a:pt x="3392" y="3806"/>
                </a:cubicBezTo>
                <a:cubicBezTo>
                  <a:pt x="1694" y="3806"/>
                  <a:pt x="1694" y="3806"/>
                  <a:pt x="1694" y="3806"/>
                </a:cubicBezTo>
                <a:lnTo>
                  <a:pt x="1694" y="4224"/>
                </a:lnTo>
                <a:close/>
                <a:moveTo>
                  <a:pt x="1694" y="3389"/>
                </a:moveTo>
                <a:cubicBezTo>
                  <a:pt x="3392" y="3389"/>
                  <a:pt x="3392" y="3389"/>
                  <a:pt x="3392" y="3389"/>
                </a:cubicBezTo>
                <a:cubicBezTo>
                  <a:pt x="3392" y="2972"/>
                  <a:pt x="3392" y="2972"/>
                  <a:pt x="3392" y="2972"/>
                </a:cubicBezTo>
                <a:cubicBezTo>
                  <a:pt x="1694" y="2972"/>
                  <a:pt x="1694" y="2972"/>
                  <a:pt x="1694" y="2972"/>
                </a:cubicBezTo>
                <a:lnTo>
                  <a:pt x="1694" y="3389"/>
                </a:lnTo>
                <a:close/>
                <a:moveTo>
                  <a:pt x="860" y="2555"/>
                </a:moveTo>
                <a:cubicBezTo>
                  <a:pt x="1277" y="2555"/>
                  <a:pt x="1277" y="2555"/>
                  <a:pt x="1277" y="2555"/>
                </a:cubicBezTo>
                <a:cubicBezTo>
                  <a:pt x="1277" y="2138"/>
                  <a:pt x="1277" y="2138"/>
                  <a:pt x="1277" y="2138"/>
                </a:cubicBezTo>
                <a:cubicBezTo>
                  <a:pt x="860" y="2138"/>
                  <a:pt x="860" y="2138"/>
                  <a:pt x="860" y="2138"/>
                </a:cubicBezTo>
                <a:lnTo>
                  <a:pt x="860" y="2555"/>
                </a:lnTo>
                <a:close/>
                <a:moveTo>
                  <a:pt x="860" y="4224"/>
                </a:moveTo>
                <a:cubicBezTo>
                  <a:pt x="1277" y="4224"/>
                  <a:pt x="1277" y="4224"/>
                  <a:pt x="1277" y="4224"/>
                </a:cubicBezTo>
                <a:cubicBezTo>
                  <a:pt x="1277" y="3806"/>
                  <a:pt x="1277" y="3806"/>
                  <a:pt x="1277" y="3806"/>
                </a:cubicBezTo>
                <a:cubicBezTo>
                  <a:pt x="860" y="3806"/>
                  <a:pt x="860" y="3806"/>
                  <a:pt x="860" y="3806"/>
                </a:cubicBezTo>
                <a:lnTo>
                  <a:pt x="860" y="4224"/>
                </a:lnTo>
                <a:close/>
                <a:moveTo>
                  <a:pt x="860" y="3389"/>
                </a:moveTo>
                <a:cubicBezTo>
                  <a:pt x="1277" y="3389"/>
                  <a:pt x="1277" y="3389"/>
                  <a:pt x="1277" y="3389"/>
                </a:cubicBezTo>
                <a:cubicBezTo>
                  <a:pt x="1277" y="2972"/>
                  <a:pt x="1277" y="2972"/>
                  <a:pt x="1277" y="2972"/>
                </a:cubicBezTo>
                <a:cubicBezTo>
                  <a:pt x="860" y="2972"/>
                  <a:pt x="860" y="2972"/>
                  <a:pt x="860" y="2972"/>
                </a:cubicBezTo>
                <a:lnTo>
                  <a:pt x="860" y="3389"/>
                </a:lnTo>
                <a:close/>
              </a:path>
            </a:pathLst>
          </a:custGeom>
          <a:solidFill>
            <a:schemeClr val="bg1"/>
          </a:solidFill>
          <a:ln w="10120" cap="flat">
            <a:noFill/>
            <a:prstDash val="solid"/>
            <a:miter/>
          </a:ln>
          <a:extLst/>
        </p:spPr>
        <p:txBody>
          <a:bodyPr vert="horz" wrap="square" lIns="106926" tIns="53463" rIns="106926" bIns="534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38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Can 67">
            <a:extLst>
              <a:ext uri="{FF2B5EF4-FFF2-40B4-BE49-F238E27FC236}">
                <a16:creationId xmlns:a16="http://schemas.microsoft.com/office/drawing/2014/main" id="{0E6B19AB-8561-4626-A551-11DB24EA80FC}"/>
              </a:ext>
            </a:extLst>
          </p:cNvPr>
          <p:cNvSpPr/>
          <p:nvPr/>
        </p:nvSpPr>
        <p:spPr>
          <a:xfrm>
            <a:off x="7753795" y="11405930"/>
            <a:ext cx="649864" cy="533494"/>
          </a:xfrm>
          <a:prstGeom prst="flowChartMagneticDisk">
            <a:avLst/>
          </a:prstGeom>
          <a:solidFill>
            <a:schemeClr val="bg1"/>
          </a:solidFill>
          <a:ln w="19050">
            <a:solidFill>
              <a:schemeClr val="accent5">
                <a:lumMod val="50000"/>
              </a:schemeClr>
            </a:solidFill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67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Freeform 4842">
            <a:extLst>
              <a:ext uri="{FF2B5EF4-FFF2-40B4-BE49-F238E27FC236}">
                <a16:creationId xmlns:a16="http://schemas.microsoft.com/office/drawing/2014/main" id="{48309CF1-2EAD-4F68-A9A1-4B7560FAEADD}"/>
              </a:ext>
            </a:extLst>
          </p:cNvPr>
          <p:cNvSpPr>
            <a:spLocks noEditPoints="1"/>
          </p:cNvSpPr>
          <p:nvPr/>
        </p:nvSpPr>
        <p:spPr bwMode="auto">
          <a:xfrm>
            <a:off x="7474135" y="8588829"/>
            <a:ext cx="825614" cy="758007"/>
          </a:xfrm>
          <a:custGeom>
            <a:avLst/>
            <a:gdLst>
              <a:gd name="T0" fmla="*/ 52 w 308"/>
              <a:gd name="T1" fmla="*/ 4 h 292"/>
              <a:gd name="T2" fmla="*/ 244 w 308"/>
              <a:gd name="T3" fmla="*/ 0 h 292"/>
              <a:gd name="T4" fmla="*/ 308 w 308"/>
              <a:gd name="T5" fmla="*/ 68 h 292"/>
              <a:gd name="T6" fmla="*/ 304 w 308"/>
              <a:gd name="T7" fmla="*/ 266 h 292"/>
              <a:gd name="T8" fmla="*/ 248 w 308"/>
              <a:gd name="T9" fmla="*/ 292 h 292"/>
              <a:gd name="T10" fmla="*/ 16 w 308"/>
              <a:gd name="T11" fmla="*/ 292 h 292"/>
              <a:gd name="T12" fmla="*/ 4 w 308"/>
              <a:gd name="T13" fmla="*/ 266 h 292"/>
              <a:gd name="T14" fmla="*/ 0 w 308"/>
              <a:gd name="T15" fmla="*/ 68 h 292"/>
              <a:gd name="T16" fmla="*/ 16 w 308"/>
              <a:gd name="T17" fmla="*/ 52 h 292"/>
              <a:gd name="T18" fmla="*/ 304 w 308"/>
              <a:gd name="T19" fmla="*/ 56 h 292"/>
              <a:gd name="T20" fmla="*/ 166 w 308"/>
              <a:gd name="T21" fmla="*/ 162 h 292"/>
              <a:gd name="T22" fmla="*/ 154 w 308"/>
              <a:gd name="T23" fmla="*/ 124 h 292"/>
              <a:gd name="T24" fmla="*/ 114 w 308"/>
              <a:gd name="T25" fmla="*/ 98 h 292"/>
              <a:gd name="T26" fmla="*/ 74 w 308"/>
              <a:gd name="T27" fmla="*/ 100 h 292"/>
              <a:gd name="T28" fmla="*/ 40 w 308"/>
              <a:gd name="T29" fmla="*/ 136 h 292"/>
              <a:gd name="T30" fmla="*/ 36 w 308"/>
              <a:gd name="T31" fmla="*/ 174 h 292"/>
              <a:gd name="T32" fmla="*/ 64 w 308"/>
              <a:gd name="T33" fmla="*/ 216 h 292"/>
              <a:gd name="T34" fmla="*/ 100 w 308"/>
              <a:gd name="T35" fmla="*/ 228 h 292"/>
              <a:gd name="T36" fmla="*/ 146 w 308"/>
              <a:gd name="T37" fmla="*/ 208 h 292"/>
              <a:gd name="T38" fmla="*/ 166 w 308"/>
              <a:gd name="T39" fmla="*/ 162 h 292"/>
              <a:gd name="T40" fmla="*/ 268 w 308"/>
              <a:gd name="T41" fmla="*/ 110 h 292"/>
              <a:gd name="T42" fmla="*/ 244 w 308"/>
              <a:gd name="T43" fmla="*/ 96 h 292"/>
              <a:gd name="T44" fmla="*/ 218 w 308"/>
              <a:gd name="T45" fmla="*/ 120 h 292"/>
              <a:gd name="T46" fmla="*/ 226 w 308"/>
              <a:gd name="T47" fmla="*/ 140 h 292"/>
              <a:gd name="T48" fmla="*/ 232 w 308"/>
              <a:gd name="T49" fmla="*/ 222 h 292"/>
              <a:gd name="T50" fmla="*/ 244 w 308"/>
              <a:gd name="T51" fmla="*/ 230 h 292"/>
              <a:gd name="T52" fmla="*/ 256 w 308"/>
              <a:gd name="T53" fmla="*/ 218 h 292"/>
              <a:gd name="T54" fmla="*/ 266 w 308"/>
              <a:gd name="T55" fmla="*/ 134 h 292"/>
              <a:gd name="T56" fmla="*/ 142 w 308"/>
              <a:gd name="T57" fmla="*/ 168 h 292"/>
              <a:gd name="T58" fmla="*/ 140 w 308"/>
              <a:gd name="T59" fmla="*/ 192 h 292"/>
              <a:gd name="T60" fmla="*/ 124 w 308"/>
              <a:gd name="T61" fmla="*/ 186 h 292"/>
              <a:gd name="T62" fmla="*/ 130 w 308"/>
              <a:gd name="T63" fmla="*/ 202 h 292"/>
              <a:gd name="T64" fmla="*/ 108 w 308"/>
              <a:gd name="T65" fmla="*/ 204 h 292"/>
              <a:gd name="T66" fmla="*/ 100 w 308"/>
              <a:gd name="T67" fmla="*/ 196 h 292"/>
              <a:gd name="T68" fmla="*/ 92 w 308"/>
              <a:gd name="T69" fmla="*/ 212 h 292"/>
              <a:gd name="T70" fmla="*/ 76 w 308"/>
              <a:gd name="T71" fmla="*/ 196 h 292"/>
              <a:gd name="T72" fmla="*/ 70 w 308"/>
              <a:gd name="T73" fmla="*/ 184 h 292"/>
              <a:gd name="T74" fmla="*/ 54 w 308"/>
              <a:gd name="T75" fmla="*/ 180 h 292"/>
              <a:gd name="T76" fmla="*/ 64 w 308"/>
              <a:gd name="T77" fmla="*/ 166 h 292"/>
              <a:gd name="T78" fmla="*/ 58 w 308"/>
              <a:gd name="T79" fmla="*/ 154 h 292"/>
              <a:gd name="T80" fmla="*/ 60 w 308"/>
              <a:gd name="T81" fmla="*/ 132 h 292"/>
              <a:gd name="T82" fmla="*/ 70 w 308"/>
              <a:gd name="T83" fmla="*/ 140 h 292"/>
              <a:gd name="T84" fmla="*/ 76 w 308"/>
              <a:gd name="T85" fmla="*/ 126 h 292"/>
              <a:gd name="T86" fmla="*/ 92 w 308"/>
              <a:gd name="T87" fmla="*/ 112 h 292"/>
              <a:gd name="T88" fmla="*/ 100 w 308"/>
              <a:gd name="T89" fmla="*/ 128 h 292"/>
              <a:gd name="T90" fmla="*/ 108 w 308"/>
              <a:gd name="T91" fmla="*/ 112 h 292"/>
              <a:gd name="T92" fmla="*/ 124 w 308"/>
              <a:gd name="T93" fmla="*/ 126 h 292"/>
              <a:gd name="T94" fmla="*/ 124 w 308"/>
              <a:gd name="T95" fmla="*/ 138 h 292"/>
              <a:gd name="T96" fmla="*/ 140 w 308"/>
              <a:gd name="T97" fmla="*/ 130 h 292"/>
              <a:gd name="T98" fmla="*/ 142 w 308"/>
              <a:gd name="T99" fmla="*/ 154 h 292"/>
              <a:gd name="T100" fmla="*/ 134 w 308"/>
              <a:gd name="T101" fmla="*/ 162 h 292"/>
              <a:gd name="T102" fmla="*/ 120 w 308"/>
              <a:gd name="T103" fmla="*/ 162 h 292"/>
              <a:gd name="T104" fmla="*/ 108 w 308"/>
              <a:gd name="T105" fmla="*/ 142 h 292"/>
              <a:gd name="T106" fmla="*/ 86 w 308"/>
              <a:gd name="T107" fmla="*/ 146 h 292"/>
              <a:gd name="T108" fmla="*/ 82 w 308"/>
              <a:gd name="T109" fmla="*/ 170 h 292"/>
              <a:gd name="T110" fmla="*/ 100 w 308"/>
              <a:gd name="T111" fmla="*/ 182 h 292"/>
              <a:gd name="T112" fmla="*/ 120 w 308"/>
              <a:gd name="T113" fmla="*/ 16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8" h="292">
                <a:moveTo>
                  <a:pt x="290" y="32"/>
                </a:moveTo>
                <a:lnTo>
                  <a:pt x="18" y="32"/>
                </a:lnTo>
                <a:lnTo>
                  <a:pt x="52" y="4"/>
                </a:lnTo>
                <a:lnTo>
                  <a:pt x="52" y="4"/>
                </a:lnTo>
                <a:lnTo>
                  <a:pt x="58" y="0"/>
                </a:lnTo>
                <a:lnTo>
                  <a:pt x="64" y="0"/>
                </a:lnTo>
                <a:lnTo>
                  <a:pt x="244" y="0"/>
                </a:lnTo>
                <a:lnTo>
                  <a:pt x="244" y="0"/>
                </a:lnTo>
                <a:lnTo>
                  <a:pt x="250" y="0"/>
                </a:lnTo>
                <a:lnTo>
                  <a:pt x="256" y="4"/>
                </a:lnTo>
                <a:lnTo>
                  <a:pt x="290" y="32"/>
                </a:lnTo>
                <a:close/>
                <a:moveTo>
                  <a:pt x="308" y="68"/>
                </a:moveTo>
                <a:lnTo>
                  <a:pt x="308" y="256"/>
                </a:lnTo>
                <a:lnTo>
                  <a:pt x="308" y="256"/>
                </a:lnTo>
                <a:lnTo>
                  <a:pt x="308" y="262"/>
                </a:lnTo>
                <a:lnTo>
                  <a:pt x="304" y="266"/>
                </a:lnTo>
                <a:lnTo>
                  <a:pt x="298" y="270"/>
                </a:lnTo>
                <a:lnTo>
                  <a:pt x="292" y="272"/>
                </a:lnTo>
                <a:lnTo>
                  <a:pt x="292" y="292"/>
                </a:lnTo>
                <a:lnTo>
                  <a:pt x="248" y="292"/>
                </a:lnTo>
                <a:lnTo>
                  <a:pt x="248" y="272"/>
                </a:lnTo>
                <a:lnTo>
                  <a:pt x="60" y="272"/>
                </a:lnTo>
                <a:lnTo>
                  <a:pt x="60" y="292"/>
                </a:lnTo>
                <a:lnTo>
                  <a:pt x="16" y="292"/>
                </a:lnTo>
                <a:lnTo>
                  <a:pt x="16" y="272"/>
                </a:lnTo>
                <a:lnTo>
                  <a:pt x="16" y="272"/>
                </a:lnTo>
                <a:lnTo>
                  <a:pt x="10" y="270"/>
                </a:lnTo>
                <a:lnTo>
                  <a:pt x="4" y="266"/>
                </a:lnTo>
                <a:lnTo>
                  <a:pt x="0" y="262"/>
                </a:lnTo>
                <a:lnTo>
                  <a:pt x="0" y="256"/>
                </a:lnTo>
                <a:lnTo>
                  <a:pt x="0" y="68"/>
                </a:lnTo>
                <a:lnTo>
                  <a:pt x="0" y="68"/>
                </a:lnTo>
                <a:lnTo>
                  <a:pt x="0" y="62"/>
                </a:lnTo>
                <a:lnTo>
                  <a:pt x="4" y="56"/>
                </a:lnTo>
                <a:lnTo>
                  <a:pt x="10" y="52"/>
                </a:lnTo>
                <a:lnTo>
                  <a:pt x="16" y="52"/>
                </a:lnTo>
                <a:lnTo>
                  <a:pt x="292" y="52"/>
                </a:lnTo>
                <a:lnTo>
                  <a:pt x="292" y="52"/>
                </a:lnTo>
                <a:lnTo>
                  <a:pt x="298" y="52"/>
                </a:lnTo>
                <a:lnTo>
                  <a:pt x="304" y="56"/>
                </a:lnTo>
                <a:lnTo>
                  <a:pt x="308" y="62"/>
                </a:lnTo>
                <a:lnTo>
                  <a:pt x="308" y="68"/>
                </a:lnTo>
                <a:lnTo>
                  <a:pt x="308" y="68"/>
                </a:lnTo>
                <a:close/>
                <a:moveTo>
                  <a:pt x="166" y="162"/>
                </a:moveTo>
                <a:lnTo>
                  <a:pt x="166" y="162"/>
                </a:lnTo>
                <a:lnTo>
                  <a:pt x="164" y="148"/>
                </a:lnTo>
                <a:lnTo>
                  <a:pt x="160" y="136"/>
                </a:lnTo>
                <a:lnTo>
                  <a:pt x="154" y="124"/>
                </a:lnTo>
                <a:lnTo>
                  <a:pt x="146" y="114"/>
                </a:lnTo>
                <a:lnTo>
                  <a:pt x="136" y="106"/>
                </a:lnTo>
                <a:lnTo>
                  <a:pt x="126" y="100"/>
                </a:lnTo>
                <a:lnTo>
                  <a:pt x="114" y="98"/>
                </a:lnTo>
                <a:lnTo>
                  <a:pt x="100" y="96"/>
                </a:lnTo>
                <a:lnTo>
                  <a:pt x="100" y="96"/>
                </a:lnTo>
                <a:lnTo>
                  <a:pt x="86" y="98"/>
                </a:lnTo>
                <a:lnTo>
                  <a:pt x="74" y="100"/>
                </a:lnTo>
                <a:lnTo>
                  <a:pt x="64" y="106"/>
                </a:lnTo>
                <a:lnTo>
                  <a:pt x="54" y="114"/>
                </a:lnTo>
                <a:lnTo>
                  <a:pt x="46" y="124"/>
                </a:lnTo>
                <a:lnTo>
                  <a:pt x="40" y="136"/>
                </a:lnTo>
                <a:lnTo>
                  <a:pt x="36" y="148"/>
                </a:lnTo>
                <a:lnTo>
                  <a:pt x="34" y="162"/>
                </a:lnTo>
                <a:lnTo>
                  <a:pt x="34" y="162"/>
                </a:lnTo>
                <a:lnTo>
                  <a:pt x="36" y="174"/>
                </a:lnTo>
                <a:lnTo>
                  <a:pt x="40" y="186"/>
                </a:lnTo>
                <a:lnTo>
                  <a:pt x="46" y="198"/>
                </a:lnTo>
                <a:lnTo>
                  <a:pt x="54" y="208"/>
                </a:lnTo>
                <a:lnTo>
                  <a:pt x="64" y="216"/>
                </a:lnTo>
                <a:lnTo>
                  <a:pt x="74" y="222"/>
                </a:lnTo>
                <a:lnTo>
                  <a:pt x="86" y="226"/>
                </a:lnTo>
                <a:lnTo>
                  <a:pt x="100" y="228"/>
                </a:lnTo>
                <a:lnTo>
                  <a:pt x="100" y="228"/>
                </a:lnTo>
                <a:lnTo>
                  <a:pt x="114" y="226"/>
                </a:lnTo>
                <a:lnTo>
                  <a:pt x="126" y="222"/>
                </a:lnTo>
                <a:lnTo>
                  <a:pt x="136" y="216"/>
                </a:lnTo>
                <a:lnTo>
                  <a:pt x="146" y="208"/>
                </a:lnTo>
                <a:lnTo>
                  <a:pt x="154" y="198"/>
                </a:lnTo>
                <a:lnTo>
                  <a:pt x="160" y="186"/>
                </a:lnTo>
                <a:lnTo>
                  <a:pt x="164" y="174"/>
                </a:lnTo>
                <a:lnTo>
                  <a:pt x="166" y="162"/>
                </a:lnTo>
                <a:lnTo>
                  <a:pt x="166" y="162"/>
                </a:lnTo>
                <a:close/>
                <a:moveTo>
                  <a:pt x="270" y="120"/>
                </a:moveTo>
                <a:lnTo>
                  <a:pt x="270" y="120"/>
                </a:lnTo>
                <a:lnTo>
                  <a:pt x="268" y="110"/>
                </a:lnTo>
                <a:lnTo>
                  <a:pt x="262" y="102"/>
                </a:lnTo>
                <a:lnTo>
                  <a:pt x="254" y="98"/>
                </a:lnTo>
                <a:lnTo>
                  <a:pt x="244" y="96"/>
                </a:lnTo>
                <a:lnTo>
                  <a:pt x="244" y="96"/>
                </a:lnTo>
                <a:lnTo>
                  <a:pt x="234" y="98"/>
                </a:lnTo>
                <a:lnTo>
                  <a:pt x="226" y="102"/>
                </a:lnTo>
                <a:lnTo>
                  <a:pt x="220" y="110"/>
                </a:lnTo>
                <a:lnTo>
                  <a:pt x="218" y="120"/>
                </a:lnTo>
                <a:lnTo>
                  <a:pt x="218" y="120"/>
                </a:lnTo>
                <a:lnTo>
                  <a:pt x="220" y="128"/>
                </a:lnTo>
                <a:lnTo>
                  <a:pt x="222" y="134"/>
                </a:lnTo>
                <a:lnTo>
                  <a:pt x="226" y="140"/>
                </a:lnTo>
                <a:lnTo>
                  <a:pt x="232" y="144"/>
                </a:lnTo>
                <a:lnTo>
                  <a:pt x="232" y="218"/>
                </a:lnTo>
                <a:lnTo>
                  <a:pt x="232" y="218"/>
                </a:lnTo>
                <a:lnTo>
                  <a:pt x="232" y="222"/>
                </a:lnTo>
                <a:lnTo>
                  <a:pt x="236" y="226"/>
                </a:lnTo>
                <a:lnTo>
                  <a:pt x="240" y="228"/>
                </a:lnTo>
                <a:lnTo>
                  <a:pt x="244" y="230"/>
                </a:lnTo>
                <a:lnTo>
                  <a:pt x="244" y="230"/>
                </a:lnTo>
                <a:lnTo>
                  <a:pt x="248" y="228"/>
                </a:lnTo>
                <a:lnTo>
                  <a:pt x="252" y="226"/>
                </a:lnTo>
                <a:lnTo>
                  <a:pt x="256" y="222"/>
                </a:lnTo>
                <a:lnTo>
                  <a:pt x="256" y="218"/>
                </a:lnTo>
                <a:lnTo>
                  <a:pt x="256" y="144"/>
                </a:lnTo>
                <a:lnTo>
                  <a:pt x="256" y="144"/>
                </a:lnTo>
                <a:lnTo>
                  <a:pt x="262" y="140"/>
                </a:lnTo>
                <a:lnTo>
                  <a:pt x="266" y="134"/>
                </a:lnTo>
                <a:lnTo>
                  <a:pt x="268" y="128"/>
                </a:lnTo>
                <a:lnTo>
                  <a:pt x="270" y="120"/>
                </a:lnTo>
                <a:lnTo>
                  <a:pt x="270" y="120"/>
                </a:lnTo>
                <a:close/>
                <a:moveTo>
                  <a:pt x="142" y="168"/>
                </a:moveTo>
                <a:lnTo>
                  <a:pt x="150" y="168"/>
                </a:lnTo>
                <a:lnTo>
                  <a:pt x="150" y="168"/>
                </a:lnTo>
                <a:lnTo>
                  <a:pt x="146" y="180"/>
                </a:lnTo>
                <a:lnTo>
                  <a:pt x="140" y="192"/>
                </a:lnTo>
                <a:lnTo>
                  <a:pt x="134" y="186"/>
                </a:lnTo>
                <a:lnTo>
                  <a:pt x="134" y="186"/>
                </a:lnTo>
                <a:lnTo>
                  <a:pt x="130" y="184"/>
                </a:lnTo>
                <a:lnTo>
                  <a:pt x="124" y="186"/>
                </a:lnTo>
                <a:lnTo>
                  <a:pt x="124" y="186"/>
                </a:lnTo>
                <a:lnTo>
                  <a:pt x="122" y="190"/>
                </a:lnTo>
                <a:lnTo>
                  <a:pt x="124" y="196"/>
                </a:lnTo>
                <a:lnTo>
                  <a:pt x="130" y="202"/>
                </a:lnTo>
                <a:lnTo>
                  <a:pt x="130" y="202"/>
                </a:lnTo>
                <a:lnTo>
                  <a:pt x="120" y="208"/>
                </a:lnTo>
                <a:lnTo>
                  <a:pt x="108" y="212"/>
                </a:lnTo>
                <a:lnTo>
                  <a:pt x="108" y="204"/>
                </a:lnTo>
                <a:lnTo>
                  <a:pt x="108" y="204"/>
                </a:lnTo>
                <a:lnTo>
                  <a:pt x="106" y="198"/>
                </a:lnTo>
                <a:lnTo>
                  <a:pt x="100" y="196"/>
                </a:lnTo>
                <a:lnTo>
                  <a:pt x="100" y="196"/>
                </a:lnTo>
                <a:lnTo>
                  <a:pt x="94" y="198"/>
                </a:lnTo>
                <a:lnTo>
                  <a:pt x="92" y="204"/>
                </a:lnTo>
                <a:lnTo>
                  <a:pt x="92" y="212"/>
                </a:lnTo>
                <a:lnTo>
                  <a:pt x="92" y="212"/>
                </a:lnTo>
                <a:lnTo>
                  <a:pt x="80" y="208"/>
                </a:lnTo>
                <a:lnTo>
                  <a:pt x="70" y="202"/>
                </a:lnTo>
                <a:lnTo>
                  <a:pt x="76" y="196"/>
                </a:lnTo>
                <a:lnTo>
                  <a:pt x="76" y="196"/>
                </a:lnTo>
                <a:lnTo>
                  <a:pt x="78" y="190"/>
                </a:lnTo>
                <a:lnTo>
                  <a:pt x="76" y="186"/>
                </a:lnTo>
                <a:lnTo>
                  <a:pt x="76" y="186"/>
                </a:lnTo>
                <a:lnTo>
                  <a:pt x="70" y="184"/>
                </a:lnTo>
                <a:lnTo>
                  <a:pt x="66" y="186"/>
                </a:lnTo>
                <a:lnTo>
                  <a:pt x="60" y="192"/>
                </a:lnTo>
                <a:lnTo>
                  <a:pt x="60" y="192"/>
                </a:lnTo>
                <a:lnTo>
                  <a:pt x="54" y="180"/>
                </a:lnTo>
                <a:lnTo>
                  <a:pt x="50" y="168"/>
                </a:lnTo>
                <a:lnTo>
                  <a:pt x="58" y="168"/>
                </a:lnTo>
                <a:lnTo>
                  <a:pt x="58" y="168"/>
                </a:lnTo>
                <a:lnTo>
                  <a:pt x="64" y="166"/>
                </a:lnTo>
                <a:lnTo>
                  <a:pt x="66" y="162"/>
                </a:lnTo>
                <a:lnTo>
                  <a:pt x="66" y="162"/>
                </a:lnTo>
                <a:lnTo>
                  <a:pt x="64" y="156"/>
                </a:lnTo>
                <a:lnTo>
                  <a:pt x="58" y="154"/>
                </a:lnTo>
                <a:lnTo>
                  <a:pt x="50" y="154"/>
                </a:lnTo>
                <a:lnTo>
                  <a:pt x="50" y="154"/>
                </a:lnTo>
                <a:lnTo>
                  <a:pt x="54" y="142"/>
                </a:lnTo>
                <a:lnTo>
                  <a:pt x="60" y="132"/>
                </a:lnTo>
                <a:lnTo>
                  <a:pt x="66" y="138"/>
                </a:lnTo>
                <a:lnTo>
                  <a:pt x="66" y="138"/>
                </a:lnTo>
                <a:lnTo>
                  <a:pt x="70" y="140"/>
                </a:lnTo>
                <a:lnTo>
                  <a:pt x="70" y="140"/>
                </a:lnTo>
                <a:lnTo>
                  <a:pt x="76" y="138"/>
                </a:lnTo>
                <a:lnTo>
                  <a:pt x="76" y="138"/>
                </a:lnTo>
                <a:lnTo>
                  <a:pt x="78" y="132"/>
                </a:lnTo>
                <a:lnTo>
                  <a:pt x="76" y="126"/>
                </a:lnTo>
                <a:lnTo>
                  <a:pt x="70" y="120"/>
                </a:lnTo>
                <a:lnTo>
                  <a:pt x="70" y="120"/>
                </a:lnTo>
                <a:lnTo>
                  <a:pt x="80" y="114"/>
                </a:lnTo>
                <a:lnTo>
                  <a:pt x="92" y="112"/>
                </a:lnTo>
                <a:lnTo>
                  <a:pt x="92" y="120"/>
                </a:lnTo>
                <a:lnTo>
                  <a:pt x="92" y="120"/>
                </a:lnTo>
                <a:lnTo>
                  <a:pt x="94" y="124"/>
                </a:lnTo>
                <a:lnTo>
                  <a:pt x="100" y="128"/>
                </a:lnTo>
                <a:lnTo>
                  <a:pt x="100" y="128"/>
                </a:lnTo>
                <a:lnTo>
                  <a:pt x="106" y="124"/>
                </a:lnTo>
                <a:lnTo>
                  <a:pt x="108" y="120"/>
                </a:lnTo>
                <a:lnTo>
                  <a:pt x="108" y="112"/>
                </a:lnTo>
                <a:lnTo>
                  <a:pt x="108" y="112"/>
                </a:lnTo>
                <a:lnTo>
                  <a:pt x="120" y="114"/>
                </a:lnTo>
                <a:lnTo>
                  <a:pt x="130" y="120"/>
                </a:lnTo>
                <a:lnTo>
                  <a:pt x="124" y="126"/>
                </a:lnTo>
                <a:lnTo>
                  <a:pt x="124" y="126"/>
                </a:lnTo>
                <a:lnTo>
                  <a:pt x="122" y="132"/>
                </a:lnTo>
                <a:lnTo>
                  <a:pt x="124" y="138"/>
                </a:lnTo>
                <a:lnTo>
                  <a:pt x="124" y="138"/>
                </a:lnTo>
                <a:lnTo>
                  <a:pt x="130" y="140"/>
                </a:lnTo>
                <a:lnTo>
                  <a:pt x="130" y="140"/>
                </a:lnTo>
                <a:lnTo>
                  <a:pt x="134" y="138"/>
                </a:lnTo>
                <a:lnTo>
                  <a:pt x="140" y="130"/>
                </a:lnTo>
                <a:lnTo>
                  <a:pt x="140" y="130"/>
                </a:lnTo>
                <a:lnTo>
                  <a:pt x="146" y="142"/>
                </a:lnTo>
                <a:lnTo>
                  <a:pt x="150" y="154"/>
                </a:lnTo>
                <a:lnTo>
                  <a:pt x="142" y="154"/>
                </a:lnTo>
                <a:lnTo>
                  <a:pt x="142" y="154"/>
                </a:lnTo>
                <a:lnTo>
                  <a:pt x="136" y="156"/>
                </a:lnTo>
                <a:lnTo>
                  <a:pt x="134" y="162"/>
                </a:lnTo>
                <a:lnTo>
                  <a:pt x="134" y="162"/>
                </a:lnTo>
                <a:lnTo>
                  <a:pt x="136" y="166"/>
                </a:lnTo>
                <a:lnTo>
                  <a:pt x="142" y="168"/>
                </a:lnTo>
                <a:lnTo>
                  <a:pt x="142" y="168"/>
                </a:lnTo>
                <a:close/>
                <a:moveTo>
                  <a:pt x="120" y="162"/>
                </a:moveTo>
                <a:lnTo>
                  <a:pt x="120" y="162"/>
                </a:lnTo>
                <a:lnTo>
                  <a:pt x="118" y="154"/>
                </a:lnTo>
                <a:lnTo>
                  <a:pt x="114" y="146"/>
                </a:lnTo>
                <a:lnTo>
                  <a:pt x="108" y="142"/>
                </a:lnTo>
                <a:lnTo>
                  <a:pt x="100" y="140"/>
                </a:lnTo>
                <a:lnTo>
                  <a:pt x="100" y="140"/>
                </a:lnTo>
                <a:lnTo>
                  <a:pt x="92" y="142"/>
                </a:lnTo>
                <a:lnTo>
                  <a:pt x="86" y="146"/>
                </a:lnTo>
                <a:lnTo>
                  <a:pt x="82" y="154"/>
                </a:lnTo>
                <a:lnTo>
                  <a:pt x="80" y="162"/>
                </a:lnTo>
                <a:lnTo>
                  <a:pt x="80" y="162"/>
                </a:lnTo>
                <a:lnTo>
                  <a:pt x="82" y="170"/>
                </a:lnTo>
                <a:lnTo>
                  <a:pt x="86" y="176"/>
                </a:lnTo>
                <a:lnTo>
                  <a:pt x="92" y="180"/>
                </a:lnTo>
                <a:lnTo>
                  <a:pt x="100" y="182"/>
                </a:lnTo>
                <a:lnTo>
                  <a:pt x="100" y="182"/>
                </a:lnTo>
                <a:lnTo>
                  <a:pt x="108" y="180"/>
                </a:lnTo>
                <a:lnTo>
                  <a:pt x="114" y="176"/>
                </a:lnTo>
                <a:lnTo>
                  <a:pt x="118" y="170"/>
                </a:lnTo>
                <a:lnTo>
                  <a:pt x="120" y="162"/>
                </a:lnTo>
                <a:lnTo>
                  <a:pt x="120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Freeform 4901">
            <a:extLst>
              <a:ext uri="{FF2B5EF4-FFF2-40B4-BE49-F238E27FC236}">
                <a16:creationId xmlns:a16="http://schemas.microsoft.com/office/drawing/2014/main" id="{80983BF1-6A73-4B89-804E-AFCA0D6CB1C0}"/>
              </a:ext>
            </a:extLst>
          </p:cNvPr>
          <p:cNvSpPr>
            <a:spLocks noEditPoints="1"/>
          </p:cNvSpPr>
          <p:nvPr/>
        </p:nvSpPr>
        <p:spPr bwMode="auto">
          <a:xfrm>
            <a:off x="7543055" y="5994652"/>
            <a:ext cx="480849" cy="596710"/>
          </a:xfrm>
          <a:custGeom>
            <a:avLst/>
            <a:gdLst>
              <a:gd name="T0" fmla="*/ 232 w 238"/>
              <a:gd name="T1" fmla="*/ 242 h 366"/>
              <a:gd name="T2" fmla="*/ 216 w 238"/>
              <a:gd name="T3" fmla="*/ 290 h 366"/>
              <a:gd name="T4" fmla="*/ 206 w 238"/>
              <a:gd name="T5" fmla="*/ 274 h 366"/>
              <a:gd name="T6" fmla="*/ 188 w 238"/>
              <a:gd name="T7" fmla="*/ 268 h 366"/>
              <a:gd name="T8" fmla="*/ 186 w 238"/>
              <a:gd name="T9" fmla="*/ 260 h 366"/>
              <a:gd name="T10" fmla="*/ 192 w 238"/>
              <a:gd name="T11" fmla="*/ 224 h 366"/>
              <a:gd name="T12" fmla="*/ 184 w 238"/>
              <a:gd name="T13" fmla="*/ 186 h 366"/>
              <a:gd name="T14" fmla="*/ 164 w 238"/>
              <a:gd name="T15" fmla="*/ 154 h 366"/>
              <a:gd name="T16" fmla="*/ 184 w 238"/>
              <a:gd name="T17" fmla="*/ 130 h 366"/>
              <a:gd name="T18" fmla="*/ 196 w 238"/>
              <a:gd name="T19" fmla="*/ 130 h 366"/>
              <a:gd name="T20" fmla="*/ 220 w 238"/>
              <a:gd name="T21" fmla="*/ 166 h 366"/>
              <a:gd name="T22" fmla="*/ 232 w 238"/>
              <a:gd name="T23" fmla="*/ 208 h 366"/>
              <a:gd name="T24" fmla="*/ 188 w 238"/>
              <a:gd name="T25" fmla="*/ 310 h 366"/>
              <a:gd name="T26" fmla="*/ 200 w 238"/>
              <a:gd name="T27" fmla="*/ 306 h 366"/>
              <a:gd name="T28" fmla="*/ 204 w 238"/>
              <a:gd name="T29" fmla="*/ 296 h 366"/>
              <a:gd name="T30" fmla="*/ 194 w 238"/>
              <a:gd name="T31" fmla="*/ 282 h 366"/>
              <a:gd name="T32" fmla="*/ 182 w 238"/>
              <a:gd name="T33" fmla="*/ 282 h 366"/>
              <a:gd name="T34" fmla="*/ 174 w 238"/>
              <a:gd name="T35" fmla="*/ 296 h 366"/>
              <a:gd name="T36" fmla="*/ 178 w 238"/>
              <a:gd name="T37" fmla="*/ 306 h 366"/>
              <a:gd name="T38" fmla="*/ 188 w 238"/>
              <a:gd name="T39" fmla="*/ 310 h 366"/>
              <a:gd name="T40" fmla="*/ 140 w 238"/>
              <a:gd name="T41" fmla="*/ 98 h 366"/>
              <a:gd name="T42" fmla="*/ 126 w 238"/>
              <a:gd name="T43" fmla="*/ 120 h 366"/>
              <a:gd name="T44" fmla="*/ 132 w 238"/>
              <a:gd name="T45" fmla="*/ 134 h 366"/>
              <a:gd name="T46" fmla="*/ 148 w 238"/>
              <a:gd name="T47" fmla="*/ 142 h 366"/>
              <a:gd name="T48" fmla="*/ 168 w 238"/>
              <a:gd name="T49" fmla="*/ 128 h 366"/>
              <a:gd name="T50" fmla="*/ 168 w 238"/>
              <a:gd name="T51" fmla="*/ 110 h 366"/>
              <a:gd name="T52" fmla="*/ 148 w 238"/>
              <a:gd name="T53" fmla="*/ 98 h 366"/>
              <a:gd name="T54" fmla="*/ 192 w 238"/>
              <a:gd name="T55" fmla="*/ 322 h 366"/>
              <a:gd name="T56" fmla="*/ 188 w 238"/>
              <a:gd name="T57" fmla="*/ 322 h 366"/>
              <a:gd name="T58" fmla="*/ 164 w 238"/>
              <a:gd name="T59" fmla="*/ 306 h 366"/>
              <a:gd name="T60" fmla="*/ 150 w 238"/>
              <a:gd name="T61" fmla="*/ 306 h 366"/>
              <a:gd name="T62" fmla="*/ 106 w 238"/>
              <a:gd name="T63" fmla="*/ 322 h 366"/>
              <a:gd name="T64" fmla="*/ 6 w 238"/>
              <a:gd name="T65" fmla="*/ 322 h 366"/>
              <a:gd name="T66" fmla="*/ 0 w 238"/>
              <a:gd name="T67" fmla="*/ 332 h 366"/>
              <a:gd name="T68" fmla="*/ 0 w 238"/>
              <a:gd name="T69" fmla="*/ 360 h 366"/>
              <a:gd name="T70" fmla="*/ 10 w 238"/>
              <a:gd name="T71" fmla="*/ 366 h 366"/>
              <a:gd name="T72" fmla="*/ 232 w 238"/>
              <a:gd name="T73" fmla="*/ 366 h 366"/>
              <a:gd name="T74" fmla="*/ 238 w 238"/>
              <a:gd name="T75" fmla="*/ 356 h 366"/>
              <a:gd name="T76" fmla="*/ 236 w 238"/>
              <a:gd name="T77" fmla="*/ 328 h 366"/>
              <a:gd name="T78" fmla="*/ 228 w 238"/>
              <a:gd name="T79" fmla="*/ 322 h 366"/>
              <a:gd name="T80" fmla="*/ 16 w 238"/>
              <a:gd name="T81" fmla="*/ 206 h 366"/>
              <a:gd name="T82" fmla="*/ 114 w 238"/>
              <a:gd name="T83" fmla="*/ 262 h 366"/>
              <a:gd name="T84" fmla="*/ 96 w 238"/>
              <a:gd name="T85" fmla="*/ 236 h 366"/>
              <a:gd name="T86" fmla="*/ 106 w 238"/>
              <a:gd name="T87" fmla="*/ 238 h 366"/>
              <a:gd name="T88" fmla="*/ 154 w 238"/>
              <a:gd name="T89" fmla="*/ 156 h 366"/>
              <a:gd name="T90" fmla="*/ 140 w 238"/>
              <a:gd name="T91" fmla="*/ 156 h 366"/>
              <a:gd name="T92" fmla="*/ 120 w 238"/>
              <a:gd name="T93" fmla="*/ 146 h 366"/>
              <a:gd name="T94" fmla="*/ 110 w 238"/>
              <a:gd name="T95" fmla="*/ 126 h 366"/>
              <a:gd name="T96" fmla="*/ 110 w 238"/>
              <a:gd name="T97" fmla="*/ 112 h 366"/>
              <a:gd name="T98" fmla="*/ 120 w 238"/>
              <a:gd name="T99" fmla="*/ 92 h 366"/>
              <a:gd name="T100" fmla="*/ 140 w 238"/>
              <a:gd name="T101" fmla="*/ 82 h 366"/>
              <a:gd name="T102" fmla="*/ 160 w 238"/>
              <a:gd name="T103" fmla="*/ 84 h 366"/>
              <a:gd name="T104" fmla="*/ 184 w 238"/>
              <a:gd name="T105" fmla="*/ 106 h 366"/>
              <a:gd name="T106" fmla="*/ 202 w 238"/>
              <a:gd name="T107" fmla="*/ 76 h 366"/>
              <a:gd name="T108" fmla="*/ 200 w 238"/>
              <a:gd name="T109" fmla="*/ 68 h 366"/>
              <a:gd name="T110" fmla="*/ 196 w 238"/>
              <a:gd name="T111" fmla="*/ 40 h 366"/>
              <a:gd name="T112" fmla="*/ 166 w 238"/>
              <a:gd name="T113" fmla="*/ 0 h 366"/>
              <a:gd name="T114" fmla="*/ 156 w 238"/>
              <a:gd name="T115" fmla="*/ 42 h 366"/>
              <a:gd name="T116" fmla="*/ 142 w 238"/>
              <a:gd name="T117" fmla="*/ 34 h 366"/>
              <a:gd name="T118" fmla="*/ 132 w 238"/>
              <a:gd name="T119" fmla="*/ 40 h 366"/>
              <a:gd name="T120" fmla="*/ 40 w 238"/>
              <a:gd name="T121" fmla="*/ 198 h 366"/>
              <a:gd name="T122" fmla="*/ 42 w 238"/>
              <a:gd name="T123" fmla="*/ 20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8" h="366">
                <a:moveTo>
                  <a:pt x="232" y="224"/>
                </a:moveTo>
                <a:lnTo>
                  <a:pt x="232" y="224"/>
                </a:lnTo>
                <a:lnTo>
                  <a:pt x="232" y="242"/>
                </a:lnTo>
                <a:lnTo>
                  <a:pt x="228" y="260"/>
                </a:lnTo>
                <a:lnTo>
                  <a:pt x="222" y="276"/>
                </a:lnTo>
                <a:lnTo>
                  <a:pt x="216" y="290"/>
                </a:lnTo>
                <a:lnTo>
                  <a:pt x="216" y="290"/>
                </a:lnTo>
                <a:lnTo>
                  <a:pt x="212" y="282"/>
                </a:lnTo>
                <a:lnTo>
                  <a:pt x="206" y="274"/>
                </a:lnTo>
                <a:lnTo>
                  <a:pt x="198" y="270"/>
                </a:lnTo>
                <a:lnTo>
                  <a:pt x="188" y="268"/>
                </a:lnTo>
                <a:lnTo>
                  <a:pt x="188" y="268"/>
                </a:lnTo>
                <a:lnTo>
                  <a:pt x="182" y="270"/>
                </a:lnTo>
                <a:lnTo>
                  <a:pt x="182" y="270"/>
                </a:lnTo>
                <a:lnTo>
                  <a:pt x="186" y="260"/>
                </a:lnTo>
                <a:lnTo>
                  <a:pt x="190" y="248"/>
                </a:lnTo>
                <a:lnTo>
                  <a:pt x="192" y="236"/>
                </a:lnTo>
                <a:lnTo>
                  <a:pt x="192" y="224"/>
                </a:lnTo>
                <a:lnTo>
                  <a:pt x="192" y="224"/>
                </a:lnTo>
                <a:lnTo>
                  <a:pt x="190" y="204"/>
                </a:lnTo>
                <a:lnTo>
                  <a:pt x="184" y="186"/>
                </a:lnTo>
                <a:lnTo>
                  <a:pt x="176" y="168"/>
                </a:lnTo>
                <a:lnTo>
                  <a:pt x="164" y="154"/>
                </a:lnTo>
                <a:lnTo>
                  <a:pt x="164" y="154"/>
                </a:lnTo>
                <a:lnTo>
                  <a:pt x="172" y="148"/>
                </a:lnTo>
                <a:lnTo>
                  <a:pt x="180" y="140"/>
                </a:lnTo>
                <a:lnTo>
                  <a:pt x="184" y="130"/>
                </a:lnTo>
                <a:lnTo>
                  <a:pt x="186" y="120"/>
                </a:lnTo>
                <a:lnTo>
                  <a:pt x="186" y="120"/>
                </a:lnTo>
                <a:lnTo>
                  <a:pt x="196" y="130"/>
                </a:lnTo>
                <a:lnTo>
                  <a:pt x="206" y="142"/>
                </a:lnTo>
                <a:lnTo>
                  <a:pt x="214" y="154"/>
                </a:lnTo>
                <a:lnTo>
                  <a:pt x="220" y="166"/>
                </a:lnTo>
                <a:lnTo>
                  <a:pt x="226" y="180"/>
                </a:lnTo>
                <a:lnTo>
                  <a:pt x="230" y="194"/>
                </a:lnTo>
                <a:lnTo>
                  <a:pt x="232" y="208"/>
                </a:lnTo>
                <a:lnTo>
                  <a:pt x="232" y="224"/>
                </a:lnTo>
                <a:lnTo>
                  <a:pt x="232" y="224"/>
                </a:lnTo>
                <a:close/>
                <a:moveTo>
                  <a:pt x="188" y="310"/>
                </a:moveTo>
                <a:lnTo>
                  <a:pt x="188" y="310"/>
                </a:lnTo>
                <a:lnTo>
                  <a:pt x="194" y="310"/>
                </a:lnTo>
                <a:lnTo>
                  <a:pt x="200" y="306"/>
                </a:lnTo>
                <a:lnTo>
                  <a:pt x="202" y="302"/>
                </a:lnTo>
                <a:lnTo>
                  <a:pt x="204" y="296"/>
                </a:lnTo>
                <a:lnTo>
                  <a:pt x="204" y="296"/>
                </a:lnTo>
                <a:lnTo>
                  <a:pt x="202" y="290"/>
                </a:lnTo>
                <a:lnTo>
                  <a:pt x="200" y="284"/>
                </a:lnTo>
                <a:lnTo>
                  <a:pt x="194" y="282"/>
                </a:lnTo>
                <a:lnTo>
                  <a:pt x="188" y="280"/>
                </a:lnTo>
                <a:lnTo>
                  <a:pt x="188" y="280"/>
                </a:lnTo>
                <a:lnTo>
                  <a:pt x="182" y="282"/>
                </a:lnTo>
                <a:lnTo>
                  <a:pt x="178" y="284"/>
                </a:lnTo>
                <a:lnTo>
                  <a:pt x="174" y="290"/>
                </a:lnTo>
                <a:lnTo>
                  <a:pt x="174" y="296"/>
                </a:lnTo>
                <a:lnTo>
                  <a:pt x="174" y="296"/>
                </a:lnTo>
                <a:lnTo>
                  <a:pt x="174" y="302"/>
                </a:lnTo>
                <a:lnTo>
                  <a:pt x="178" y="306"/>
                </a:lnTo>
                <a:lnTo>
                  <a:pt x="182" y="310"/>
                </a:lnTo>
                <a:lnTo>
                  <a:pt x="188" y="310"/>
                </a:lnTo>
                <a:lnTo>
                  <a:pt x="188" y="310"/>
                </a:lnTo>
                <a:close/>
                <a:moveTo>
                  <a:pt x="148" y="98"/>
                </a:moveTo>
                <a:lnTo>
                  <a:pt x="148" y="98"/>
                </a:lnTo>
                <a:lnTo>
                  <a:pt x="140" y="98"/>
                </a:lnTo>
                <a:lnTo>
                  <a:pt x="132" y="104"/>
                </a:lnTo>
                <a:lnTo>
                  <a:pt x="128" y="110"/>
                </a:lnTo>
                <a:lnTo>
                  <a:pt x="126" y="120"/>
                </a:lnTo>
                <a:lnTo>
                  <a:pt x="126" y="120"/>
                </a:lnTo>
                <a:lnTo>
                  <a:pt x="128" y="128"/>
                </a:lnTo>
                <a:lnTo>
                  <a:pt x="132" y="134"/>
                </a:lnTo>
                <a:lnTo>
                  <a:pt x="140" y="140"/>
                </a:lnTo>
                <a:lnTo>
                  <a:pt x="148" y="142"/>
                </a:lnTo>
                <a:lnTo>
                  <a:pt x="148" y="142"/>
                </a:lnTo>
                <a:lnTo>
                  <a:pt x="156" y="140"/>
                </a:lnTo>
                <a:lnTo>
                  <a:pt x="164" y="134"/>
                </a:lnTo>
                <a:lnTo>
                  <a:pt x="168" y="128"/>
                </a:lnTo>
                <a:lnTo>
                  <a:pt x="170" y="120"/>
                </a:lnTo>
                <a:lnTo>
                  <a:pt x="170" y="120"/>
                </a:lnTo>
                <a:lnTo>
                  <a:pt x="168" y="110"/>
                </a:lnTo>
                <a:lnTo>
                  <a:pt x="164" y="104"/>
                </a:lnTo>
                <a:lnTo>
                  <a:pt x="156" y="98"/>
                </a:lnTo>
                <a:lnTo>
                  <a:pt x="148" y="98"/>
                </a:lnTo>
                <a:lnTo>
                  <a:pt x="148" y="98"/>
                </a:lnTo>
                <a:close/>
                <a:moveTo>
                  <a:pt x="228" y="322"/>
                </a:moveTo>
                <a:lnTo>
                  <a:pt x="192" y="322"/>
                </a:lnTo>
                <a:lnTo>
                  <a:pt x="192" y="322"/>
                </a:lnTo>
                <a:lnTo>
                  <a:pt x="188" y="322"/>
                </a:lnTo>
                <a:lnTo>
                  <a:pt x="188" y="322"/>
                </a:lnTo>
                <a:lnTo>
                  <a:pt x="178" y="320"/>
                </a:lnTo>
                <a:lnTo>
                  <a:pt x="170" y="314"/>
                </a:lnTo>
                <a:lnTo>
                  <a:pt x="164" y="306"/>
                </a:lnTo>
                <a:lnTo>
                  <a:pt x="162" y="296"/>
                </a:lnTo>
                <a:lnTo>
                  <a:pt x="162" y="296"/>
                </a:lnTo>
                <a:lnTo>
                  <a:pt x="150" y="306"/>
                </a:lnTo>
                <a:lnTo>
                  <a:pt x="136" y="314"/>
                </a:lnTo>
                <a:lnTo>
                  <a:pt x="122" y="318"/>
                </a:lnTo>
                <a:lnTo>
                  <a:pt x="106" y="322"/>
                </a:lnTo>
                <a:lnTo>
                  <a:pt x="10" y="322"/>
                </a:lnTo>
                <a:lnTo>
                  <a:pt x="10" y="322"/>
                </a:lnTo>
                <a:lnTo>
                  <a:pt x="6" y="322"/>
                </a:lnTo>
                <a:lnTo>
                  <a:pt x="2" y="326"/>
                </a:lnTo>
                <a:lnTo>
                  <a:pt x="0" y="328"/>
                </a:lnTo>
                <a:lnTo>
                  <a:pt x="0" y="332"/>
                </a:lnTo>
                <a:lnTo>
                  <a:pt x="0" y="356"/>
                </a:lnTo>
                <a:lnTo>
                  <a:pt x="0" y="356"/>
                </a:lnTo>
                <a:lnTo>
                  <a:pt x="0" y="360"/>
                </a:lnTo>
                <a:lnTo>
                  <a:pt x="2" y="362"/>
                </a:lnTo>
                <a:lnTo>
                  <a:pt x="6" y="366"/>
                </a:lnTo>
                <a:lnTo>
                  <a:pt x="10" y="366"/>
                </a:lnTo>
                <a:lnTo>
                  <a:pt x="228" y="366"/>
                </a:lnTo>
                <a:lnTo>
                  <a:pt x="228" y="366"/>
                </a:lnTo>
                <a:lnTo>
                  <a:pt x="232" y="366"/>
                </a:lnTo>
                <a:lnTo>
                  <a:pt x="234" y="362"/>
                </a:lnTo>
                <a:lnTo>
                  <a:pt x="236" y="360"/>
                </a:lnTo>
                <a:lnTo>
                  <a:pt x="238" y="356"/>
                </a:lnTo>
                <a:lnTo>
                  <a:pt x="238" y="332"/>
                </a:lnTo>
                <a:lnTo>
                  <a:pt x="238" y="332"/>
                </a:lnTo>
                <a:lnTo>
                  <a:pt x="236" y="328"/>
                </a:lnTo>
                <a:lnTo>
                  <a:pt x="234" y="326"/>
                </a:lnTo>
                <a:lnTo>
                  <a:pt x="232" y="322"/>
                </a:lnTo>
                <a:lnTo>
                  <a:pt x="228" y="322"/>
                </a:lnTo>
                <a:lnTo>
                  <a:pt x="228" y="322"/>
                </a:lnTo>
                <a:close/>
                <a:moveTo>
                  <a:pt x="114" y="262"/>
                </a:moveTo>
                <a:lnTo>
                  <a:pt x="16" y="206"/>
                </a:lnTo>
                <a:lnTo>
                  <a:pt x="6" y="222"/>
                </a:lnTo>
                <a:lnTo>
                  <a:pt x="104" y="278"/>
                </a:lnTo>
                <a:lnTo>
                  <a:pt x="114" y="262"/>
                </a:lnTo>
                <a:close/>
                <a:moveTo>
                  <a:pt x="46" y="208"/>
                </a:moveTo>
                <a:lnTo>
                  <a:pt x="96" y="236"/>
                </a:lnTo>
                <a:lnTo>
                  <a:pt x="96" y="236"/>
                </a:lnTo>
                <a:lnTo>
                  <a:pt x="102" y="238"/>
                </a:lnTo>
                <a:lnTo>
                  <a:pt x="102" y="238"/>
                </a:lnTo>
                <a:lnTo>
                  <a:pt x="106" y="238"/>
                </a:lnTo>
                <a:lnTo>
                  <a:pt x="110" y="234"/>
                </a:lnTo>
                <a:lnTo>
                  <a:pt x="154" y="156"/>
                </a:lnTo>
                <a:lnTo>
                  <a:pt x="154" y="156"/>
                </a:lnTo>
                <a:lnTo>
                  <a:pt x="148" y="158"/>
                </a:lnTo>
                <a:lnTo>
                  <a:pt x="148" y="158"/>
                </a:lnTo>
                <a:lnTo>
                  <a:pt x="140" y="156"/>
                </a:lnTo>
                <a:lnTo>
                  <a:pt x="132" y="154"/>
                </a:lnTo>
                <a:lnTo>
                  <a:pt x="126" y="150"/>
                </a:lnTo>
                <a:lnTo>
                  <a:pt x="120" y="146"/>
                </a:lnTo>
                <a:lnTo>
                  <a:pt x="116" y="140"/>
                </a:lnTo>
                <a:lnTo>
                  <a:pt x="112" y="134"/>
                </a:lnTo>
                <a:lnTo>
                  <a:pt x="110" y="126"/>
                </a:lnTo>
                <a:lnTo>
                  <a:pt x="110" y="120"/>
                </a:lnTo>
                <a:lnTo>
                  <a:pt x="110" y="120"/>
                </a:lnTo>
                <a:lnTo>
                  <a:pt x="110" y="112"/>
                </a:lnTo>
                <a:lnTo>
                  <a:pt x="112" y="104"/>
                </a:lnTo>
                <a:lnTo>
                  <a:pt x="116" y="98"/>
                </a:lnTo>
                <a:lnTo>
                  <a:pt x="120" y="92"/>
                </a:lnTo>
                <a:lnTo>
                  <a:pt x="126" y="88"/>
                </a:lnTo>
                <a:lnTo>
                  <a:pt x="132" y="84"/>
                </a:lnTo>
                <a:lnTo>
                  <a:pt x="140" y="82"/>
                </a:lnTo>
                <a:lnTo>
                  <a:pt x="148" y="82"/>
                </a:lnTo>
                <a:lnTo>
                  <a:pt x="148" y="82"/>
                </a:lnTo>
                <a:lnTo>
                  <a:pt x="160" y="84"/>
                </a:lnTo>
                <a:lnTo>
                  <a:pt x="170" y="88"/>
                </a:lnTo>
                <a:lnTo>
                  <a:pt x="178" y="96"/>
                </a:lnTo>
                <a:lnTo>
                  <a:pt x="184" y="106"/>
                </a:lnTo>
                <a:lnTo>
                  <a:pt x="200" y="78"/>
                </a:lnTo>
                <a:lnTo>
                  <a:pt x="200" y="78"/>
                </a:lnTo>
                <a:lnTo>
                  <a:pt x="202" y="76"/>
                </a:lnTo>
                <a:lnTo>
                  <a:pt x="200" y="72"/>
                </a:lnTo>
                <a:lnTo>
                  <a:pt x="200" y="72"/>
                </a:lnTo>
                <a:lnTo>
                  <a:pt x="200" y="68"/>
                </a:lnTo>
                <a:lnTo>
                  <a:pt x="196" y="66"/>
                </a:lnTo>
                <a:lnTo>
                  <a:pt x="184" y="58"/>
                </a:lnTo>
                <a:lnTo>
                  <a:pt x="196" y="40"/>
                </a:lnTo>
                <a:lnTo>
                  <a:pt x="206" y="46"/>
                </a:lnTo>
                <a:lnTo>
                  <a:pt x="216" y="30"/>
                </a:lnTo>
                <a:lnTo>
                  <a:pt x="166" y="0"/>
                </a:lnTo>
                <a:lnTo>
                  <a:pt x="156" y="16"/>
                </a:lnTo>
                <a:lnTo>
                  <a:pt x="168" y="24"/>
                </a:lnTo>
                <a:lnTo>
                  <a:pt x="156" y="42"/>
                </a:lnTo>
                <a:lnTo>
                  <a:pt x="144" y="36"/>
                </a:lnTo>
                <a:lnTo>
                  <a:pt x="144" y="36"/>
                </a:lnTo>
                <a:lnTo>
                  <a:pt x="142" y="34"/>
                </a:lnTo>
                <a:lnTo>
                  <a:pt x="138" y="34"/>
                </a:lnTo>
                <a:lnTo>
                  <a:pt x="134" y="36"/>
                </a:lnTo>
                <a:lnTo>
                  <a:pt x="132" y="40"/>
                </a:lnTo>
                <a:lnTo>
                  <a:pt x="42" y="194"/>
                </a:lnTo>
                <a:lnTo>
                  <a:pt x="42" y="194"/>
                </a:lnTo>
                <a:lnTo>
                  <a:pt x="40" y="198"/>
                </a:lnTo>
                <a:lnTo>
                  <a:pt x="42" y="202"/>
                </a:lnTo>
                <a:lnTo>
                  <a:pt x="42" y="202"/>
                </a:lnTo>
                <a:lnTo>
                  <a:pt x="42" y="204"/>
                </a:lnTo>
                <a:lnTo>
                  <a:pt x="46" y="208"/>
                </a:lnTo>
                <a:lnTo>
                  <a:pt x="46" y="20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Can 67">
            <a:extLst>
              <a:ext uri="{FF2B5EF4-FFF2-40B4-BE49-F238E27FC236}">
                <a16:creationId xmlns:a16="http://schemas.microsoft.com/office/drawing/2014/main" id="{6D16BE44-6AC9-4BF8-8EDE-5FD61F75F88C}"/>
              </a:ext>
            </a:extLst>
          </p:cNvPr>
          <p:cNvSpPr/>
          <p:nvPr/>
        </p:nvSpPr>
        <p:spPr>
          <a:xfrm>
            <a:off x="8579409" y="11405930"/>
            <a:ext cx="649864" cy="533494"/>
          </a:xfrm>
          <a:prstGeom prst="flowChartMagneticDisk">
            <a:avLst/>
          </a:prstGeom>
          <a:solidFill>
            <a:schemeClr val="bg1"/>
          </a:solidFill>
          <a:ln w="19050">
            <a:solidFill>
              <a:schemeClr val="accent5">
                <a:lumMod val="50000"/>
              </a:schemeClr>
            </a:solidFill>
          </a:ln>
          <a:effec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67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Rektangel 10">
            <a:extLst>
              <a:ext uri="{FF2B5EF4-FFF2-40B4-BE49-F238E27FC236}">
                <a16:creationId xmlns:a16="http://schemas.microsoft.com/office/drawing/2014/main" id="{78CD1DBA-3FEC-4C48-84D3-584B86EEE3AD}"/>
              </a:ext>
            </a:extLst>
          </p:cNvPr>
          <p:cNvSpPr/>
          <p:nvPr/>
        </p:nvSpPr>
        <p:spPr>
          <a:xfrm>
            <a:off x="6719333" y="2702513"/>
            <a:ext cx="205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skere</a:t>
            </a:r>
          </a:p>
        </p:txBody>
      </p:sp>
      <p:sp>
        <p:nvSpPr>
          <p:cNvPr id="48" name="Freeform 4900">
            <a:extLst>
              <a:ext uri="{FF2B5EF4-FFF2-40B4-BE49-F238E27FC236}">
                <a16:creationId xmlns:a16="http://schemas.microsoft.com/office/drawing/2014/main" id="{542E4B8E-4FDC-4FDC-8FB5-95469E3F1047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7144516" y="3592834"/>
            <a:ext cx="1101570" cy="1152522"/>
          </a:xfrm>
          <a:custGeom>
            <a:avLst/>
            <a:gdLst>
              <a:gd name="T0" fmla="*/ 76 w 336"/>
              <a:gd name="T1" fmla="*/ 356 h 396"/>
              <a:gd name="T2" fmla="*/ 66 w 336"/>
              <a:gd name="T3" fmla="*/ 356 h 396"/>
              <a:gd name="T4" fmla="*/ 62 w 336"/>
              <a:gd name="T5" fmla="*/ 342 h 396"/>
              <a:gd name="T6" fmla="*/ 110 w 336"/>
              <a:gd name="T7" fmla="*/ 266 h 396"/>
              <a:gd name="T8" fmla="*/ 120 w 336"/>
              <a:gd name="T9" fmla="*/ 270 h 396"/>
              <a:gd name="T10" fmla="*/ 120 w 336"/>
              <a:gd name="T11" fmla="*/ 280 h 396"/>
              <a:gd name="T12" fmla="*/ 164 w 336"/>
              <a:gd name="T13" fmla="*/ 296 h 396"/>
              <a:gd name="T14" fmla="*/ 160 w 336"/>
              <a:gd name="T15" fmla="*/ 386 h 396"/>
              <a:gd name="T16" fmla="*/ 170 w 336"/>
              <a:gd name="T17" fmla="*/ 396 h 396"/>
              <a:gd name="T18" fmla="*/ 180 w 336"/>
              <a:gd name="T19" fmla="*/ 390 h 396"/>
              <a:gd name="T20" fmla="*/ 180 w 336"/>
              <a:gd name="T21" fmla="*/ 298 h 396"/>
              <a:gd name="T22" fmla="*/ 170 w 336"/>
              <a:gd name="T23" fmla="*/ 292 h 396"/>
              <a:gd name="T24" fmla="*/ 76 w 336"/>
              <a:gd name="T25" fmla="*/ 18 h 396"/>
              <a:gd name="T26" fmla="*/ 34 w 336"/>
              <a:gd name="T27" fmla="*/ 0 h 396"/>
              <a:gd name="T28" fmla="*/ 2 w 336"/>
              <a:gd name="T29" fmla="*/ 48 h 396"/>
              <a:gd name="T30" fmla="*/ 2 w 336"/>
              <a:gd name="T31" fmla="*/ 66 h 396"/>
              <a:gd name="T32" fmla="*/ 44 w 336"/>
              <a:gd name="T33" fmla="*/ 88 h 396"/>
              <a:gd name="T34" fmla="*/ 82 w 336"/>
              <a:gd name="T35" fmla="*/ 40 h 396"/>
              <a:gd name="T36" fmla="*/ 82 w 336"/>
              <a:gd name="T37" fmla="*/ 28 h 396"/>
              <a:gd name="T38" fmla="*/ 242 w 336"/>
              <a:gd name="T39" fmla="*/ 130 h 396"/>
              <a:gd name="T40" fmla="*/ 238 w 336"/>
              <a:gd name="T41" fmla="*/ 120 h 396"/>
              <a:gd name="T42" fmla="*/ 98 w 336"/>
              <a:gd name="T43" fmla="*/ 42 h 396"/>
              <a:gd name="T44" fmla="*/ 70 w 336"/>
              <a:gd name="T45" fmla="*/ 86 h 396"/>
              <a:gd name="T46" fmla="*/ 70 w 336"/>
              <a:gd name="T47" fmla="*/ 98 h 396"/>
              <a:gd name="T48" fmla="*/ 146 w 336"/>
              <a:gd name="T49" fmla="*/ 132 h 396"/>
              <a:gd name="T50" fmla="*/ 170 w 336"/>
              <a:gd name="T51" fmla="*/ 120 h 396"/>
              <a:gd name="T52" fmla="*/ 194 w 336"/>
              <a:gd name="T53" fmla="*/ 130 h 396"/>
              <a:gd name="T54" fmla="*/ 204 w 336"/>
              <a:gd name="T55" fmla="*/ 154 h 396"/>
              <a:gd name="T56" fmla="*/ 204 w 336"/>
              <a:gd name="T57" fmla="*/ 176 h 396"/>
              <a:gd name="T58" fmla="*/ 214 w 336"/>
              <a:gd name="T59" fmla="*/ 176 h 396"/>
              <a:gd name="T60" fmla="*/ 304 w 336"/>
              <a:gd name="T61" fmla="*/ 180 h 396"/>
              <a:gd name="T62" fmla="*/ 188 w 336"/>
              <a:gd name="T63" fmla="*/ 184 h 396"/>
              <a:gd name="T64" fmla="*/ 162 w 336"/>
              <a:gd name="T65" fmla="*/ 188 h 396"/>
              <a:gd name="T66" fmla="*/ 118 w 336"/>
              <a:gd name="T67" fmla="*/ 248 h 396"/>
              <a:gd name="T68" fmla="*/ 122 w 336"/>
              <a:gd name="T69" fmla="*/ 258 h 396"/>
              <a:gd name="T70" fmla="*/ 136 w 336"/>
              <a:gd name="T71" fmla="*/ 254 h 396"/>
              <a:gd name="T72" fmla="*/ 162 w 336"/>
              <a:gd name="T73" fmla="*/ 274 h 396"/>
              <a:gd name="T74" fmla="*/ 170 w 336"/>
              <a:gd name="T75" fmla="*/ 280 h 396"/>
              <a:gd name="T76" fmla="*/ 180 w 336"/>
              <a:gd name="T77" fmla="*/ 270 h 396"/>
              <a:gd name="T78" fmla="*/ 208 w 336"/>
              <a:gd name="T79" fmla="*/ 258 h 396"/>
              <a:gd name="T80" fmla="*/ 218 w 336"/>
              <a:gd name="T81" fmla="*/ 258 h 396"/>
              <a:gd name="T82" fmla="*/ 222 w 336"/>
              <a:gd name="T83" fmla="*/ 244 h 396"/>
              <a:gd name="T84" fmla="*/ 328 w 336"/>
              <a:gd name="T85" fmla="*/ 172 h 396"/>
              <a:gd name="T86" fmla="*/ 294 w 336"/>
              <a:gd name="T87" fmla="*/ 216 h 396"/>
              <a:gd name="T88" fmla="*/ 296 w 336"/>
              <a:gd name="T89" fmla="*/ 228 h 396"/>
              <a:gd name="T90" fmla="*/ 304 w 336"/>
              <a:gd name="T91" fmla="*/ 232 h 396"/>
              <a:gd name="T92" fmla="*/ 334 w 336"/>
              <a:gd name="T93" fmla="*/ 186 h 396"/>
              <a:gd name="T94" fmla="*/ 332 w 336"/>
              <a:gd name="T95" fmla="*/ 172 h 396"/>
              <a:gd name="T96" fmla="*/ 234 w 336"/>
              <a:gd name="T97" fmla="*/ 268 h 396"/>
              <a:gd name="T98" fmla="*/ 224 w 336"/>
              <a:gd name="T99" fmla="*/ 266 h 396"/>
              <a:gd name="T100" fmla="*/ 220 w 336"/>
              <a:gd name="T101" fmla="*/ 280 h 396"/>
              <a:gd name="T102" fmla="*/ 270 w 336"/>
              <a:gd name="T103" fmla="*/ 358 h 396"/>
              <a:gd name="T104" fmla="*/ 278 w 336"/>
              <a:gd name="T105" fmla="*/ 354 h 396"/>
              <a:gd name="T106" fmla="*/ 238 w 336"/>
              <a:gd name="T107" fmla="*/ 270 h 396"/>
              <a:gd name="T108" fmla="*/ 182 w 336"/>
              <a:gd name="T109" fmla="*/ 168 h 396"/>
              <a:gd name="T110" fmla="*/ 164 w 336"/>
              <a:gd name="T111" fmla="*/ 170 h 396"/>
              <a:gd name="T112" fmla="*/ 152 w 336"/>
              <a:gd name="T113" fmla="*/ 154 h 396"/>
              <a:gd name="T114" fmla="*/ 170 w 336"/>
              <a:gd name="T115" fmla="*/ 136 h 396"/>
              <a:gd name="T116" fmla="*/ 186 w 336"/>
              <a:gd name="T117" fmla="*/ 148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" h="396">
                <a:moveTo>
                  <a:pt x="120" y="280"/>
                </a:moveTo>
                <a:lnTo>
                  <a:pt x="78" y="352"/>
                </a:lnTo>
                <a:lnTo>
                  <a:pt x="78" y="352"/>
                </a:lnTo>
                <a:lnTo>
                  <a:pt x="76" y="356"/>
                </a:lnTo>
                <a:lnTo>
                  <a:pt x="70" y="358"/>
                </a:lnTo>
                <a:lnTo>
                  <a:pt x="70" y="358"/>
                </a:lnTo>
                <a:lnTo>
                  <a:pt x="66" y="356"/>
                </a:lnTo>
                <a:lnTo>
                  <a:pt x="66" y="356"/>
                </a:lnTo>
                <a:lnTo>
                  <a:pt x="62" y="354"/>
                </a:lnTo>
                <a:lnTo>
                  <a:pt x="60" y="350"/>
                </a:lnTo>
                <a:lnTo>
                  <a:pt x="60" y="346"/>
                </a:lnTo>
                <a:lnTo>
                  <a:pt x="62" y="342"/>
                </a:lnTo>
                <a:lnTo>
                  <a:pt x="104" y="270"/>
                </a:lnTo>
                <a:lnTo>
                  <a:pt x="104" y="270"/>
                </a:lnTo>
                <a:lnTo>
                  <a:pt x="106" y="268"/>
                </a:lnTo>
                <a:lnTo>
                  <a:pt x="110" y="266"/>
                </a:lnTo>
                <a:lnTo>
                  <a:pt x="112" y="266"/>
                </a:lnTo>
                <a:lnTo>
                  <a:pt x="116" y="266"/>
                </a:lnTo>
                <a:lnTo>
                  <a:pt x="116" y="266"/>
                </a:lnTo>
                <a:lnTo>
                  <a:pt x="120" y="270"/>
                </a:lnTo>
                <a:lnTo>
                  <a:pt x="122" y="272"/>
                </a:lnTo>
                <a:lnTo>
                  <a:pt x="122" y="276"/>
                </a:lnTo>
                <a:lnTo>
                  <a:pt x="120" y="280"/>
                </a:lnTo>
                <a:lnTo>
                  <a:pt x="120" y="280"/>
                </a:lnTo>
                <a:close/>
                <a:moveTo>
                  <a:pt x="170" y="292"/>
                </a:moveTo>
                <a:lnTo>
                  <a:pt x="170" y="292"/>
                </a:lnTo>
                <a:lnTo>
                  <a:pt x="166" y="292"/>
                </a:lnTo>
                <a:lnTo>
                  <a:pt x="164" y="296"/>
                </a:lnTo>
                <a:lnTo>
                  <a:pt x="162" y="298"/>
                </a:lnTo>
                <a:lnTo>
                  <a:pt x="160" y="302"/>
                </a:lnTo>
                <a:lnTo>
                  <a:pt x="160" y="386"/>
                </a:lnTo>
                <a:lnTo>
                  <a:pt x="160" y="386"/>
                </a:lnTo>
                <a:lnTo>
                  <a:pt x="162" y="390"/>
                </a:lnTo>
                <a:lnTo>
                  <a:pt x="164" y="394"/>
                </a:lnTo>
                <a:lnTo>
                  <a:pt x="166" y="396"/>
                </a:lnTo>
                <a:lnTo>
                  <a:pt x="170" y="396"/>
                </a:lnTo>
                <a:lnTo>
                  <a:pt x="170" y="396"/>
                </a:lnTo>
                <a:lnTo>
                  <a:pt x="174" y="396"/>
                </a:lnTo>
                <a:lnTo>
                  <a:pt x="178" y="394"/>
                </a:lnTo>
                <a:lnTo>
                  <a:pt x="180" y="390"/>
                </a:lnTo>
                <a:lnTo>
                  <a:pt x="180" y="386"/>
                </a:lnTo>
                <a:lnTo>
                  <a:pt x="180" y="302"/>
                </a:lnTo>
                <a:lnTo>
                  <a:pt x="180" y="302"/>
                </a:lnTo>
                <a:lnTo>
                  <a:pt x="180" y="298"/>
                </a:lnTo>
                <a:lnTo>
                  <a:pt x="178" y="296"/>
                </a:lnTo>
                <a:lnTo>
                  <a:pt x="174" y="292"/>
                </a:lnTo>
                <a:lnTo>
                  <a:pt x="170" y="292"/>
                </a:lnTo>
                <a:lnTo>
                  <a:pt x="170" y="292"/>
                </a:lnTo>
                <a:close/>
                <a:moveTo>
                  <a:pt x="82" y="28"/>
                </a:moveTo>
                <a:lnTo>
                  <a:pt x="82" y="28"/>
                </a:lnTo>
                <a:lnTo>
                  <a:pt x="80" y="22"/>
                </a:lnTo>
                <a:lnTo>
                  <a:pt x="76" y="18"/>
                </a:lnTo>
                <a:lnTo>
                  <a:pt x="46" y="2"/>
                </a:lnTo>
                <a:lnTo>
                  <a:pt x="46" y="2"/>
                </a:lnTo>
                <a:lnTo>
                  <a:pt x="40" y="0"/>
                </a:lnTo>
                <a:lnTo>
                  <a:pt x="34" y="0"/>
                </a:lnTo>
                <a:lnTo>
                  <a:pt x="28" y="2"/>
                </a:lnTo>
                <a:lnTo>
                  <a:pt x="24" y="8"/>
                </a:lnTo>
                <a:lnTo>
                  <a:pt x="2" y="48"/>
                </a:lnTo>
                <a:lnTo>
                  <a:pt x="2" y="48"/>
                </a:lnTo>
                <a:lnTo>
                  <a:pt x="0" y="54"/>
                </a:lnTo>
                <a:lnTo>
                  <a:pt x="0" y="60"/>
                </a:lnTo>
                <a:lnTo>
                  <a:pt x="0" y="60"/>
                </a:lnTo>
                <a:lnTo>
                  <a:pt x="2" y="66"/>
                </a:lnTo>
                <a:lnTo>
                  <a:pt x="8" y="70"/>
                </a:lnTo>
                <a:lnTo>
                  <a:pt x="36" y="86"/>
                </a:lnTo>
                <a:lnTo>
                  <a:pt x="36" y="86"/>
                </a:lnTo>
                <a:lnTo>
                  <a:pt x="44" y="88"/>
                </a:lnTo>
                <a:lnTo>
                  <a:pt x="44" y="88"/>
                </a:lnTo>
                <a:lnTo>
                  <a:pt x="52" y="86"/>
                </a:lnTo>
                <a:lnTo>
                  <a:pt x="58" y="80"/>
                </a:lnTo>
                <a:lnTo>
                  <a:pt x="82" y="40"/>
                </a:lnTo>
                <a:lnTo>
                  <a:pt x="82" y="40"/>
                </a:lnTo>
                <a:lnTo>
                  <a:pt x="84" y="34"/>
                </a:lnTo>
                <a:lnTo>
                  <a:pt x="82" y="28"/>
                </a:lnTo>
                <a:lnTo>
                  <a:pt x="82" y="28"/>
                </a:lnTo>
                <a:close/>
                <a:moveTo>
                  <a:pt x="236" y="140"/>
                </a:moveTo>
                <a:lnTo>
                  <a:pt x="242" y="132"/>
                </a:lnTo>
                <a:lnTo>
                  <a:pt x="242" y="132"/>
                </a:lnTo>
                <a:lnTo>
                  <a:pt x="242" y="130"/>
                </a:lnTo>
                <a:lnTo>
                  <a:pt x="242" y="126"/>
                </a:lnTo>
                <a:lnTo>
                  <a:pt x="242" y="126"/>
                </a:lnTo>
                <a:lnTo>
                  <a:pt x="240" y="122"/>
                </a:lnTo>
                <a:lnTo>
                  <a:pt x="238" y="120"/>
                </a:lnTo>
                <a:lnTo>
                  <a:pt x="106" y="44"/>
                </a:lnTo>
                <a:lnTo>
                  <a:pt x="106" y="44"/>
                </a:lnTo>
                <a:lnTo>
                  <a:pt x="102" y="42"/>
                </a:lnTo>
                <a:lnTo>
                  <a:pt x="98" y="42"/>
                </a:lnTo>
                <a:lnTo>
                  <a:pt x="96" y="44"/>
                </a:lnTo>
                <a:lnTo>
                  <a:pt x="92" y="46"/>
                </a:lnTo>
                <a:lnTo>
                  <a:pt x="70" y="86"/>
                </a:lnTo>
                <a:lnTo>
                  <a:pt x="70" y="86"/>
                </a:lnTo>
                <a:lnTo>
                  <a:pt x="68" y="90"/>
                </a:lnTo>
                <a:lnTo>
                  <a:pt x="68" y="94"/>
                </a:lnTo>
                <a:lnTo>
                  <a:pt x="68" y="94"/>
                </a:lnTo>
                <a:lnTo>
                  <a:pt x="70" y="98"/>
                </a:lnTo>
                <a:lnTo>
                  <a:pt x="72" y="100"/>
                </a:lnTo>
                <a:lnTo>
                  <a:pt x="140" y="138"/>
                </a:lnTo>
                <a:lnTo>
                  <a:pt x="140" y="138"/>
                </a:lnTo>
                <a:lnTo>
                  <a:pt x="146" y="132"/>
                </a:lnTo>
                <a:lnTo>
                  <a:pt x="152" y="126"/>
                </a:lnTo>
                <a:lnTo>
                  <a:pt x="160" y="122"/>
                </a:lnTo>
                <a:lnTo>
                  <a:pt x="170" y="120"/>
                </a:lnTo>
                <a:lnTo>
                  <a:pt x="170" y="120"/>
                </a:lnTo>
                <a:lnTo>
                  <a:pt x="178" y="122"/>
                </a:lnTo>
                <a:lnTo>
                  <a:pt x="184" y="124"/>
                </a:lnTo>
                <a:lnTo>
                  <a:pt x="190" y="126"/>
                </a:lnTo>
                <a:lnTo>
                  <a:pt x="194" y="130"/>
                </a:lnTo>
                <a:lnTo>
                  <a:pt x="198" y="136"/>
                </a:lnTo>
                <a:lnTo>
                  <a:pt x="202" y="142"/>
                </a:lnTo>
                <a:lnTo>
                  <a:pt x="204" y="148"/>
                </a:lnTo>
                <a:lnTo>
                  <a:pt x="204" y="154"/>
                </a:lnTo>
                <a:lnTo>
                  <a:pt x="204" y="154"/>
                </a:lnTo>
                <a:lnTo>
                  <a:pt x="202" y="164"/>
                </a:lnTo>
                <a:lnTo>
                  <a:pt x="198" y="172"/>
                </a:lnTo>
                <a:lnTo>
                  <a:pt x="204" y="176"/>
                </a:lnTo>
                <a:lnTo>
                  <a:pt x="204" y="176"/>
                </a:lnTo>
                <a:lnTo>
                  <a:pt x="210" y="178"/>
                </a:lnTo>
                <a:lnTo>
                  <a:pt x="210" y="178"/>
                </a:lnTo>
                <a:lnTo>
                  <a:pt x="214" y="176"/>
                </a:lnTo>
                <a:lnTo>
                  <a:pt x="218" y="172"/>
                </a:lnTo>
                <a:lnTo>
                  <a:pt x="222" y="164"/>
                </a:lnTo>
                <a:lnTo>
                  <a:pt x="290" y="204"/>
                </a:lnTo>
                <a:lnTo>
                  <a:pt x="304" y="180"/>
                </a:lnTo>
                <a:lnTo>
                  <a:pt x="236" y="140"/>
                </a:lnTo>
                <a:close/>
                <a:moveTo>
                  <a:pt x="222" y="244"/>
                </a:moveTo>
                <a:lnTo>
                  <a:pt x="188" y="184"/>
                </a:lnTo>
                <a:lnTo>
                  <a:pt x="188" y="184"/>
                </a:lnTo>
                <a:lnTo>
                  <a:pt x="180" y="188"/>
                </a:lnTo>
                <a:lnTo>
                  <a:pt x="170" y="188"/>
                </a:lnTo>
                <a:lnTo>
                  <a:pt x="170" y="188"/>
                </a:lnTo>
                <a:lnTo>
                  <a:pt x="162" y="188"/>
                </a:lnTo>
                <a:lnTo>
                  <a:pt x="154" y="184"/>
                </a:lnTo>
                <a:lnTo>
                  <a:pt x="118" y="244"/>
                </a:lnTo>
                <a:lnTo>
                  <a:pt x="118" y="244"/>
                </a:lnTo>
                <a:lnTo>
                  <a:pt x="118" y="248"/>
                </a:lnTo>
                <a:lnTo>
                  <a:pt x="118" y="252"/>
                </a:lnTo>
                <a:lnTo>
                  <a:pt x="120" y="254"/>
                </a:lnTo>
                <a:lnTo>
                  <a:pt x="122" y="258"/>
                </a:lnTo>
                <a:lnTo>
                  <a:pt x="122" y="258"/>
                </a:lnTo>
                <a:lnTo>
                  <a:pt x="126" y="258"/>
                </a:lnTo>
                <a:lnTo>
                  <a:pt x="130" y="258"/>
                </a:lnTo>
                <a:lnTo>
                  <a:pt x="134" y="256"/>
                </a:lnTo>
                <a:lnTo>
                  <a:pt x="136" y="254"/>
                </a:lnTo>
                <a:lnTo>
                  <a:pt x="160" y="212"/>
                </a:lnTo>
                <a:lnTo>
                  <a:pt x="160" y="270"/>
                </a:lnTo>
                <a:lnTo>
                  <a:pt x="160" y="270"/>
                </a:lnTo>
                <a:lnTo>
                  <a:pt x="162" y="274"/>
                </a:lnTo>
                <a:lnTo>
                  <a:pt x="164" y="278"/>
                </a:lnTo>
                <a:lnTo>
                  <a:pt x="166" y="280"/>
                </a:lnTo>
                <a:lnTo>
                  <a:pt x="170" y="280"/>
                </a:lnTo>
                <a:lnTo>
                  <a:pt x="170" y="280"/>
                </a:lnTo>
                <a:lnTo>
                  <a:pt x="174" y="280"/>
                </a:lnTo>
                <a:lnTo>
                  <a:pt x="178" y="278"/>
                </a:lnTo>
                <a:lnTo>
                  <a:pt x="180" y="274"/>
                </a:lnTo>
                <a:lnTo>
                  <a:pt x="180" y="270"/>
                </a:lnTo>
                <a:lnTo>
                  <a:pt x="180" y="212"/>
                </a:lnTo>
                <a:lnTo>
                  <a:pt x="204" y="254"/>
                </a:lnTo>
                <a:lnTo>
                  <a:pt x="204" y="254"/>
                </a:lnTo>
                <a:lnTo>
                  <a:pt x="208" y="258"/>
                </a:lnTo>
                <a:lnTo>
                  <a:pt x="214" y="258"/>
                </a:lnTo>
                <a:lnTo>
                  <a:pt x="214" y="258"/>
                </a:lnTo>
                <a:lnTo>
                  <a:pt x="218" y="258"/>
                </a:lnTo>
                <a:lnTo>
                  <a:pt x="218" y="258"/>
                </a:lnTo>
                <a:lnTo>
                  <a:pt x="222" y="254"/>
                </a:lnTo>
                <a:lnTo>
                  <a:pt x="222" y="252"/>
                </a:lnTo>
                <a:lnTo>
                  <a:pt x="224" y="248"/>
                </a:lnTo>
                <a:lnTo>
                  <a:pt x="222" y="244"/>
                </a:lnTo>
                <a:lnTo>
                  <a:pt x="222" y="244"/>
                </a:lnTo>
                <a:close/>
                <a:moveTo>
                  <a:pt x="332" y="172"/>
                </a:moveTo>
                <a:lnTo>
                  <a:pt x="332" y="172"/>
                </a:lnTo>
                <a:lnTo>
                  <a:pt x="328" y="172"/>
                </a:lnTo>
                <a:lnTo>
                  <a:pt x="324" y="172"/>
                </a:lnTo>
                <a:lnTo>
                  <a:pt x="320" y="174"/>
                </a:lnTo>
                <a:lnTo>
                  <a:pt x="318" y="176"/>
                </a:lnTo>
                <a:lnTo>
                  <a:pt x="294" y="216"/>
                </a:lnTo>
                <a:lnTo>
                  <a:pt x="294" y="216"/>
                </a:lnTo>
                <a:lnTo>
                  <a:pt x="294" y="220"/>
                </a:lnTo>
                <a:lnTo>
                  <a:pt x="294" y="224"/>
                </a:lnTo>
                <a:lnTo>
                  <a:pt x="296" y="228"/>
                </a:lnTo>
                <a:lnTo>
                  <a:pt x="298" y="230"/>
                </a:lnTo>
                <a:lnTo>
                  <a:pt x="298" y="230"/>
                </a:lnTo>
                <a:lnTo>
                  <a:pt x="304" y="232"/>
                </a:lnTo>
                <a:lnTo>
                  <a:pt x="304" y="232"/>
                </a:lnTo>
                <a:lnTo>
                  <a:pt x="308" y="230"/>
                </a:lnTo>
                <a:lnTo>
                  <a:pt x="312" y="226"/>
                </a:lnTo>
                <a:lnTo>
                  <a:pt x="334" y="186"/>
                </a:lnTo>
                <a:lnTo>
                  <a:pt x="334" y="186"/>
                </a:lnTo>
                <a:lnTo>
                  <a:pt x="336" y="182"/>
                </a:lnTo>
                <a:lnTo>
                  <a:pt x="336" y="180"/>
                </a:lnTo>
                <a:lnTo>
                  <a:pt x="334" y="176"/>
                </a:lnTo>
                <a:lnTo>
                  <a:pt x="332" y="172"/>
                </a:lnTo>
                <a:lnTo>
                  <a:pt x="332" y="172"/>
                </a:lnTo>
                <a:close/>
                <a:moveTo>
                  <a:pt x="238" y="270"/>
                </a:moveTo>
                <a:lnTo>
                  <a:pt x="238" y="270"/>
                </a:lnTo>
                <a:lnTo>
                  <a:pt x="234" y="268"/>
                </a:lnTo>
                <a:lnTo>
                  <a:pt x="232" y="266"/>
                </a:lnTo>
                <a:lnTo>
                  <a:pt x="228" y="266"/>
                </a:lnTo>
                <a:lnTo>
                  <a:pt x="224" y="266"/>
                </a:lnTo>
                <a:lnTo>
                  <a:pt x="224" y="266"/>
                </a:lnTo>
                <a:lnTo>
                  <a:pt x="220" y="270"/>
                </a:lnTo>
                <a:lnTo>
                  <a:pt x="220" y="272"/>
                </a:lnTo>
                <a:lnTo>
                  <a:pt x="218" y="276"/>
                </a:lnTo>
                <a:lnTo>
                  <a:pt x="220" y="280"/>
                </a:lnTo>
                <a:lnTo>
                  <a:pt x="262" y="352"/>
                </a:lnTo>
                <a:lnTo>
                  <a:pt x="262" y="352"/>
                </a:lnTo>
                <a:lnTo>
                  <a:pt x="266" y="356"/>
                </a:lnTo>
                <a:lnTo>
                  <a:pt x="270" y="358"/>
                </a:lnTo>
                <a:lnTo>
                  <a:pt x="270" y="358"/>
                </a:lnTo>
                <a:lnTo>
                  <a:pt x="276" y="356"/>
                </a:lnTo>
                <a:lnTo>
                  <a:pt x="276" y="356"/>
                </a:lnTo>
                <a:lnTo>
                  <a:pt x="278" y="354"/>
                </a:lnTo>
                <a:lnTo>
                  <a:pt x="280" y="350"/>
                </a:lnTo>
                <a:lnTo>
                  <a:pt x="280" y="346"/>
                </a:lnTo>
                <a:lnTo>
                  <a:pt x="280" y="342"/>
                </a:lnTo>
                <a:lnTo>
                  <a:pt x="238" y="270"/>
                </a:lnTo>
                <a:close/>
                <a:moveTo>
                  <a:pt x="188" y="154"/>
                </a:moveTo>
                <a:lnTo>
                  <a:pt x="188" y="154"/>
                </a:lnTo>
                <a:lnTo>
                  <a:pt x="186" y="162"/>
                </a:lnTo>
                <a:lnTo>
                  <a:pt x="182" y="168"/>
                </a:lnTo>
                <a:lnTo>
                  <a:pt x="178" y="170"/>
                </a:lnTo>
                <a:lnTo>
                  <a:pt x="170" y="172"/>
                </a:lnTo>
                <a:lnTo>
                  <a:pt x="170" y="172"/>
                </a:lnTo>
                <a:lnTo>
                  <a:pt x="164" y="170"/>
                </a:lnTo>
                <a:lnTo>
                  <a:pt x="158" y="168"/>
                </a:lnTo>
                <a:lnTo>
                  <a:pt x="154" y="162"/>
                </a:lnTo>
                <a:lnTo>
                  <a:pt x="152" y="154"/>
                </a:lnTo>
                <a:lnTo>
                  <a:pt x="152" y="154"/>
                </a:lnTo>
                <a:lnTo>
                  <a:pt x="154" y="148"/>
                </a:lnTo>
                <a:lnTo>
                  <a:pt x="158" y="142"/>
                </a:lnTo>
                <a:lnTo>
                  <a:pt x="164" y="138"/>
                </a:lnTo>
                <a:lnTo>
                  <a:pt x="170" y="136"/>
                </a:lnTo>
                <a:lnTo>
                  <a:pt x="170" y="136"/>
                </a:lnTo>
                <a:lnTo>
                  <a:pt x="178" y="138"/>
                </a:lnTo>
                <a:lnTo>
                  <a:pt x="182" y="142"/>
                </a:lnTo>
                <a:lnTo>
                  <a:pt x="186" y="148"/>
                </a:lnTo>
                <a:lnTo>
                  <a:pt x="188" y="154"/>
                </a:lnTo>
                <a:lnTo>
                  <a:pt x="188" y="154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6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ktangel 10">
            <a:extLst>
              <a:ext uri="{FF2B5EF4-FFF2-40B4-BE49-F238E27FC236}">
                <a16:creationId xmlns:a16="http://schemas.microsoft.com/office/drawing/2014/main" id="{772C0DBE-DDB0-4398-9B68-A5C5E46FDC38}"/>
              </a:ext>
            </a:extLst>
          </p:cNvPr>
          <p:cNvSpPr/>
          <p:nvPr/>
        </p:nvSpPr>
        <p:spPr>
          <a:xfrm>
            <a:off x="16142541" y="2674536"/>
            <a:ext cx="2582459" cy="423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ledere</a:t>
            </a:r>
          </a:p>
        </p:txBody>
      </p:sp>
      <p:sp>
        <p:nvSpPr>
          <p:cNvPr id="52" name="Freeform 4843">
            <a:extLst>
              <a:ext uri="{FF2B5EF4-FFF2-40B4-BE49-F238E27FC236}">
                <a16:creationId xmlns:a16="http://schemas.microsoft.com/office/drawing/2014/main" id="{049DFCCE-AFBF-489C-B55F-25FD8E942CB6}"/>
              </a:ext>
            </a:extLst>
          </p:cNvPr>
          <p:cNvSpPr>
            <a:spLocks noEditPoints="1"/>
          </p:cNvSpPr>
          <p:nvPr/>
        </p:nvSpPr>
        <p:spPr bwMode="auto">
          <a:xfrm>
            <a:off x="16673000" y="3365631"/>
            <a:ext cx="1513073" cy="1469003"/>
          </a:xfrm>
          <a:custGeom>
            <a:avLst/>
            <a:gdLst>
              <a:gd name="T0" fmla="*/ 376 w 412"/>
              <a:gd name="T1" fmla="*/ 96 h 400"/>
              <a:gd name="T2" fmla="*/ 382 w 412"/>
              <a:gd name="T3" fmla="*/ 126 h 400"/>
              <a:gd name="T4" fmla="*/ 356 w 412"/>
              <a:gd name="T5" fmla="*/ 144 h 400"/>
              <a:gd name="T6" fmla="*/ 328 w 412"/>
              <a:gd name="T7" fmla="*/ 116 h 400"/>
              <a:gd name="T8" fmla="*/ 344 w 412"/>
              <a:gd name="T9" fmla="*/ 90 h 400"/>
              <a:gd name="T10" fmla="*/ 374 w 412"/>
              <a:gd name="T11" fmla="*/ 156 h 400"/>
              <a:gd name="T12" fmla="*/ 320 w 412"/>
              <a:gd name="T13" fmla="*/ 156 h 400"/>
              <a:gd name="T14" fmla="*/ 314 w 412"/>
              <a:gd name="T15" fmla="*/ 204 h 400"/>
              <a:gd name="T16" fmla="*/ 370 w 412"/>
              <a:gd name="T17" fmla="*/ 268 h 400"/>
              <a:gd name="T18" fmla="*/ 404 w 412"/>
              <a:gd name="T19" fmla="*/ 246 h 400"/>
              <a:gd name="T20" fmla="*/ 410 w 412"/>
              <a:gd name="T21" fmla="*/ 166 h 400"/>
              <a:gd name="T22" fmla="*/ 398 w 412"/>
              <a:gd name="T23" fmla="*/ 156 h 400"/>
              <a:gd name="T24" fmla="*/ 98 w 412"/>
              <a:gd name="T25" fmla="*/ 156 h 400"/>
              <a:gd name="T26" fmla="*/ 56 w 412"/>
              <a:gd name="T27" fmla="*/ 182 h 400"/>
              <a:gd name="T28" fmla="*/ 14 w 412"/>
              <a:gd name="T29" fmla="*/ 156 h 400"/>
              <a:gd name="T30" fmla="*/ 2 w 412"/>
              <a:gd name="T31" fmla="*/ 166 h 400"/>
              <a:gd name="T32" fmla="*/ 8 w 412"/>
              <a:gd name="T33" fmla="*/ 246 h 400"/>
              <a:gd name="T34" fmla="*/ 42 w 412"/>
              <a:gd name="T35" fmla="*/ 268 h 400"/>
              <a:gd name="T36" fmla="*/ 98 w 412"/>
              <a:gd name="T37" fmla="*/ 204 h 400"/>
              <a:gd name="T38" fmla="*/ 172 w 412"/>
              <a:gd name="T39" fmla="*/ 50 h 400"/>
              <a:gd name="T40" fmla="*/ 192 w 412"/>
              <a:gd name="T41" fmla="*/ 68 h 400"/>
              <a:gd name="T42" fmla="*/ 214 w 412"/>
              <a:gd name="T43" fmla="*/ 70 h 400"/>
              <a:gd name="T44" fmla="*/ 236 w 412"/>
              <a:gd name="T45" fmla="*/ 56 h 400"/>
              <a:gd name="T46" fmla="*/ 242 w 412"/>
              <a:gd name="T47" fmla="*/ 36 h 400"/>
              <a:gd name="T48" fmla="*/ 232 w 412"/>
              <a:gd name="T49" fmla="*/ 10 h 400"/>
              <a:gd name="T50" fmla="*/ 206 w 412"/>
              <a:gd name="T51" fmla="*/ 0 h 400"/>
              <a:gd name="T52" fmla="*/ 186 w 412"/>
              <a:gd name="T53" fmla="*/ 6 h 400"/>
              <a:gd name="T54" fmla="*/ 170 w 412"/>
              <a:gd name="T55" fmla="*/ 28 h 400"/>
              <a:gd name="T56" fmla="*/ 206 w 412"/>
              <a:gd name="T57" fmla="*/ 400 h 400"/>
              <a:gd name="T58" fmla="*/ 296 w 412"/>
              <a:gd name="T59" fmla="*/ 378 h 400"/>
              <a:gd name="T60" fmla="*/ 366 w 412"/>
              <a:gd name="T61" fmla="*/ 322 h 400"/>
              <a:gd name="T62" fmla="*/ 320 w 412"/>
              <a:gd name="T63" fmla="*/ 250 h 400"/>
              <a:gd name="T64" fmla="*/ 244 w 412"/>
              <a:gd name="T65" fmla="*/ 200 h 400"/>
              <a:gd name="T66" fmla="*/ 206 w 412"/>
              <a:gd name="T67" fmla="*/ 194 h 400"/>
              <a:gd name="T68" fmla="*/ 158 w 412"/>
              <a:gd name="T69" fmla="*/ 234 h 400"/>
              <a:gd name="T70" fmla="*/ 140 w 412"/>
              <a:gd name="T71" fmla="*/ 262 h 400"/>
              <a:gd name="T72" fmla="*/ 118 w 412"/>
              <a:gd name="T73" fmla="*/ 262 h 400"/>
              <a:gd name="T74" fmla="*/ 100 w 412"/>
              <a:gd name="T75" fmla="*/ 244 h 400"/>
              <a:gd name="T76" fmla="*/ 46 w 412"/>
              <a:gd name="T77" fmla="*/ 322 h 400"/>
              <a:gd name="T78" fmla="*/ 96 w 412"/>
              <a:gd name="T79" fmla="*/ 368 h 400"/>
              <a:gd name="T80" fmla="*/ 182 w 412"/>
              <a:gd name="T81" fmla="*/ 398 h 400"/>
              <a:gd name="T82" fmla="*/ 28 w 412"/>
              <a:gd name="T83" fmla="*/ 116 h 400"/>
              <a:gd name="T84" fmla="*/ 56 w 412"/>
              <a:gd name="T85" fmla="*/ 144 h 400"/>
              <a:gd name="T86" fmla="*/ 82 w 412"/>
              <a:gd name="T87" fmla="*/ 126 h 400"/>
              <a:gd name="T88" fmla="*/ 76 w 412"/>
              <a:gd name="T89" fmla="*/ 96 h 400"/>
              <a:gd name="T90" fmla="*/ 46 w 412"/>
              <a:gd name="T91" fmla="*/ 90 h 400"/>
              <a:gd name="T92" fmla="*/ 28 w 412"/>
              <a:gd name="T93" fmla="*/ 116 h 400"/>
              <a:gd name="T94" fmla="*/ 300 w 412"/>
              <a:gd name="T95" fmla="*/ 116 h 400"/>
              <a:gd name="T96" fmla="*/ 298 w 412"/>
              <a:gd name="T97" fmla="*/ 102 h 400"/>
              <a:gd name="T98" fmla="*/ 268 w 412"/>
              <a:gd name="T99" fmla="*/ 82 h 400"/>
              <a:gd name="T100" fmla="*/ 144 w 412"/>
              <a:gd name="T101" fmla="*/ 82 h 400"/>
              <a:gd name="T102" fmla="*/ 122 w 412"/>
              <a:gd name="T103" fmla="*/ 92 h 400"/>
              <a:gd name="T104" fmla="*/ 112 w 412"/>
              <a:gd name="T105" fmla="*/ 116 h 400"/>
              <a:gd name="T106" fmla="*/ 114 w 412"/>
              <a:gd name="T107" fmla="*/ 240 h 400"/>
              <a:gd name="T108" fmla="*/ 128 w 412"/>
              <a:gd name="T109" fmla="*/ 248 h 400"/>
              <a:gd name="T110" fmla="*/ 144 w 412"/>
              <a:gd name="T111" fmla="*/ 234 h 400"/>
              <a:gd name="T112" fmla="*/ 154 w 412"/>
              <a:gd name="T113" fmla="*/ 140 h 400"/>
              <a:gd name="T114" fmla="*/ 158 w 412"/>
              <a:gd name="T115" fmla="*/ 170 h 400"/>
              <a:gd name="T116" fmla="*/ 230 w 412"/>
              <a:gd name="T117" fmla="*/ 164 h 400"/>
              <a:gd name="T118" fmla="*/ 254 w 412"/>
              <a:gd name="T119" fmla="*/ 150 h 400"/>
              <a:gd name="T120" fmla="*/ 268 w 412"/>
              <a:gd name="T121" fmla="*/ 176 h 400"/>
              <a:gd name="T122" fmla="*/ 300 w 412"/>
              <a:gd name="T123" fmla="*/ 19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12" h="400">
                <a:moveTo>
                  <a:pt x="356" y="88"/>
                </a:moveTo>
                <a:lnTo>
                  <a:pt x="356" y="88"/>
                </a:lnTo>
                <a:lnTo>
                  <a:pt x="366" y="90"/>
                </a:lnTo>
                <a:lnTo>
                  <a:pt x="376" y="96"/>
                </a:lnTo>
                <a:lnTo>
                  <a:pt x="382" y="104"/>
                </a:lnTo>
                <a:lnTo>
                  <a:pt x="384" y="116"/>
                </a:lnTo>
                <a:lnTo>
                  <a:pt x="384" y="116"/>
                </a:lnTo>
                <a:lnTo>
                  <a:pt x="382" y="126"/>
                </a:lnTo>
                <a:lnTo>
                  <a:pt x="376" y="136"/>
                </a:lnTo>
                <a:lnTo>
                  <a:pt x="366" y="142"/>
                </a:lnTo>
                <a:lnTo>
                  <a:pt x="356" y="144"/>
                </a:lnTo>
                <a:lnTo>
                  <a:pt x="356" y="144"/>
                </a:lnTo>
                <a:lnTo>
                  <a:pt x="344" y="142"/>
                </a:lnTo>
                <a:lnTo>
                  <a:pt x="336" y="136"/>
                </a:lnTo>
                <a:lnTo>
                  <a:pt x="330" y="126"/>
                </a:lnTo>
                <a:lnTo>
                  <a:pt x="328" y="116"/>
                </a:lnTo>
                <a:lnTo>
                  <a:pt x="328" y="116"/>
                </a:lnTo>
                <a:lnTo>
                  <a:pt x="330" y="104"/>
                </a:lnTo>
                <a:lnTo>
                  <a:pt x="336" y="96"/>
                </a:lnTo>
                <a:lnTo>
                  <a:pt x="344" y="90"/>
                </a:lnTo>
                <a:lnTo>
                  <a:pt x="356" y="88"/>
                </a:lnTo>
                <a:lnTo>
                  <a:pt x="356" y="88"/>
                </a:lnTo>
                <a:close/>
                <a:moveTo>
                  <a:pt x="392" y="156"/>
                </a:moveTo>
                <a:lnTo>
                  <a:pt x="374" y="156"/>
                </a:lnTo>
                <a:lnTo>
                  <a:pt x="356" y="182"/>
                </a:lnTo>
                <a:lnTo>
                  <a:pt x="338" y="156"/>
                </a:lnTo>
                <a:lnTo>
                  <a:pt x="320" y="156"/>
                </a:lnTo>
                <a:lnTo>
                  <a:pt x="320" y="156"/>
                </a:lnTo>
                <a:lnTo>
                  <a:pt x="314" y="156"/>
                </a:lnTo>
                <a:lnTo>
                  <a:pt x="314" y="156"/>
                </a:lnTo>
                <a:lnTo>
                  <a:pt x="314" y="158"/>
                </a:lnTo>
                <a:lnTo>
                  <a:pt x="314" y="204"/>
                </a:lnTo>
                <a:lnTo>
                  <a:pt x="314" y="204"/>
                </a:lnTo>
                <a:lnTo>
                  <a:pt x="336" y="224"/>
                </a:lnTo>
                <a:lnTo>
                  <a:pt x="354" y="244"/>
                </a:lnTo>
                <a:lnTo>
                  <a:pt x="370" y="268"/>
                </a:lnTo>
                <a:lnTo>
                  <a:pt x="386" y="294"/>
                </a:lnTo>
                <a:lnTo>
                  <a:pt x="386" y="294"/>
                </a:lnTo>
                <a:lnTo>
                  <a:pt x="396" y="270"/>
                </a:lnTo>
                <a:lnTo>
                  <a:pt x="404" y="246"/>
                </a:lnTo>
                <a:lnTo>
                  <a:pt x="410" y="220"/>
                </a:lnTo>
                <a:lnTo>
                  <a:pt x="412" y="194"/>
                </a:lnTo>
                <a:lnTo>
                  <a:pt x="412" y="194"/>
                </a:lnTo>
                <a:lnTo>
                  <a:pt x="410" y="166"/>
                </a:lnTo>
                <a:lnTo>
                  <a:pt x="410" y="166"/>
                </a:lnTo>
                <a:lnTo>
                  <a:pt x="406" y="162"/>
                </a:lnTo>
                <a:lnTo>
                  <a:pt x="402" y="158"/>
                </a:lnTo>
                <a:lnTo>
                  <a:pt x="398" y="156"/>
                </a:lnTo>
                <a:lnTo>
                  <a:pt x="392" y="156"/>
                </a:lnTo>
                <a:lnTo>
                  <a:pt x="392" y="156"/>
                </a:lnTo>
                <a:close/>
                <a:moveTo>
                  <a:pt x="98" y="204"/>
                </a:moveTo>
                <a:lnTo>
                  <a:pt x="98" y="156"/>
                </a:lnTo>
                <a:lnTo>
                  <a:pt x="98" y="156"/>
                </a:lnTo>
                <a:lnTo>
                  <a:pt x="92" y="156"/>
                </a:lnTo>
                <a:lnTo>
                  <a:pt x="74" y="156"/>
                </a:lnTo>
                <a:lnTo>
                  <a:pt x="56" y="182"/>
                </a:lnTo>
                <a:lnTo>
                  <a:pt x="38" y="156"/>
                </a:lnTo>
                <a:lnTo>
                  <a:pt x="20" y="156"/>
                </a:lnTo>
                <a:lnTo>
                  <a:pt x="20" y="156"/>
                </a:lnTo>
                <a:lnTo>
                  <a:pt x="14" y="156"/>
                </a:lnTo>
                <a:lnTo>
                  <a:pt x="10" y="158"/>
                </a:lnTo>
                <a:lnTo>
                  <a:pt x="6" y="162"/>
                </a:lnTo>
                <a:lnTo>
                  <a:pt x="2" y="166"/>
                </a:lnTo>
                <a:lnTo>
                  <a:pt x="2" y="166"/>
                </a:lnTo>
                <a:lnTo>
                  <a:pt x="0" y="194"/>
                </a:lnTo>
                <a:lnTo>
                  <a:pt x="0" y="194"/>
                </a:lnTo>
                <a:lnTo>
                  <a:pt x="2" y="220"/>
                </a:lnTo>
                <a:lnTo>
                  <a:pt x="8" y="246"/>
                </a:lnTo>
                <a:lnTo>
                  <a:pt x="16" y="270"/>
                </a:lnTo>
                <a:lnTo>
                  <a:pt x="26" y="294"/>
                </a:lnTo>
                <a:lnTo>
                  <a:pt x="26" y="294"/>
                </a:lnTo>
                <a:lnTo>
                  <a:pt x="42" y="268"/>
                </a:lnTo>
                <a:lnTo>
                  <a:pt x="58" y="244"/>
                </a:lnTo>
                <a:lnTo>
                  <a:pt x="76" y="224"/>
                </a:lnTo>
                <a:lnTo>
                  <a:pt x="98" y="204"/>
                </a:lnTo>
                <a:lnTo>
                  <a:pt x="98" y="204"/>
                </a:lnTo>
                <a:close/>
                <a:moveTo>
                  <a:pt x="170" y="36"/>
                </a:moveTo>
                <a:lnTo>
                  <a:pt x="170" y="36"/>
                </a:lnTo>
                <a:lnTo>
                  <a:pt x="170" y="42"/>
                </a:lnTo>
                <a:lnTo>
                  <a:pt x="172" y="50"/>
                </a:lnTo>
                <a:lnTo>
                  <a:pt x="176" y="56"/>
                </a:lnTo>
                <a:lnTo>
                  <a:pt x="180" y="60"/>
                </a:lnTo>
                <a:lnTo>
                  <a:pt x="186" y="66"/>
                </a:lnTo>
                <a:lnTo>
                  <a:pt x="192" y="68"/>
                </a:lnTo>
                <a:lnTo>
                  <a:pt x="198" y="70"/>
                </a:lnTo>
                <a:lnTo>
                  <a:pt x="206" y="72"/>
                </a:lnTo>
                <a:lnTo>
                  <a:pt x="206" y="72"/>
                </a:lnTo>
                <a:lnTo>
                  <a:pt x="214" y="70"/>
                </a:lnTo>
                <a:lnTo>
                  <a:pt x="220" y="68"/>
                </a:lnTo>
                <a:lnTo>
                  <a:pt x="226" y="66"/>
                </a:lnTo>
                <a:lnTo>
                  <a:pt x="232" y="60"/>
                </a:lnTo>
                <a:lnTo>
                  <a:pt x="236" y="56"/>
                </a:lnTo>
                <a:lnTo>
                  <a:pt x="240" y="50"/>
                </a:lnTo>
                <a:lnTo>
                  <a:pt x="242" y="42"/>
                </a:lnTo>
                <a:lnTo>
                  <a:pt x="242" y="36"/>
                </a:lnTo>
                <a:lnTo>
                  <a:pt x="242" y="36"/>
                </a:lnTo>
                <a:lnTo>
                  <a:pt x="242" y="28"/>
                </a:lnTo>
                <a:lnTo>
                  <a:pt x="240" y="22"/>
                </a:lnTo>
                <a:lnTo>
                  <a:pt x="236" y="16"/>
                </a:lnTo>
                <a:lnTo>
                  <a:pt x="232" y="10"/>
                </a:lnTo>
                <a:lnTo>
                  <a:pt x="226" y="6"/>
                </a:lnTo>
                <a:lnTo>
                  <a:pt x="220" y="2"/>
                </a:lnTo>
                <a:lnTo>
                  <a:pt x="214" y="0"/>
                </a:lnTo>
                <a:lnTo>
                  <a:pt x="206" y="0"/>
                </a:lnTo>
                <a:lnTo>
                  <a:pt x="206" y="0"/>
                </a:lnTo>
                <a:lnTo>
                  <a:pt x="198" y="0"/>
                </a:lnTo>
                <a:lnTo>
                  <a:pt x="192" y="2"/>
                </a:lnTo>
                <a:lnTo>
                  <a:pt x="186" y="6"/>
                </a:lnTo>
                <a:lnTo>
                  <a:pt x="180" y="10"/>
                </a:lnTo>
                <a:lnTo>
                  <a:pt x="176" y="16"/>
                </a:lnTo>
                <a:lnTo>
                  <a:pt x="172" y="22"/>
                </a:lnTo>
                <a:lnTo>
                  <a:pt x="170" y="28"/>
                </a:lnTo>
                <a:lnTo>
                  <a:pt x="170" y="36"/>
                </a:lnTo>
                <a:lnTo>
                  <a:pt x="170" y="36"/>
                </a:lnTo>
                <a:close/>
                <a:moveTo>
                  <a:pt x="206" y="400"/>
                </a:moveTo>
                <a:lnTo>
                  <a:pt x="206" y="400"/>
                </a:lnTo>
                <a:lnTo>
                  <a:pt x="230" y="398"/>
                </a:lnTo>
                <a:lnTo>
                  <a:pt x="254" y="394"/>
                </a:lnTo>
                <a:lnTo>
                  <a:pt x="276" y="388"/>
                </a:lnTo>
                <a:lnTo>
                  <a:pt x="296" y="378"/>
                </a:lnTo>
                <a:lnTo>
                  <a:pt x="316" y="368"/>
                </a:lnTo>
                <a:lnTo>
                  <a:pt x="334" y="354"/>
                </a:lnTo>
                <a:lnTo>
                  <a:pt x="352" y="338"/>
                </a:lnTo>
                <a:lnTo>
                  <a:pt x="366" y="322"/>
                </a:lnTo>
                <a:lnTo>
                  <a:pt x="366" y="322"/>
                </a:lnTo>
                <a:lnTo>
                  <a:pt x="352" y="296"/>
                </a:lnTo>
                <a:lnTo>
                  <a:pt x="336" y="272"/>
                </a:lnTo>
                <a:lnTo>
                  <a:pt x="320" y="250"/>
                </a:lnTo>
                <a:lnTo>
                  <a:pt x="300" y="232"/>
                </a:lnTo>
                <a:lnTo>
                  <a:pt x="280" y="216"/>
                </a:lnTo>
                <a:lnTo>
                  <a:pt x="256" y="204"/>
                </a:lnTo>
                <a:lnTo>
                  <a:pt x="244" y="200"/>
                </a:lnTo>
                <a:lnTo>
                  <a:pt x="232" y="196"/>
                </a:lnTo>
                <a:lnTo>
                  <a:pt x="220" y="194"/>
                </a:lnTo>
                <a:lnTo>
                  <a:pt x="206" y="194"/>
                </a:lnTo>
                <a:lnTo>
                  <a:pt x="206" y="194"/>
                </a:lnTo>
                <a:lnTo>
                  <a:pt x="182" y="196"/>
                </a:lnTo>
                <a:lnTo>
                  <a:pt x="158" y="202"/>
                </a:lnTo>
                <a:lnTo>
                  <a:pt x="158" y="234"/>
                </a:lnTo>
                <a:lnTo>
                  <a:pt x="158" y="234"/>
                </a:lnTo>
                <a:lnTo>
                  <a:pt x="158" y="240"/>
                </a:lnTo>
                <a:lnTo>
                  <a:pt x="156" y="244"/>
                </a:lnTo>
                <a:lnTo>
                  <a:pt x="150" y="254"/>
                </a:lnTo>
                <a:lnTo>
                  <a:pt x="140" y="262"/>
                </a:lnTo>
                <a:lnTo>
                  <a:pt x="134" y="264"/>
                </a:lnTo>
                <a:lnTo>
                  <a:pt x="128" y="264"/>
                </a:lnTo>
                <a:lnTo>
                  <a:pt x="128" y="264"/>
                </a:lnTo>
                <a:lnTo>
                  <a:pt x="118" y="262"/>
                </a:lnTo>
                <a:lnTo>
                  <a:pt x="110" y="258"/>
                </a:lnTo>
                <a:lnTo>
                  <a:pt x="104" y="252"/>
                </a:lnTo>
                <a:lnTo>
                  <a:pt x="100" y="244"/>
                </a:lnTo>
                <a:lnTo>
                  <a:pt x="100" y="244"/>
                </a:lnTo>
                <a:lnTo>
                  <a:pt x="84" y="260"/>
                </a:lnTo>
                <a:lnTo>
                  <a:pt x="70" y="280"/>
                </a:lnTo>
                <a:lnTo>
                  <a:pt x="58" y="300"/>
                </a:lnTo>
                <a:lnTo>
                  <a:pt x="46" y="322"/>
                </a:lnTo>
                <a:lnTo>
                  <a:pt x="46" y="322"/>
                </a:lnTo>
                <a:lnTo>
                  <a:pt x="60" y="338"/>
                </a:lnTo>
                <a:lnTo>
                  <a:pt x="78" y="354"/>
                </a:lnTo>
                <a:lnTo>
                  <a:pt x="96" y="368"/>
                </a:lnTo>
                <a:lnTo>
                  <a:pt x="116" y="378"/>
                </a:lnTo>
                <a:lnTo>
                  <a:pt x="136" y="388"/>
                </a:lnTo>
                <a:lnTo>
                  <a:pt x="158" y="394"/>
                </a:lnTo>
                <a:lnTo>
                  <a:pt x="182" y="398"/>
                </a:lnTo>
                <a:lnTo>
                  <a:pt x="206" y="400"/>
                </a:lnTo>
                <a:lnTo>
                  <a:pt x="206" y="400"/>
                </a:lnTo>
                <a:close/>
                <a:moveTo>
                  <a:pt x="28" y="116"/>
                </a:moveTo>
                <a:lnTo>
                  <a:pt x="28" y="116"/>
                </a:lnTo>
                <a:lnTo>
                  <a:pt x="30" y="126"/>
                </a:lnTo>
                <a:lnTo>
                  <a:pt x="36" y="136"/>
                </a:lnTo>
                <a:lnTo>
                  <a:pt x="46" y="142"/>
                </a:lnTo>
                <a:lnTo>
                  <a:pt x="56" y="144"/>
                </a:lnTo>
                <a:lnTo>
                  <a:pt x="56" y="144"/>
                </a:lnTo>
                <a:lnTo>
                  <a:pt x="68" y="142"/>
                </a:lnTo>
                <a:lnTo>
                  <a:pt x="76" y="136"/>
                </a:lnTo>
                <a:lnTo>
                  <a:pt x="82" y="126"/>
                </a:lnTo>
                <a:lnTo>
                  <a:pt x="84" y="116"/>
                </a:lnTo>
                <a:lnTo>
                  <a:pt x="84" y="116"/>
                </a:lnTo>
                <a:lnTo>
                  <a:pt x="82" y="104"/>
                </a:lnTo>
                <a:lnTo>
                  <a:pt x="76" y="96"/>
                </a:lnTo>
                <a:lnTo>
                  <a:pt x="68" y="90"/>
                </a:lnTo>
                <a:lnTo>
                  <a:pt x="56" y="88"/>
                </a:lnTo>
                <a:lnTo>
                  <a:pt x="56" y="88"/>
                </a:lnTo>
                <a:lnTo>
                  <a:pt x="46" y="90"/>
                </a:lnTo>
                <a:lnTo>
                  <a:pt x="36" y="96"/>
                </a:lnTo>
                <a:lnTo>
                  <a:pt x="30" y="104"/>
                </a:lnTo>
                <a:lnTo>
                  <a:pt x="28" y="116"/>
                </a:lnTo>
                <a:lnTo>
                  <a:pt x="28" y="116"/>
                </a:lnTo>
                <a:close/>
                <a:moveTo>
                  <a:pt x="300" y="192"/>
                </a:moveTo>
                <a:lnTo>
                  <a:pt x="300" y="116"/>
                </a:lnTo>
                <a:lnTo>
                  <a:pt x="300" y="116"/>
                </a:lnTo>
                <a:lnTo>
                  <a:pt x="300" y="116"/>
                </a:lnTo>
                <a:lnTo>
                  <a:pt x="300" y="114"/>
                </a:lnTo>
                <a:lnTo>
                  <a:pt x="300" y="114"/>
                </a:lnTo>
                <a:lnTo>
                  <a:pt x="300" y="108"/>
                </a:lnTo>
                <a:lnTo>
                  <a:pt x="298" y="102"/>
                </a:lnTo>
                <a:lnTo>
                  <a:pt x="290" y="92"/>
                </a:lnTo>
                <a:lnTo>
                  <a:pt x="280" y="84"/>
                </a:lnTo>
                <a:lnTo>
                  <a:pt x="274" y="82"/>
                </a:lnTo>
                <a:lnTo>
                  <a:pt x="268" y="82"/>
                </a:lnTo>
                <a:lnTo>
                  <a:pt x="232" y="82"/>
                </a:lnTo>
                <a:lnTo>
                  <a:pt x="206" y="116"/>
                </a:lnTo>
                <a:lnTo>
                  <a:pt x="180" y="82"/>
                </a:lnTo>
                <a:lnTo>
                  <a:pt x="144" y="82"/>
                </a:lnTo>
                <a:lnTo>
                  <a:pt x="144" y="82"/>
                </a:lnTo>
                <a:lnTo>
                  <a:pt x="138" y="82"/>
                </a:lnTo>
                <a:lnTo>
                  <a:pt x="132" y="84"/>
                </a:lnTo>
                <a:lnTo>
                  <a:pt x="122" y="92"/>
                </a:lnTo>
                <a:lnTo>
                  <a:pt x="114" y="102"/>
                </a:lnTo>
                <a:lnTo>
                  <a:pt x="112" y="108"/>
                </a:lnTo>
                <a:lnTo>
                  <a:pt x="112" y="114"/>
                </a:lnTo>
                <a:lnTo>
                  <a:pt x="112" y="116"/>
                </a:lnTo>
                <a:lnTo>
                  <a:pt x="112" y="130"/>
                </a:lnTo>
                <a:lnTo>
                  <a:pt x="112" y="234"/>
                </a:lnTo>
                <a:lnTo>
                  <a:pt x="112" y="234"/>
                </a:lnTo>
                <a:lnTo>
                  <a:pt x="114" y="240"/>
                </a:lnTo>
                <a:lnTo>
                  <a:pt x="116" y="244"/>
                </a:lnTo>
                <a:lnTo>
                  <a:pt x="122" y="248"/>
                </a:lnTo>
                <a:lnTo>
                  <a:pt x="128" y="248"/>
                </a:lnTo>
                <a:lnTo>
                  <a:pt x="128" y="248"/>
                </a:lnTo>
                <a:lnTo>
                  <a:pt x="134" y="248"/>
                </a:lnTo>
                <a:lnTo>
                  <a:pt x="138" y="244"/>
                </a:lnTo>
                <a:lnTo>
                  <a:pt x="142" y="240"/>
                </a:lnTo>
                <a:lnTo>
                  <a:pt x="144" y="234"/>
                </a:lnTo>
                <a:lnTo>
                  <a:pt x="144" y="130"/>
                </a:lnTo>
                <a:lnTo>
                  <a:pt x="144" y="130"/>
                </a:lnTo>
                <a:lnTo>
                  <a:pt x="150" y="134"/>
                </a:lnTo>
                <a:lnTo>
                  <a:pt x="154" y="140"/>
                </a:lnTo>
                <a:lnTo>
                  <a:pt x="158" y="148"/>
                </a:lnTo>
                <a:lnTo>
                  <a:pt x="158" y="156"/>
                </a:lnTo>
                <a:lnTo>
                  <a:pt x="158" y="170"/>
                </a:lnTo>
                <a:lnTo>
                  <a:pt x="158" y="170"/>
                </a:lnTo>
                <a:lnTo>
                  <a:pt x="182" y="164"/>
                </a:lnTo>
                <a:lnTo>
                  <a:pt x="206" y="162"/>
                </a:lnTo>
                <a:lnTo>
                  <a:pt x="206" y="162"/>
                </a:lnTo>
                <a:lnTo>
                  <a:pt x="230" y="164"/>
                </a:lnTo>
                <a:lnTo>
                  <a:pt x="254" y="170"/>
                </a:lnTo>
                <a:lnTo>
                  <a:pt x="254" y="158"/>
                </a:lnTo>
                <a:lnTo>
                  <a:pt x="254" y="158"/>
                </a:lnTo>
                <a:lnTo>
                  <a:pt x="254" y="150"/>
                </a:lnTo>
                <a:lnTo>
                  <a:pt x="258" y="142"/>
                </a:lnTo>
                <a:lnTo>
                  <a:pt x="262" y="136"/>
                </a:lnTo>
                <a:lnTo>
                  <a:pt x="268" y="132"/>
                </a:lnTo>
                <a:lnTo>
                  <a:pt x="268" y="176"/>
                </a:lnTo>
                <a:lnTo>
                  <a:pt x="268" y="176"/>
                </a:lnTo>
                <a:lnTo>
                  <a:pt x="284" y="184"/>
                </a:lnTo>
                <a:lnTo>
                  <a:pt x="300" y="192"/>
                </a:lnTo>
                <a:lnTo>
                  <a:pt x="300" y="192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6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Rektangel 10">
            <a:extLst>
              <a:ext uri="{FF2B5EF4-FFF2-40B4-BE49-F238E27FC236}">
                <a16:creationId xmlns:a16="http://schemas.microsoft.com/office/drawing/2014/main" id="{26C0B6CF-C101-4D3F-9F30-142FB6039E9C}"/>
              </a:ext>
            </a:extLst>
          </p:cNvPr>
          <p:cNvSpPr/>
          <p:nvPr/>
        </p:nvSpPr>
        <p:spPr>
          <a:xfrm>
            <a:off x="11110663" y="2619219"/>
            <a:ext cx="2480075" cy="5571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yndigheter</a:t>
            </a:r>
          </a:p>
        </p:txBody>
      </p:sp>
      <p:sp>
        <p:nvSpPr>
          <p:cNvPr id="56" name="Freeform 4838">
            <a:extLst>
              <a:ext uri="{FF2B5EF4-FFF2-40B4-BE49-F238E27FC236}">
                <a16:creationId xmlns:a16="http://schemas.microsoft.com/office/drawing/2014/main" id="{E3DE27A7-EFC1-45BA-BB58-11571DD8EEEB}"/>
              </a:ext>
            </a:extLst>
          </p:cNvPr>
          <p:cNvSpPr>
            <a:spLocks noEditPoints="1"/>
          </p:cNvSpPr>
          <p:nvPr/>
        </p:nvSpPr>
        <p:spPr bwMode="auto">
          <a:xfrm>
            <a:off x="11733314" y="3467609"/>
            <a:ext cx="1272536" cy="1265049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6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Rektangel 10">
            <a:extLst>
              <a:ext uri="{FF2B5EF4-FFF2-40B4-BE49-F238E27FC236}">
                <a16:creationId xmlns:a16="http://schemas.microsoft.com/office/drawing/2014/main" id="{CAA434B5-B915-4B64-B0CC-A4FDB3ACB8A8}"/>
              </a:ext>
            </a:extLst>
          </p:cNvPr>
          <p:cNvSpPr/>
          <p:nvPr/>
        </p:nvSpPr>
        <p:spPr>
          <a:xfrm>
            <a:off x="13923462" y="2678193"/>
            <a:ext cx="2052000" cy="43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æringsliv</a:t>
            </a:r>
          </a:p>
        </p:txBody>
      </p:sp>
      <p:sp>
        <p:nvSpPr>
          <p:cNvPr id="60" name="Freeform 4949">
            <a:extLst>
              <a:ext uri="{FF2B5EF4-FFF2-40B4-BE49-F238E27FC236}">
                <a16:creationId xmlns:a16="http://schemas.microsoft.com/office/drawing/2014/main" id="{7E691C52-CBC3-426B-9041-0CBC2224A5F7}"/>
              </a:ext>
            </a:extLst>
          </p:cNvPr>
          <p:cNvSpPr>
            <a:spLocks noEditPoints="1"/>
          </p:cNvSpPr>
          <p:nvPr/>
        </p:nvSpPr>
        <p:spPr bwMode="auto">
          <a:xfrm>
            <a:off x="14298587" y="3581785"/>
            <a:ext cx="1057987" cy="1138962"/>
          </a:xfrm>
          <a:custGeom>
            <a:avLst/>
            <a:gdLst>
              <a:gd name="T0" fmla="*/ 128 w 330"/>
              <a:gd name="T1" fmla="*/ 144 h 350"/>
              <a:gd name="T2" fmla="*/ 116 w 330"/>
              <a:gd name="T3" fmla="*/ 138 h 350"/>
              <a:gd name="T4" fmla="*/ 126 w 330"/>
              <a:gd name="T5" fmla="*/ 90 h 350"/>
              <a:gd name="T6" fmla="*/ 188 w 330"/>
              <a:gd name="T7" fmla="*/ 52 h 350"/>
              <a:gd name="T8" fmla="*/ 210 w 330"/>
              <a:gd name="T9" fmla="*/ 14 h 350"/>
              <a:gd name="T10" fmla="*/ 250 w 330"/>
              <a:gd name="T11" fmla="*/ 0 h 350"/>
              <a:gd name="T12" fmla="*/ 260 w 330"/>
              <a:gd name="T13" fmla="*/ 10 h 350"/>
              <a:gd name="T14" fmla="*/ 250 w 330"/>
              <a:gd name="T15" fmla="*/ 20 h 350"/>
              <a:gd name="T16" fmla="*/ 214 w 330"/>
              <a:gd name="T17" fmla="*/ 38 h 350"/>
              <a:gd name="T18" fmla="*/ 206 w 330"/>
              <a:gd name="T19" fmla="*/ 66 h 350"/>
              <a:gd name="T20" fmla="*/ 198 w 330"/>
              <a:gd name="T21" fmla="*/ 72 h 350"/>
              <a:gd name="T22" fmla="*/ 172 w 330"/>
              <a:gd name="T23" fmla="*/ 76 h 350"/>
              <a:gd name="T24" fmla="*/ 136 w 330"/>
              <a:gd name="T25" fmla="*/ 122 h 350"/>
              <a:gd name="T26" fmla="*/ 124 w 330"/>
              <a:gd name="T27" fmla="*/ 6 h 350"/>
              <a:gd name="T28" fmla="*/ 100 w 330"/>
              <a:gd name="T29" fmla="*/ 0 h 350"/>
              <a:gd name="T30" fmla="*/ 46 w 330"/>
              <a:gd name="T31" fmla="*/ 44 h 350"/>
              <a:gd name="T32" fmla="*/ 44 w 330"/>
              <a:gd name="T33" fmla="*/ 80 h 350"/>
              <a:gd name="T34" fmla="*/ 58 w 330"/>
              <a:gd name="T35" fmla="*/ 80 h 350"/>
              <a:gd name="T36" fmla="*/ 64 w 330"/>
              <a:gd name="T37" fmla="*/ 52 h 350"/>
              <a:gd name="T38" fmla="*/ 104 w 330"/>
              <a:gd name="T39" fmla="*/ 20 h 350"/>
              <a:gd name="T40" fmla="*/ 124 w 330"/>
              <a:gd name="T41" fmla="*/ 14 h 350"/>
              <a:gd name="T42" fmla="*/ 246 w 330"/>
              <a:gd name="T43" fmla="*/ 34 h 350"/>
              <a:gd name="T44" fmla="*/ 238 w 330"/>
              <a:gd name="T45" fmla="*/ 54 h 350"/>
              <a:gd name="T46" fmla="*/ 208 w 330"/>
              <a:gd name="T47" fmla="*/ 92 h 350"/>
              <a:gd name="T48" fmla="*/ 180 w 330"/>
              <a:gd name="T49" fmla="*/ 98 h 350"/>
              <a:gd name="T50" fmla="*/ 172 w 330"/>
              <a:gd name="T51" fmla="*/ 118 h 350"/>
              <a:gd name="T52" fmla="*/ 150 w 330"/>
              <a:gd name="T53" fmla="*/ 128 h 350"/>
              <a:gd name="T54" fmla="*/ 150 w 330"/>
              <a:gd name="T55" fmla="*/ 142 h 350"/>
              <a:gd name="T56" fmla="*/ 182 w 330"/>
              <a:gd name="T57" fmla="*/ 136 h 350"/>
              <a:gd name="T58" fmla="*/ 222 w 330"/>
              <a:gd name="T59" fmla="*/ 106 h 350"/>
              <a:gd name="T60" fmla="*/ 258 w 330"/>
              <a:gd name="T61" fmla="*/ 56 h 350"/>
              <a:gd name="T62" fmla="*/ 254 w 330"/>
              <a:gd name="T63" fmla="*/ 34 h 350"/>
              <a:gd name="T64" fmla="*/ 158 w 330"/>
              <a:gd name="T65" fmla="*/ 6 h 350"/>
              <a:gd name="T66" fmla="*/ 144 w 330"/>
              <a:gd name="T67" fmla="*/ 0 h 350"/>
              <a:gd name="T68" fmla="*/ 138 w 330"/>
              <a:gd name="T69" fmla="*/ 16 h 350"/>
              <a:gd name="T70" fmla="*/ 124 w 330"/>
              <a:gd name="T71" fmla="*/ 36 h 350"/>
              <a:gd name="T72" fmla="*/ 106 w 330"/>
              <a:gd name="T73" fmla="*/ 42 h 350"/>
              <a:gd name="T74" fmla="*/ 96 w 330"/>
              <a:gd name="T75" fmla="*/ 52 h 350"/>
              <a:gd name="T76" fmla="*/ 106 w 330"/>
              <a:gd name="T77" fmla="*/ 62 h 350"/>
              <a:gd name="T78" fmla="*/ 136 w 330"/>
              <a:gd name="T79" fmla="*/ 52 h 350"/>
              <a:gd name="T80" fmla="*/ 158 w 330"/>
              <a:gd name="T81" fmla="*/ 20 h 350"/>
              <a:gd name="T82" fmla="*/ 242 w 330"/>
              <a:gd name="T83" fmla="*/ 258 h 350"/>
              <a:gd name="T84" fmla="*/ 128 w 330"/>
              <a:gd name="T85" fmla="*/ 252 h 350"/>
              <a:gd name="T86" fmla="*/ 138 w 330"/>
              <a:gd name="T87" fmla="*/ 164 h 350"/>
              <a:gd name="T88" fmla="*/ 114 w 330"/>
              <a:gd name="T89" fmla="*/ 162 h 350"/>
              <a:gd name="T90" fmla="*/ 82 w 330"/>
              <a:gd name="T91" fmla="*/ 258 h 350"/>
              <a:gd name="T92" fmla="*/ 60 w 330"/>
              <a:gd name="T93" fmla="*/ 102 h 350"/>
              <a:gd name="T94" fmla="*/ 38 w 330"/>
              <a:gd name="T95" fmla="*/ 104 h 350"/>
              <a:gd name="T96" fmla="*/ 10 w 330"/>
              <a:gd name="T97" fmla="*/ 258 h 350"/>
              <a:gd name="T98" fmla="*/ 0 w 330"/>
              <a:gd name="T99" fmla="*/ 340 h 350"/>
              <a:gd name="T100" fmla="*/ 10 w 330"/>
              <a:gd name="T101" fmla="*/ 350 h 350"/>
              <a:gd name="T102" fmla="*/ 330 w 330"/>
              <a:gd name="T103" fmla="*/ 344 h 350"/>
              <a:gd name="T104" fmla="*/ 330 w 330"/>
              <a:gd name="T105" fmla="*/ 268 h 350"/>
              <a:gd name="T106" fmla="*/ 76 w 330"/>
              <a:gd name="T107" fmla="*/ 314 h 350"/>
              <a:gd name="T108" fmla="*/ 154 w 330"/>
              <a:gd name="T109" fmla="*/ 314 h 350"/>
              <a:gd name="T110" fmla="*/ 232 w 330"/>
              <a:gd name="T111" fmla="*/ 314 h 350"/>
              <a:gd name="T112" fmla="*/ 308 w 330"/>
              <a:gd name="T113" fmla="*/ 31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0" h="350">
                <a:moveTo>
                  <a:pt x="134" y="134"/>
                </a:moveTo>
                <a:lnTo>
                  <a:pt x="134" y="134"/>
                </a:lnTo>
                <a:lnTo>
                  <a:pt x="134" y="138"/>
                </a:lnTo>
                <a:lnTo>
                  <a:pt x="132" y="142"/>
                </a:lnTo>
                <a:lnTo>
                  <a:pt x="128" y="144"/>
                </a:lnTo>
                <a:lnTo>
                  <a:pt x="124" y="144"/>
                </a:lnTo>
                <a:lnTo>
                  <a:pt x="124" y="144"/>
                </a:lnTo>
                <a:lnTo>
                  <a:pt x="120" y="144"/>
                </a:lnTo>
                <a:lnTo>
                  <a:pt x="118" y="142"/>
                </a:lnTo>
                <a:lnTo>
                  <a:pt x="116" y="138"/>
                </a:lnTo>
                <a:lnTo>
                  <a:pt x="114" y="134"/>
                </a:lnTo>
                <a:lnTo>
                  <a:pt x="114" y="134"/>
                </a:lnTo>
                <a:lnTo>
                  <a:pt x="116" y="118"/>
                </a:lnTo>
                <a:lnTo>
                  <a:pt x="120" y="104"/>
                </a:lnTo>
                <a:lnTo>
                  <a:pt x="126" y="90"/>
                </a:lnTo>
                <a:lnTo>
                  <a:pt x="136" y="78"/>
                </a:lnTo>
                <a:lnTo>
                  <a:pt x="146" y="68"/>
                </a:lnTo>
                <a:lnTo>
                  <a:pt x="160" y="60"/>
                </a:lnTo>
                <a:lnTo>
                  <a:pt x="174" y="56"/>
                </a:lnTo>
                <a:lnTo>
                  <a:pt x="188" y="52"/>
                </a:lnTo>
                <a:lnTo>
                  <a:pt x="188" y="52"/>
                </a:lnTo>
                <a:lnTo>
                  <a:pt x="192" y="42"/>
                </a:lnTo>
                <a:lnTo>
                  <a:pt x="196" y="32"/>
                </a:lnTo>
                <a:lnTo>
                  <a:pt x="202" y="22"/>
                </a:lnTo>
                <a:lnTo>
                  <a:pt x="210" y="14"/>
                </a:lnTo>
                <a:lnTo>
                  <a:pt x="218" y="8"/>
                </a:lnTo>
                <a:lnTo>
                  <a:pt x="228" y="4"/>
                </a:lnTo>
                <a:lnTo>
                  <a:pt x="238" y="0"/>
                </a:lnTo>
                <a:lnTo>
                  <a:pt x="250" y="0"/>
                </a:lnTo>
                <a:lnTo>
                  <a:pt x="250" y="0"/>
                </a:lnTo>
                <a:lnTo>
                  <a:pt x="254" y="0"/>
                </a:lnTo>
                <a:lnTo>
                  <a:pt x="258" y="2"/>
                </a:lnTo>
                <a:lnTo>
                  <a:pt x="260" y="6"/>
                </a:lnTo>
                <a:lnTo>
                  <a:pt x="260" y="10"/>
                </a:lnTo>
                <a:lnTo>
                  <a:pt x="260" y="10"/>
                </a:lnTo>
                <a:lnTo>
                  <a:pt x="260" y="14"/>
                </a:lnTo>
                <a:lnTo>
                  <a:pt x="258" y="16"/>
                </a:lnTo>
                <a:lnTo>
                  <a:pt x="254" y="18"/>
                </a:lnTo>
                <a:lnTo>
                  <a:pt x="250" y="20"/>
                </a:lnTo>
                <a:lnTo>
                  <a:pt x="250" y="20"/>
                </a:lnTo>
                <a:lnTo>
                  <a:pt x="242" y="20"/>
                </a:lnTo>
                <a:lnTo>
                  <a:pt x="234" y="22"/>
                </a:lnTo>
                <a:lnTo>
                  <a:pt x="226" y="26"/>
                </a:lnTo>
                <a:lnTo>
                  <a:pt x="220" y="32"/>
                </a:lnTo>
                <a:lnTo>
                  <a:pt x="214" y="38"/>
                </a:lnTo>
                <a:lnTo>
                  <a:pt x="212" y="46"/>
                </a:lnTo>
                <a:lnTo>
                  <a:pt x="208" y="52"/>
                </a:lnTo>
                <a:lnTo>
                  <a:pt x="208" y="62"/>
                </a:lnTo>
                <a:lnTo>
                  <a:pt x="208" y="62"/>
                </a:lnTo>
                <a:lnTo>
                  <a:pt x="206" y="66"/>
                </a:lnTo>
                <a:lnTo>
                  <a:pt x="204" y="68"/>
                </a:lnTo>
                <a:lnTo>
                  <a:pt x="202" y="70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98" y="72"/>
                </a:lnTo>
                <a:lnTo>
                  <a:pt x="184" y="72"/>
                </a:lnTo>
                <a:lnTo>
                  <a:pt x="172" y="76"/>
                </a:lnTo>
                <a:lnTo>
                  <a:pt x="162" y="82"/>
                </a:lnTo>
                <a:lnTo>
                  <a:pt x="152" y="90"/>
                </a:lnTo>
                <a:lnTo>
                  <a:pt x="146" y="100"/>
                </a:lnTo>
                <a:lnTo>
                  <a:pt x="140" y="110"/>
                </a:lnTo>
                <a:lnTo>
                  <a:pt x="136" y="122"/>
                </a:lnTo>
                <a:lnTo>
                  <a:pt x="134" y="134"/>
                </a:lnTo>
                <a:lnTo>
                  <a:pt x="134" y="134"/>
                </a:lnTo>
                <a:close/>
                <a:moveTo>
                  <a:pt x="124" y="10"/>
                </a:moveTo>
                <a:lnTo>
                  <a:pt x="124" y="10"/>
                </a:lnTo>
                <a:lnTo>
                  <a:pt x="124" y="6"/>
                </a:lnTo>
                <a:lnTo>
                  <a:pt x="122" y="2"/>
                </a:lnTo>
                <a:lnTo>
                  <a:pt x="118" y="0"/>
                </a:lnTo>
                <a:lnTo>
                  <a:pt x="114" y="0"/>
                </a:lnTo>
                <a:lnTo>
                  <a:pt x="114" y="0"/>
                </a:lnTo>
                <a:lnTo>
                  <a:pt x="100" y="0"/>
                </a:lnTo>
                <a:lnTo>
                  <a:pt x="86" y="6"/>
                </a:lnTo>
                <a:lnTo>
                  <a:pt x="72" y="12"/>
                </a:lnTo>
                <a:lnTo>
                  <a:pt x="62" y="20"/>
                </a:lnTo>
                <a:lnTo>
                  <a:pt x="52" y="32"/>
                </a:lnTo>
                <a:lnTo>
                  <a:pt x="46" y="44"/>
                </a:lnTo>
                <a:lnTo>
                  <a:pt x="42" y="58"/>
                </a:lnTo>
                <a:lnTo>
                  <a:pt x="40" y="74"/>
                </a:lnTo>
                <a:lnTo>
                  <a:pt x="40" y="74"/>
                </a:lnTo>
                <a:lnTo>
                  <a:pt x="40" y="78"/>
                </a:lnTo>
                <a:lnTo>
                  <a:pt x="44" y="80"/>
                </a:lnTo>
                <a:lnTo>
                  <a:pt x="46" y="82"/>
                </a:lnTo>
                <a:lnTo>
                  <a:pt x="50" y="84"/>
                </a:lnTo>
                <a:lnTo>
                  <a:pt x="50" y="84"/>
                </a:lnTo>
                <a:lnTo>
                  <a:pt x="54" y="82"/>
                </a:lnTo>
                <a:lnTo>
                  <a:pt x="58" y="80"/>
                </a:lnTo>
                <a:lnTo>
                  <a:pt x="60" y="78"/>
                </a:lnTo>
                <a:lnTo>
                  <a:pt x="60" y="74"/>
                </a:lnTo>
                <a:lnTo>
                  <a:pt x="60" y="74"/>
                </a:lnTo>
                <a:lnTo>
                  <a:pt x="62" y="62"/>
                </a:lnTo>
                <a:lnTo>
                  <a:pt x="64" y="52"/>
                </a:lnTo>
                <a:lnTo>
                  <a:pt x="70" y="44"/>
                </a:lnTo>
                <a:lnTo>
                  <a:pt x="76" y="36"/>
                </a:lnTo>
                <a:lnTo>
                  <a:pt x="84" y="28"/>
                </a:lnTo>
                <a:lnTo>
                  <a:pt x="94" y="24"/>
                </a:lnTo>
                <a:lnTo>
                  <a:pt x="104" y="20"/>
                </a:lnTo>
                <a:lnTo>
                  <a:pt x="114" y="20"/>
                </a:lnTo>
                <a:lnTo>
                  <a:pt x="114" y="20"/>
                </a:lnTo>
                <a:lnTo>
                  <a:pt x="118" y="18"/>
                </a:lnTo>
                <a:lnTo>
                  <a:pt x="122" y="16"/>
                </a:lnTo>
                <a:lnTo>
                  <a:pt x="124" y="14"/>
                </a:lnTo>
                <a:lnTo>
                  <a:pt x="124" y="10"/>
                </a:lnTo>
                <a:lnTo>
                  <a:pt x="124" y="10"/>
                </a:lnTo>
                <a:close/>
                <a:moveTo>
                  <a:pt x="250" y="32"/>
                </a:moveTo>
                <a:lnTo>
                  <a:pt x="250" y="32"/>
                </a:lnTo>
                <a:lnTo>
                  <a:pt x="246" y="34"/>
                </a:lnTo>
                <a:lnTo>
                  <a:pt x="242" y="36"/>
                </a:lnTo>
                <a:lnTo>
                  <a:pt x="240" y="38"/>
                </a:lnTo>
                <a:lnTo>
                  <a:pt x="240" y="42"/>
                </a:lnTo>
                <a:lnTo>
                  <a:pt x="240" y="42"/>
                </a:lnTo>
                <a:lnTo>
                  <a:pt x="238" y="54"/>
                </a:lnTo>
                <a:lnTo>
                  <a:pt x="236" y="62"/>
                </a:lnTo>
                <a:lnTo>
                  <a:pt x="230" y="72"/>
                </a:lnTo>
                <a:lnTo>
                  <a:pt x="224" y="80"/>
                </a:lnTo>
                <a:lnTo>
                  <a:pt x="216" y="86"/>
                </a:lnTo>
                <a:lnTo>
                  <a:pt x="208" y="92"/>
                </a:lnTo>
                <a:lnTo>
                  <a:pt x="198" y="94"/>
                </a:lnTo>
                <a:lnTo>
                  <a:pt x="188" y="96"/>
                </a:lnTo>
                <a:lnTo>
                  <a:pt x="188" y="96"/>
                </a:lnTo>
                <a:lnTo>
                  <a:pt x="184" y="96"/>
                </a:lnTo>
                <a:lnTo>
                  <a:pt x="180" y="98"/>
                </a:lnTo>
                <a:lnTo>
                  <a:pt x="178" y="102"/>
                </a:lnTo>
                <a:lnTo>
                  <a:pt x="178" y="106"/>
                </a:lnTo>
                <a:lnTo>
                  <a:pt x="178" y="106"/>
                </a:lnTo>
                <a:lnTo>
                  <a:pt x="176" y="112"/>
                </a:lnTo>
                <a:lnTo>
                  <a:pt x="172" y="118"/>
                </a:lnTo>
                <a:lnTo>
                  <a:pt x="166" y="124"/>
                </a:lnTo>
                <a:lnTo>
                  <a:pt x="158" y="124"/>
                </a:lnTo>
                <a:lnTo>
                  <a:pt x="158" y="124"/>
                </a:lnTo>
                <a:lnTo>
                  <a:pt x="154" y="126"/>
                </a:lnTo>
                <a:lnTo>
                  <a:pt x="150" y="128"/>
                </a:lnTo>
                <a:lnTo>
                  <a:pt x="148" y="130"/>
                </a:lnTo>
                <a:lnTo>
                  <a:pt x="148" y="134"/>
                </a:lnTo>
                <a:lnTo>
                  <a:pt x="148" y="134"/>
                </a:lnTo>
                <a:lnTo>
                  <a:pt x="148" y="138"/>
                </a:lnTo>
                <a:lnTo>
                  <a:pt x="150" y="142"/>
                </a:lnTo>
                <a:lnTo>
                  <a:pt x="154" y="144"/>
                </a:lnTo>
                <a:lnTo>
                  <a:pt x="158" y="144"/>
                </a:lnTo>
                <a:lnTo>
                  <a:pt x="158" y="144"/>
                </a:lnTo>
                <a:lnTo>
                  <a:pt x="170" y="142"/>
                </a:lnTo>
                <a:lnTo>
                  <a:pt x="182" y="136"/>
                </a:lnTo>
                <a:lnTo>
                  <a:pt x="190" y="126"/>
                </a:lnTo>
                <a:lnTo>
                  <a:pt x="196" y="114"/>
                </a:lnTo>
                <a:lnTo>
                  <a:pt x="196" y="114"/>
                </a:lnTo>
                <a:lnTo>
                  <a:pt x="208" y="112"/>
                </a:lnTo>
                <a:lnTo>
                  <a:pt x="222" y="106"/>
                </a:lnTo>
                <a:lnTo>
                  <a:pt x="232" y="100"/>
                </a:lnTo>
                <a:lnTo>
                  <a:pt x="242" y="90"/>
                </a:lnTo>
                <a:lnTo>
                  <a:pt x="250" y="80"/>
                </a:lnTo>
                <a:lnTo>
                  <a:pt x="256" y="68"/>
                </a:lnTo>
                <a:lnTo>
                  <a:pt x="258" y="56"/>
                </a:lnTo>
                <a:lnTo>
                  <a:pt x="260" y="42"/>
                </a:lnTo>
                <a:lnTo>
                  <a:pt x="260" y="42"/>
                </a:lnTo>
                <a:lnTo>
                  <a:pt x="260" y="38"/>
                </a:lnTo>
                <a:lnTo>
                  <a:pt x="258" y="36"/>
                </a:lnTo>
                <a:lnTo>
                  <a:pt x="254" y="34"/>
                </a:lnTo>
                <a:lnTo>
                  <a:pt x="250" y="32"/>
                </a:lnTo>
                <a:lnTo>
                  <a:pt x="250" y="32"/>
                </a:lnTo>
                <a:close/>
                <a:moveTo>
                  <a:pt x="158" y="10"/>
                </a:moveTo>
                <a:lnTo>
                  <a:pt x="158" y="10"/>
                </a:lnTo>
                <a:lnTo>
                  <a:pt x="158" y="6"/>
                </a:lnTo>
                <a:lnTo>
                  <a:pt x="156" y="2"/>
                </a:lnTo>
                <a:lnTo>
                  <a:pt x="152" y="0"/>
                </a:lnTo>
                <a:lnTo>
                  <a:pt x="148" y="0"/>
                </a:lnTo>
                <a:lnTo>
                  <a:pt x="148" y="0"/>
                </a:lnTo>
                <a:lnTo>
                  <a:pt x="144" y="0"/>
                </a:lnTo>
                <a:lnTo>
                  <a:pt x="142" y="2"/>
                </a:lnTo>
                <a:lnTo>
                  <a:pt x="138" y="6"/>
                </a:lnTo>
                <a:lnTo>
                  <a:pt x="138" y="10"/>
                </a:lnTo>
                <a:lnTo>
                  <a:pt x="138" y="10"/>
                </a:lnTo>
                <a:lnTo>
                  <a:pt x="138" y="16"/>
                </a:lnTo>
                <a:lnTo>
                  <a:pt x="136" y="22"/>
                </a:lnTo>
                <a:lnTo>
                  <a:pt x="132" y="26"/>
                </a:lnTo>
                <a:lnTo>
                  <a:pt x="128" y="32"/>
                </a:lnTo>
                <a:lnTo>
                  <a:pt x="128" y="32"/>
                </a:lnTo>
                <a:lnTo>
                  <a:pt x="124" y="36"/>
                </a:lnTo>
                <a:lnTo>
                  <a:pt x="118" y="38"/>
                </a:lnTo>
                <a:lnTo>
                  <a:pt x="112" y="40"/>
                </a:lnTo>
                <a:lnTo>
                  <a:pt x="106" y="42"/>
                </a:lnTo>
                <a:lnTo>
                  <a:pt x="106" y="42"/>
                </a:lnTo>
                <a:lnTo>
                  <a:pt x="106" y="42"/>
                </a:lnTo>
                <a:lnTo>
                  <a:pt x="102" y="42"/>
                </a:lnTo>
                <a:lnTo>
                  <a:pt x="100" y="44"/>
                </a:lnTo>
                <a:lnTo>
                  <a:pt x="98" y="48"/>
                </a:lnTo>
                <a:lnTo>
                  <a:pt x="96" y="52"/>
                </a:lnTo>
                <a:lnTo>
                  <a:pt x="96" y="52"/>
                </a:lnTo>
                <a:lnTo>
                  <a:pt x="98" y="56"/>
                </a:lnTo>
                <a:lnTo>
                  <a:pt x="100" y="58"/>
                </a:lnTo>
                <a:lnTo>
                  <a:pt x="102" y="60"/>
                </a:lnTo>
                <a:lnTo>
                  <a:pt x="106" y="62"/>
                </a:lnTo>
                <a:lnTo>
                  <a:pt x="106" y="62"/>
                </a:lnTo>
                <a:lnTo>
                  <a:pt x="106" y="62"/>
                </a:lnTo>
                <a:lnTo>
                  <a:pt x="106" y="62"/>
                </a:lnTo>
                <a:lnTo>
                  <a:pt x="116" y="60"/>
                </a:lnTo>
                <a:lnTo>
                  <a:pt x="126" y="58"/>
                </a:lnTo>
                <a:lnTo>
                  <a:pt x="136" y="52"/>
                </a:lnTo>
                <a:lnTo>
                  <a:pt x="142" y="46"/>
                </a:lnTo>
                <a:lnTo>
                  <a:pt x="142" y="46"/>
                </a:lnTo>
                <a:lnTo>
                  <a:pt x="150" y="38"/>
                </a:lnTo>
                <a:lnTo>
                  <a:pt x="154" y="30"/>
                </a:lnTo>
                <a:lnTo>
                  <a:pt x="158" y="20"/>
                </a:lnTo>
                <a:lnTo>
                  <a:pt x="158" y="10"/>
                </a:lnTo>
                <a:lnTo>
                  <a:pt x="158" y="10"/>
                </a:lnTo>
                <a:close/>
                <a:moveTo>
                  <a:pt x="330" y="268"/>
                </a:moveTo>
                <a:lnTo>
                  <a:pt x="330" y="190"/>
                </a:lnTo>
                <a:lnTo>
                  <a:pt x="242" y="258"/>
                </a:lnTo>
                <a:lnTo>
                  <a:pt x="242" y="190"/>
                </a:lnTo>
                <a:lnTo>
                  <a:pt x="154" y="258"/>
                </a:lnTo>
                <a:lnTo>
                  <a:pt x="148" y="258"/>
                </a:lnTo>
                <a:lnTo>
                  <a:pt x="122" y="258"/>
                </a:lnTo>
                <a:lnTo>
                  <a:pt x="128" y="252"/>
                </a:lnTo>
                <a:lnTo>
                  <a:pt x="146" y="240"/>
                </a:lnTo>
                <a:lnTo>
                  <a:pt x="140" y="172"/>
                </a:lnTo>
                <a:lnTo>
                  <a:pt x="140" y="172"/>
                </a:lnTo>
                <a:lnTo>
                  <a:pt x="140" y="168"/>
                </a:lnTo>
                <a:lnTo>
                  <a:pt x="138" y="164"/>
                </a:lnTo>
                <a:lnTo>
                  <a:pt x="134" y="162"/>
                </a:lnTo>
                <a:lnTo>
                  <a:pt x="130" y="162"/>
                </a:lnTo>
                <a:lnTo>
                  <a:pt x="118" y="162"/>
                </a:lnTo>
                <a:lnTo>
                  <a:pt x="118" y="162"/>
                </a:lnTo>
                <a:lnTo>
                  <a:pt x="114" y="162"/>
                </a:lnTo>
                <a:lnTo>
                  <a:pt x="112" y="164"/>
                </a:lnTo>
                <a:lnTo>
                  <a:pt x="110" y="168"/>
                </a:lnTo>
                <a:lnTo>
                  <a:pt x="108" y="172"/>
                </a:lnTo>
                <a:lnTo>
                  <a:pt x="100" y="258"/>
                </a:lnTo>
                <a:lnTo>
                  <a:pt x="82" y="258"/>
                </a:lnTo>
                <a:lnTo>
                  <a:pt x="66" y="110"/>
                </a:lnTo>
                <a:lnTo>
                  <a:pt x="66" y="110"/>
                </a:lnTo>
                <a:lnTo>
                  <a:pt x="66" y="106"/>
                </a:lnTo>
                <a:lnTo>
                  <a:pt x="64" y="104"/>
                </a:lnTo>
                <a:lnTo>
                  <a:pt x="60" y="102"/>
                </a:lnTo>
                <a:lnTo>
                  <a:pt x="56" y="100"/>
                </a:lnTo>
                <a:lnTo>
                  <a:pt x="44" y="100"/>
                </a:lnTo>
                <a:lnTo>
                  <a:pt x="44" y="100"/>
                </a:lnTo>
                <a:lnTo>
                  <a:pt x="40" y="102"/>
                </a:lnTo>
                <a:lnTo>
                  <a:pt x="38" y="104"/>
                </a:lnTo>
                <a:lnTo>
                  <a:pt x="36" y="106"/>
                </a:lnTo>
                <a:lnTo>
                  <a:pt x="34" y="110"/>
                </a:lnTo>
                <a:lnTo>
                  <a:pt x="18" y="258"/>
                </a:lnTo>
                <a:lnTo>
                  <a:pt x="10" y="258"/>
                </a:lnTo>
                <a:lnTo>
                  <a:pt x="10" y="258"/>
                </a:lnTo>
                <a:lnTo>
                  <a:pt x="6" y="260"/>
                </a:lnTo>
                <a:lnTo>
                  <a:pt x="2" y="262"/>
                </a:lnTo>
                <a:lnTo>
                  <a:pt x="0" y="264"/>
                </a:lnTo>
                <a:lnTo>
                  <a:pt x="0" y="268"/>
                </a:lnTo>
                <a:lnTo>
                  <a:pt x="0" y="340"/>
                </a:lnTo>
                <a:lnTo>
                  <a:pt x="0" y="340"/>
                </a:lnTo>
                <a:lnTo>
                  <a:pt x="0" y="344"/>
                </a:lnTo>
                <a:lnTo>
                  <a:pt x="2" y="348"/>
                </a:lnTo>
                <a:lnTo>
                  <a:pt x="6" y="350"/>
                </a:lnTo>
                <a:lnTo>
                  <a:pt x="10" y="350"/>
                </a:lnTo>
                <a:lnTo>
                  <a:pt x="320" y="350"/>
                </a:lnTo>
                <a:lnTo>
                  <a:pt x="320" y="350"/>
                </a:lnTo>
                <a:lnTo>
                  <a:pt x="324" y="350"/>
                </a:lnTo>
                <a:lnTo>
                  <a:pt x="328" y="348"/>
                </a:lnTo>
                <a:lnTo>
                  <a:pt x="330" y="344"/>
                </a:lnTo>
                <a:lnTo>
                  <a:pt x="330" y="340"/>
                </a:lnTo>
                <a:lnTo>
                  <a:pt x="330" y="268"/>
                </a:lnTo>
                <a:lnTo>
                  <a:pt x="330" y="268"/>
                </a:lnTo>
                <a:lnTo>
                  <a:pt x="330" y="268"/>
                </a:lnTo>
                <a:lnTo>
                  <a:pt x="330" y="268"/>
                </a:lnTo>
                <a:close/>
                <a:moveTo>
                  <a:pt x="76" y="314"/>
                </a:moveTo>
                <a:lnTo>
                  <a:pt x="22" y="314"/>
                </a:lnTo>
                <a:lnTo>
                  <a:pt x="22" y="288"/>
                </a:lnTo>
                <a:lnTo>
                  <a:pt x="76" y="288"/>
                </a:lnTo>
                <a:lnTo>
                  <a:pt x="76" y="314"/>
                </a:lnTo>
                <a:close/>
                <a:moveTo>
                  <a:pt x="154" y="314"/>
                </a:moveTo>
                <a:lnTo>
                  <a:pt x="100" y="314"/>
                </a:lnTo>
                <a:lnTo>
                  <a:pt x="100" y="288"/>
                </a:lnTo>
                <a:lnTo>
                  <a:pt x="154" y="288"/>
                </a:lnTo>
                <a:lnTo>
                  <a:pt x="154" y="314"/>
                </a:lnTo>
                <a:close/>
                <a:moveTo>
                  <a:pt x="232" y="314"/>
                </a:moveTo>
                <a:lnTo>
                  <a:pt x="176" y="314"/>
                </a:lnTo>
                <a:lnTo>
                  <a:pt x="176" y="288"/>
                </a:lnTo>
                <a:lnTo>
                  <a:pt x="232" y="288"/>
                </a:lnTo>
                <a:lnTo>
                  <a:pt x="232" y="314"/>
                </a:lnTo>
                <a:close/>
                <a:moveTo>
                  <a:pt x="308" y="314"/>
                </a:moveTo>
                <a:lnTo>
                  <a:pt x="254" y="314"/>
                </a:lnTo>
                <a:lnTo>
                  <a:pt x="254" y="288"/>
                </a:lnTo>
                <a:lnTo>
                  <a:pt x="308" y="288"/>
                </a:lnTo>
                <a:lnTo>
                  <a:pt x="308" y="314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6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2" name="Rektangel 10">
            <a:extLst>
              <a:ext uri="{FF2B5EF4-FFF2-40B4-BE49-F238E27FC236}">
                <a16:creationId xmlns:a16="http://schemas.microsoft.com/office/drawing/2014/main" id="{17CC47AB-CBBC-4194-8590-63D7BFC93425}"/>
              </a:ext>
            </a:extLst>
          </p:cNvPr>
          <p:cNvSpPr/>
          <p:nvPr/>
        </p:nvSpPr>
        <p:spPr>
          <a:xfrm>
            <a:off x="1954316" y="9843472"/>
            <a:ext cx="2052000" cy="432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ster-forvaltere</a:t>
            </a:r>
          </a:p>
        </p:txBody>
      </p:sp>
      <p:sp>
        <p:nvSpPr>
          <p:cNvPr id="64" name="Freeform 4919">
            <a:extLst>
              <a:ext uri="{FF2B5EF4-FFF2-40B4-BE49-F238E27FC236}">
                <a16:creationId xmlns:a16="http://schemas.microsoft.com/office/drawing/2014/main" id="{50766470-18DC-4938-AC94-A7CBA63432A2}"/>
              </a:ext>
            </a:extLst>
          </p:cNvPr>
          <p:cNvSpPr>
            <a:spLocks noEditPoints="1"/>
          </p:cNvSpPr>
          <p:nvPr/>
        </p:nvSpPr>
        <p:spPr bwMode="auto">
          <a:xfrm>
            <a:off x="2417213" y="10562903"/>
            <a:ext cx="900341" cy="1415855"/>
          </a:xfrm>
          <a:custGeom>
            <a:avLst/>
            <a:gdLst>
              <a:gd name="T0" fmla="*/ 150 w 248"/>
              <a:gd name="T1" fmla="*/ 30 h 390"/>
              <a:gd name="T2" fmla="*/ 160 w 248"/>
              <a:gd name="T3" fmla="*/ 12 h 390"/>
              <a:gd name="T4" fmla="*/ 178 w 248"/>
              <a:gd name="T5" fmla="*/ 2 h 390"/>
              <a:gd name="T6" fmla="*/ 192 w 248"/>
              <a:gd name="T7" fmla="*/ 2 h 390"/>
              <a:gd name="T8" fmla="*/ 212 w 248"/>
              <a:gd name="T9" fmla="*/ 12 h 390"/>
              <a:gd name="T10" fmla="*/ 222 w 248"/>
              <a:gd name="T11" fmla="*/ 30 h 390"/>
              <a:gd name="T12" fmla="*/ 222 w 248"/>
              <a:gd name="T13" fmla="*/ 44 h 390"/>
              <a:gd name="T14" fmla="*/ 212 w 248"/>
              <a:gd name="T15" fmla="*/ 64 h 390"/>
              <a:gd name="T16" fmla="*/ 192 w 248"/>
              <a:gd name="T17" fmla="*/ 74 h 390"/>
              <a:gd name="T18" fmla="*/ 178 w 248"/>
              <a:gd name="T19" fmla="*/ 74 h 390"/>
              <a:gd name="T20" fmla="*/ 160 w 248"/>
              <a:gd name="T21" fmla="*/ 64 h 390"/>
              <a:gd name="T22" fmla="*/ 150 w 248"/>
              <a:gd name="T23" fmla="*/ 44 h 390"/>
              <a:gd name="T24" fmla="*/ 248 w 248"/>
              <a:gd name="T25" fmla="*/ 120 h 390"/>
              <a:gd name="T26" fmla="*/ 242 w 248"/>
              <a:gd name="T27" fmla="*/ 100 h 390"/>
              <a:gd name="T28" fmla="*/ 232 w 248"/>
              <a:gd name="T29" fmla="*/ 90 h 390"/>
              <a:gd name="T30" fmla="*/ 210 w 248"/>
              <a:gd name="T31" fmla="*/ 84 h 390"/>
              <a:gd name="T32" fmla="*/ 194 w 248"/>
              <a:gd name="T33" fmla="*/ 88 h 390"/>
              <a:gd name="T34" fmla="*/ 182 w 248"/>
              <a:gd name="T35" fmla="*/ 98 h 390"/>
              <a:gd name="T36" fmla="*/ 182 w 248"/>
              <a:gd name="T37" fmla="*/ 98 h 390"/>
              <a:gd name="T38" fmla="*/ 84 w 248"/>
              <a:gd name="T39" fmla="*/ 156 h 390"/>
              <a:gd name="T40" fmla="*/ 74 w 248"/>
              <a:gd name="T41" fmla="*/ 160 h 390"/>
              <a:gd name="T42" fmla="*/ 70 w 248"/>
              <a:gd name="T43" fmla="*/ 170 h 390"/>
              <a:gd name="T44" fmla="*/ 80 w 248"/>
              <a:gd name="T45" fmla="*/ 184 h 390"/>
              <a:gd name="T46" fmla="*/ 146 w 248"/>
              <a:gd name="T47" fmla="*/ 186 h 390"/>
              <a:gd name="T48" fmla="*/ 172 w 248"/>
              <a:gd name="T49" fmla="*/ 160 h 390"/>
              <a:gd name="T50" fmla="*/ 138 w 248"/>
              <a:gd name="T51" fmla="*/ 222 h 390"/>
              <a:gd name="T52" fmla="*/ 146 w 248"/>
              <a:gd name="T53" fmla="*/ 212 h 390"/>
              <a:gd name="T54" fmla="*/ 142 w 248"/>
              <a:gd name="T55" fmla="*/ 204 h 390"/>
              <a:gd name="T56" fmla="*/ 50 w 248"/>
              <a:gd name="T57" fmla="*/ 202 h 390"/>
              <a:gd name="T58" fmla="*/ 42 w 248"/>
              <a:gd name="T59" fmla="*/ 204 h 390"/>
              <a:gd name="T60" fmla="*/ 38 w 248"/>
              <a:gd name="T61" fmla="*/ 212 h 390"/>
              <a:gd name="T62" fmla="*/ 46 w 248"/>
              <a:gd name="T63" fmla="*/ 222 h 390"/>
              <a:gd name="T64" fmla="*/ 104 w 248"/>
              <a:gd name="T65" fmla="*/ 224 h 390"/>
              <a:gd name="T66" fmla="*/ 98 w 248"/>
              <a:gd name="T67" fmla="*/ 226 h 390"/>
              <a:gd name="T68" fmla="*/ 94 w 248"/>
              <a:gd name="T69" fmla="*/ 228 h 390"/>
              <a:gd name="T70" fmla="*/ 0 w 248"/>
              <a:gd name="T71" fmla="*/ 324 h 390"/>
              <a:gd name="T72" fmla="*/ 6 w 248"/>
              <a:gd name="T73" fmla="*/ 344 h 390"/>
              <a:gd name="T74" fmla="*/ 20 w 248"/>
              <a:gd name="T75" fmla="*/ 350 h 390"/>
              <a:gd name="T76" fmla="*/ 88 w 248"/>
              <a:gd name="T77" fmla="*/ 290 h 390"/>
              <a:gd name="T78" fmla="*/ 90 w 248"/>
              <a:gd name="T79" fmla="*/ 378 h 390"/>
              <a:gd name="T80" fmla="*/ 108 w 248"/>
              <a:gd name="T81" fmla="*/ 390 h 390"/>
              <a:gd name="T82" fmla="*/ 116 w 248"/>
              <a:gd name="T83" fmla="*/ 388 h 390"/>
              <a:gd name="T84" fmla="*/ 128 w 248"/>
              <a:gd name="T85" fmla="*/ 370 h 390"/>
              <a:gd name="T86" fmla="*/ 216 w 248"/>
              <a:gd name="T87" fmla="*/ 284 h 390"/>
              <a:gd name="T88" fmla="*/ 236 w 248"/>
              <a:gd name="T89" fmla="*/ 282 h 390"/>
              <a:gd name="T90" fmla="*/ 248 w 248"/>
              <a:gd name="T91" fmla="*/ 264 h 390"/>
              <a:gd name="T92" fmla="*/ 248 w 248"/>
              <a:gd name="T93" fmla="*/ 120 h 390"/>
              <a:gd name="T94" fmla="*/ 28 w 248"/>
              <a:gd name="T95" fmla="*/ 202 h 390"/>
              <a:gd name="T96" fmla="*/ 36 w 248"/>
              <a:gd name="T97" fmla="*/ 208 h 390"/>
              <a:gd name="T98" fmla="*/ 42 w 248"/>
              <a:gd name="T99" fmla="*/ 206 h 390"/>
              <a:gd name="T100" fmla="*/ 44 w 248"/>
              <a:gd name="T101" fmla="*/ 196 h 390"/>
              <a:gd name="T102" fmla="*/ 16 w 248"/>
              <a:gd name="T103" fmla="*/ 118 h 390"/>
              <a:gd name="T104" fmla="*/ 8 w 248"/>
              <a:gd name="T105" fmla="*/ 116 h 390"/>
              <a:gd name="T106" fmla="*/ 2 w 248"/>
              <a:gd name="T107" fmla="*/ 120 h 390"/>
              <a:gd name="T108" fmla="*/ 28 w 248"/>
              <a:gd name="T109" fmla="*/ 202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48" h="390">
                <a:moveTo>
                  <a:pt x="148" y="38"/>
                </a:moveTo>
                <a:lnTo>
                  <a:pt x="148" y="38"/>
                </a:lnTo>
                <a:lnTo>
                  <a:pt x="150" y="30"/>
                </a:lnTo>
                <a:lnTo>
                  <a:pt x="152" y="22"/>
                </a:lnTo>
                <a:lnTo>
                  <a:pt x="154" y="16"/>
                </a:lnTo>
                <a:lnTo>
                  <a:pt x="160" y="12"/>
                </a:lnTo>
                <a:lnTo>
                  <a:pt x="164" y="6"/>
                </a:lnTo>
                <a:lnTo>
                  <a:pt x="172" y="4"/>
                </a:lnTo>
                <a:lnTo>
                  <a:pt x="178" y="2"/>
                </a:lnTo>
                <a:lnTo>
                  <a:pt x="186" y="0"/>
                </a:lnTo>
                <a:lnTo>
                  <a:pt x="186" y="0"/>
                </a:lnTo>
                <a:lnTo>
                  <a:pt x="192" y="2"/>
                </a:lnTo>
                <a:lnTo>
                  <a:pt x="200" y="4"/>
                </a:lnTo>
                <a:lnTo>
                  <a:pt x="206" y="6"/>
                </a:lnTo>
                <a:lnTo>
                  <a:pt x="212" y="12"/>
                </a:lnTo>
                <a:lnTo>
                  <a:pt x="216" y="16"/>
                </a:lnTo>
                <a:lnTo>
                  <a:pt x="220" y="22"/>
                </a:lnTo>
                <a:lnTo>
                  <a:pt x="222" y="30"/>
                </a:lnTo>
                <a:lnTo>
                  <a:pt x="222" y="38"/>
                </a:lnTo>
                <a:lnTo>
                  <a:pt x="222" y="38"/>
                </a:lnTo>
                <a:lnTo>
                  <a:pt x="222" y="44"/>
                </a:lnTo>
                <a:lnTo>
                  <a:pt x="220" y="52"/>
                </a:lnTo>
                <a:lnTo>
                  <a:pt x="216" y="58"/>
                </a:lnTo>
                <a:lnTo>
                  <a:pt x="212" y="64"/>
                </a:lnTo>
                <a:lnTo>
                  <a:pt x="206" y="68"/>
                </a:lnTo>
                <a:lnTo>
                  <a:pt x="200" y="72"/>
                </a:lnTo>
                <a:lnTo>
                  <a:pt x="192" y="74"/>
                </a:lnTo>
                <a:lnTo>
                  <a:pt x="186" y="74"/>
                </a:lnTo>
                <a:lnTo>
                  <a:pt x="186" y="74"/>
                </a:lnTo>
                <a:lnTo>
                  <a:pt x="178" y="74"/>
                </a:lnTo>
                <a:lnTo>
                  <a:pt x="172" y="72"/>
                </a:lnTo>
                <a:lnTo>
                  <a:pt x="164" y="68"/>
                </a:lnTo>
                <a:lnTo>
                  <a:pt x="160" y="64"/>
                </a:lnTo>
                <a:lnTo>
                  <a:pt x="154" y="58"/>
                </a:lnTo>
                <a:lnTo>
                  <a:pt x="152" y="52"/>
                </a:lnTo>
                <a:lnTo>
                  <a:pt x="150" y="44"/>
                </a:lnTo>
                <a:lnTo>
                  <a:pt x="148" y="38"/>
                </a:lnTo>
                <a:lnTo>
                  <a:pt x="148" y="38"/>
                </a:lnTo>
                <a:close/>
                <a:moveTo>
                  <a:pt x="248" y="120"/>
                </a:moveTo>
                <a:lnTo>
                  <a:pt x="248" y="120"/>
                </a:lnTo>
                <a:lnTo>
                  <a:pt x="246" y="106"/>
                </a:lnTo>
                <a:lnTo>
                  <a:pt x="242" y="100"/>
                </a:lnTo>
                <a:lnTo>
                  <a:pt x="238" y="96"/>
                </a:lnTo>
                <a:lnTo>
                  <a:pt x="238" y="96"/>
                </a:lnTo>
                <a:lnTo>
                  <a:pt x="232" y="90"/>
                </a:lnTo>
                <a:lnTo>
                  <a:pt x="226" y="88"/>
                </a:lnTo>
                <a:lnTo>
                  <a:pt x="218" y="84"/>
                </a:lnTo>
                <a:lnTo>
                  <a:pt x="210" y="84"/>
                </a:lnTo>
                <a:lnTo>
                  <a:pt x="210" y="84"/>
                </a:lnTo>
                <a:lnTo>
                  <a:pt x="202" y="86"/>
                </a:lnTo>
                <a:lnTo>
                  <a:pt x="194" y="88"/>
                </a:lnTo>
                <a:lnTo>
                  <a:pt x="188" y="92"/>
                </a:lnTo>
                <a:lnTo>
                  <a:pt x="182" y="98"/>
                </a:lnTo>
                <a:lnTo>
                  <a:pt x="182" y="98"/>
                </a:lnTo>
                <a:lnTo>
                  <a:pt x="182" y="98"/>
                </a:lnTo>
                <a:lnTo>
                  <a:pt x="182" y="98"/>
                </a:lnTo>
                <a:lnTo>
                  <a:pt x="182" y="98"/>
                </a:lnTo>
                <a:lnTo>
                  <a:pt x="178" y="102"/>
                </a:lnTo>
                <a:lnTo>
                  <a:pt x="138" y="156"/>
                </a:lnTo>
                <a:lnTo>
                  <a:pt x="84" y="156"/>
                </a:lnTo>
                <a:lnTo>
                  <a:pt x="84" y="156"/>
                </a:lnTo>
                <a:lnTo>
                  <a:pt x="80" y="156"/>
                </a:lnTo>
                <a:lnTo>
                  <a:pt x="74" y="160"/>
                </a:lnTo>
                <a:lnTo>
                  <a:pt x="70" y="164"/>
                </a:lnTo>
                <a:lnTo>
                  <a:pt x="70" y="170"/>
                </a:lnTo>
                <a:lnTo>
                  <a:pt x="70" y="170"/>
                </a:lnTo>
                <a:lnTo>
                  <a:pt x="70" y="176"/>
                </a:lnTo>
                <a:lnTo>
                  <a:pt x="74" y="182"/>
                </a:lnTo>
                <a:lnTo>
                  <a:pt x="80" y="184"/>
                </a:lnTo>
                <a:lnTo>
                  <a:pt x="84" y="186"/>
                </a:lnTo>
                <a:lnTo>
                  <a:pt x="146" y="186"/>
                </a:lnTo>
                <a:lnTo>
                  <a:pt x="146" y="186"/>
                </a:lnTo>
                <a:lnTo>
                  <a:pt x="152" y="184"/>
                </a:lnTo>
                <a:lnTo>
                  <a:pt x="158" y="180"/>
                </a:lnTo>
                <a:lnTo>
                  <a:pt x="172" y="160"/>
                </a:lnTo>
                <a:lnTo>
                  <a:pt x="172" y="222"/>
                </a:lnTo>
                <a:lnTo>
                  <a:pt x="138" y="222"/>
                </a:lnTo>
                <a:lnTo>
                  <a:pt x="138" y="222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212"/>
                </a:lnTo>
                <a:lnTo>
                  <a:pt x="144" y="208"/>
                </a:lnTo>
                <a:lnTo>
                  <a:pt x="142" y="204"/>
                </a:lnTo>
                <a:lnTo>
                  <a:pt x="138" y="202"/>
                </a:lnTo>
                <a:lnTo>
                  <a:pt x="134" y="202"/>
                </a:lnTo>
                <a:lnTo>
                  <a:pt x="50" y="202"/>
                </a:lnTo>
                <a:lnTo>
                  <a:pt x="50" y="202"/>
                </a:lnTo>
                <a:lnTo>
                  <a:pt x="46" y="202"/>
                </a:lnTo>
                <a:lnTo>
                  <a:pt x="42" y="204"/>
                </a:lnTo>
                <a:lnTo>
                  <a:pt x="40" y="208"/>
                </a:lnTo>
                <a:lnTo>
                  <a:pt x="38" y="212"/>
                </a:lnTo>
                <a:lnTo>
                  <a:pt x="38" y="212"/>
                </a:lnTo>
                <a:lnTo>
                  <a:pt x="40" y="216"/>
                </a:lnTo>
                <a:lnTo>
                  <a:pt x="42" y="220"/>
                </a:lnTo>
                <a:lnTo>
                  <a:pt x="46" y="222"/>
                </a:lnTo>
                <a:lnTo>
                  <a:pt x="50" y="224"/>
                </a:lnTo>
                <a:lnTo>
                  <a:pt x="104" y="224"/>
                </a:lnTo>
                <a:lnTo>
                  <a:pt x="104" y="224"/>
                </a:lnTo>
                <a:lnTo>
                  <a:pt x="100" y="224"/>
                </a:lnTo>
                <a:lnTo>
                  <a:pt x="100" y="224"/>
                </a:lnTo>
                <a:lnTo>
                  <a:pt x="98" y="226"/>
                </a:lnTo>
                <a:lnTo>
                  <a:pt x="98" y="226"/>
                </a:lnTo>
                <a:lnTo>
                  <a:pt x="94" y="228"/>
                </a:lnTo>
                <a:lnTo>
                  <a:pt x="94" y="228"/>
                </a:lnTo>
                <a:lnTo>
                  <a:pt x="6" y="318"/>
                </a:lnTo>
                <a:lnTo>
                  <a:pt x="6" y="318"/>
                </a:lnTo>
                <a:lnTo>
                  <a:pt x="0" y="324"/>
                </a:lnTo>
                <a:lnTo>
                  <a:pt x="0" y="332"/>
                </a:lnTo>
                <a:lnTo>
                  <a:pt x="0" y="338"/>
                </a:lnTo>
                <a:lnTo>
                  <a:pt x="6" y="344"/>
                </a:lnTo>
                <a:lnTo>
                  <a:pt x="6" y="344"/>
                </a:lnTo>
                <a:lnTo>
                  <a:pt x="12" y="350"/>
                </a:lnTo>
                <a:lnTo>
                  <a:pt x="20" y="350"/>
                </a:lnTo>
                <a:lnTo>
                  <a:pt x="26" y="350"/>
                </a:lnTo>
                <a:lnTo>
                  <a:pt x="32" y="344"/>
                </a:lnTo>
                <a:lnTo>
                  <a:pt x="88" y="290"/>
                </a:lnTo>
                <a:lnTo>
                  <a:pt x="88" y="370"/>
                </a:lnTo>
                <a:lnTo>
                  <a:pt x="88" y="370"/>
                </a:lnTo>
                <a:lnTo>
                  <a:pt x="90" y="378"/>
                </a:lnTo>
                <a:lnTo>
                  <a:pt x="94" y="384"/>
                </a:lnTo>
                <a:lnTo>
                  <a:pt x="100" y="388"/>
                </a:lnTo>
                <a:lnTo>
                  <a:pt x="108" y="390"/>
                </a:lnTo>
                <a:lnTo>
                  <a:pt x="108" y="390"/>
                </a:lnTo>
                <a:lnTo>
                  <a:pt x="108" y="390"/>
                </a:lnTo>
                <a:lnTo>
                  <a:pt x="116" y="388"/>
                </a:lnTo>
                <a:lnTo>
                  <a:pt x="122" y="384"/>
                </a:lnTo>
                <a:lnTo>
                  <a:pt x="126" y="378"/>
                </a:lnTo>
                <a:lnTo>
                  <a:pt x="128" y="370"/>
                </a:lnTo>
                <a:lnTo>
                  <a:pt x="128" y="284"/>
                </a:lnTo>
                <a:lnTo>
                  <a:pt x="192" y="284"/>
                </a:lnTo>
                <a:lnTo>
                  <a:pt x="216" y="284"/>
                </a:lnTo>
                <a:lnTo>
                  <a:pt x="230" y="284"/>
                </a:lnTo>
                <a:lnTo>
                  <a:pt x="230" y="284"/>
                </a:lnTo>
                <a:lnTo>
                  <a:pt x="236" y="282"/>
                </a:lnTo>
                <a:lnTo>
                  <a:pt x="244" y="278"/>
                </a:lnTo>
                <a:lnTo>
                  <a:pt x="248" y="272"/>
                </a:lnTo>
                <a:lnTo>
                  <a:pt x="248" y="264"/>
                </a:lnTo>
                <a:lnTo>
                  <a:pt x="248" y="122"/>
                </a:lnTo>
                <a:lnTo>
                  <a:pt x="248" y="122"/>
                </a:lnTo>
                <a:lnTo>
                  <a:pt x="248" y="120"/>
                </a:lnTo>
                <a:lnTo>
                  <a:pt x="248" y="120"/>
                </a:lnTo>
                <a:close/>
                <a:moveTo>
                  <a:pt x="28" y="202"/>
                </a:moveTo>
                <a:lnTo>
                  <a:pt x="28" y="202"/>
                </a:lnTo>
                <a:lnTo>
                  <a:pt x="30" y="206"/>
                </a:lnTo>
                <a:lnTo>
                  <a:pt x="36" y="208"/>
                </a:lnTo>
                <a:lnTo>
                  <a:pt x="36" y="208"/>
                </a:lnTo>
                <a:lnTo>
                  <a:pt x="38" y="208"/>
                </a:lnTo>
                <a:lnTo>
                  <a:pt x="38" y="208"/>
                </a:lnTo>
                <a:lnTo>
                  <a:pt x="42" y="206"/>
                </a:lnTo>
                <a:lnTo>
                  <a:pt x="44" y="204"/>
                </a:lnTo>
                <a:lnTo>
                  <a:pt x="44" y="200"/>
                </a:lnTo>
                <a:lnTo>
                  <a:pt x="44" y="196"/>
                </a:lnTo>
                <a:lnTo>
                  <a:pt x="18" y="122"/>
                </a:lnTo>
                <a:lnTo>
                  <a:pt x="18" y="122"/>
                </a:lnTo>
                <a:lnTo>
                  <a:pt x="16" y="118"/>
                </a:lnTo>
                <a:lnTo>
                  <a:pt x="14" y="116"/>
                </a:lnTo>
                <a:lnTo>
                  <a:pt x="10" y="116"/>
                </a:lnTo>
                <a:lnTo>
                  <a:pt x="8" y="116"/>
                </a:lnTo>
                <a:lnTo>
                  <a:pt x="8" y="116"/>
                </a:lnTo>
                <a:lnTo>
                  <a:pt x="4" y="118"/>
                </a:lnTo>
                <a:lnTo>
                  <a:pt x="2" y="120"/>
                </a:lnTo>
                <a:lnTo>
                  <a:pt x="2" y="124"/>
                </a:lnTo>
                <a:lnTo>
                  <a:pt x="2" y="126"/>
                </a:lnTo>
                <a:lnTo>
                  <a:pt x="28" y="202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Rektangel 10">
            <a:extLst>
              <a:ext uri="{FF2B5EF4-FFF2-40B4-BE49-F238E27FC236}">
                <a16:creationId xmlns:a16="http://schemas.microsoft.com/office/drawing/2014/main" id="{245AAB5A-FF60-4D82-92E0-C749931FD7F2}"/>
              </a:ext>
            </a:extLst>
          </p:cNvPr>
          <p:cNvSpPr/>
          <p:nvPr/>
        </p:nvSpPr>
        <p:spPr>
          <a:xfrm>
            <a:off x="8877827" y="2504416"/>
            <a:ext cx="2052000" cy="432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-personell</a:t>
            </a:r>
          </a:p>
        </p:txBody>
      </p:sp>
      <p:sp>
        <p:nvSpPr>
          <p:cNvPr id="68" name="Freeform 4859">
            <a:extLst>
              <a:ext uri="{FF2B5EF4-FFF2-40B4-BE49-F238E27FC236}">
                <a16:creationId xmlns:a16="http://schemas.microsoft.com/office/drawing/2014/main" id="{C8AE893C-D5E4-4EB4-92B4-8E8169336906}"/>
              </a:ext>
            </a:extLst>
          </p:cNvPr>
          <p:cNvSpPr>
            <a:spLocks noEditPoints="1"/>
          </p:cNvSpPr>
          <p:nvPr/>
        </p:nvSpPr>
        <p:spPr bwMode="auto">
          <a:xfrm>
            <a:off x="9367078" y="3259416"/>
            <a:ext cx="1073499" cy="1504365"/>
          </a:xfrm>
          <a:custGeom>
            <a:avLst/>
            <a:gdLst>
              <a:gd name="T0" fmla="*/ 184 w 294"/>
              <a:gd name="T1" fmla="*/ 408 h 412"/>
              <a:gd name="T2" fmla="*/ 112 w 294"/>
              <a:gd name="T3" fmla="*/ 410 h 412"/>
              <a:gd name="T4" fmla="*/ 54 w 294"/>
              <a:gd name="T5" fmla="*/ 390 h 412"/>
              <a:gd name="T6" fmla="*/ 0 w 294"/>
              <a:gd name="T7" fmla="*/ 350 h 412"/>
              <a:gd name="T8" fmla="*/ 14 w 294"/>
              <a:gd name="T9" fmla="*/ 202 h 412"/>
              <a:gd name="T10" fmla="*/ 80 w 294"/>
              <a:gd name="T11" fmla="*/ 166 h 412"/>
              <a:gd name="T12" fmla="*/ 74 w 294"/>
              <a:gd name="T13" fmla="*/ 210 h 412"/>
              <a:gd name="T14" fmla="*/ 78 w 294"/>
              <a:gd name="T15" fmla="*/ 240 h 412"/>
              <a:gd name="T16" fmla="*/ 112 w 294"/>
              <a:gd name="T17" fmla="*/ 240 h 412"/>
              <a:gd name="T18" fmla="*/ 114 w 294"/>
              <a:gd name="T19" fmla="*/ 210 h 412"/>
              <a:gd name="T20" fmla="*/ 170 w 294"/>
              <a:gd name="T21" fmla="*/ 166 h 412"/>
              <a:gd name="T22" fmla="*/ 150 w 294"/>
              <a:gd name="T23" fmla="*/ 226 h 412"/>
              <a:gd name="T24" fmla="*/ 122 w 294"/>
              <a:gd name="T25" fmla="*/ 266 h 412"/>
              <a:gd name="T26" fmla="*/ 124 w 294"/>
              <a:gd name="T27" fmla="*/ 340 h 412"/>
              <a:gd name="T28" fmla="*/ 156 w 294"/>
              <a:gd name="T29" fmla="*/ 344 h 412"/>
              <a:gd name="T30" fmla="*/ 162 w 294"/>
              <a:gd name="T31" fmla="*/ 328 h 412"/>
              <a:gd name="T32" fmla="*/ 144 w 294"/>
              <a:gd name="T33" fmla="*/ 276 h 412"/>
              <a:gd name="T34" fmla="*/ 154 w 294"/>
              <a:gd name="T35" fmla="*/ 250 h 412"/>
              <a:gd name="T36" fmla="*/ 180 w 294"/>
              <a:gd name="T37" fmla="*/ 240 h 412"/>
              <a:gd name="T38" fmla="*/ 212 w 294"/>
              <a:gd name="T39" fmla="*/ 256 h 412"/>
              <a:gd name="T40" fmla="*/ 218 w 294"/>
              <a:gd name="T41" fmla="*/ 322 h 412"/>
              <a:gd name="T42" fmla="*/ 200 w 294"/>
              <a:gd name="T43" fmla="*/ 328 h 412"/>
              <a:gd name="T44" fmla="*/ 206 w 294"/>
              <a:gd name="T45" fmla="*/ 344 h 412"/>
              <a:gd name="T46" fmla="*/ 240 w 294"/>
              <a:gd name="T47" fmla="*/ 390 h 412"/>
              <a:gd name="T48" fmla="*/ 294 w 294"/>
              <a:gd name="T49" fmla="*/ 250 h 412"/>
              <a:gd name="T50" fmla="*/ 272 w 294"/>
              <a:gd name="T51" fmla="*/ 192 h 412"/>
              <a:gd name="T52" fmla="*/ 192 w 294"/>
              <a:gd name="T53" fmla="*/ 166 h 412"/>
              <a:gd name="T54" fmla="*/ 202 w 294"/>
              <a:gd name="T55" fmla="*/ 222 h 412"/>
              <a:gd name="T56" fmla="*/ 236 w 294"/>
              <a:gd name="T57" fmla="*/ 256 h 412"/>
              <a:gd name="T58" fmla="*/ 240 w 294"/>
              <a:gd name="T59" fmla="*/ 334 h 412"/>
              <a:gd name="T60" fmla="*/ 92 w 294"/>
              <a:gd name="T61" fmla="*/ 122 h 412"/>
              <a:gd name="T62" fmla="*/ 136 w 294"/>
              <a:gd name="T63" fmla="*/ 146 h 412"/>
              <a:gd name="T64" fmla="*/ 178 w 294"/>
              <a:gd name="T65" fmla="*/ 140 h 412"/>
              <a:gd name="T66" fmla="*/ 214 w 294"/>
              <a:gd name="T67" fmla="*/ 106 h 412"/>
              <a:gd name="T68" fmla="*/ 148 w 294"/>
              <a:gd name="T69" fmla="*/ 84 h 412"/>
              <a:gd name="T70" fmla="*/ 82 w 294"/>
              <a:gd name="T71" fmla="*/ 106 h 412"/>
              <a:gd name="T72" fmla="*/ 148 w 294"/>
              <a:gd name="T73" fmla="*/ 0 h 412"/>
              <a:gd name="T74" fmla="*/ 208 w 294"/>
              <a:gd name="T75" fmla="*/ 32 h 412"/>
              <a:gd name="T76" fmla="*/ 220 w 294"/>
              <a:gd name="T77" fmla="*/ 90 h 412"/>
              <a:gd name="T78" fmla="*/ 148 w 294"/>
              <a:gd name="T79" fmla="*/ 68 h 412"/>
              <a:gd name="T80" fmla="*/ 76 w 294"/>
              <a:gd name="T81" fmla="*/ 90 h 412"/>
              <a:gd name="T82" fmla="*/ 80 w 294"/>
              <a:gd name="T83" fmla="*/ 44 h 412"/>
              <a:gd name="T84" fmla="*/ 132 w 294"/>
              <a:gd name="T85" fmla="*/ 2 h 412"/>
              <a:gd name="T86" fmla="*/ 156 w 294"/>
              <a:gd name="T87" fmla="*/ 18 h 412"/>
              <a:gd name="T88" fmla="*/ 148 w 294"/>
              <a:gd name="T89" fmla="*/ 10 h 412"/>
              <a:gd name="T90" fmla="*/ 140 w 294"/>
              <a:gd name="T91" fmla="*/ 28 h 412"/>
              <a:gd name="T92" fmla="*/ 122 w 294"/>
              <a:gd name="T93" fmla="*/ 34 h 412"/>
              <a:gd name="T94" fmla="*/ 126 w 294"/>
              <a:gd name="T95" fmla="*/ 44 h 412"/>
              <a:gd name="T96" fmla="*/ 140 w 294"/>
              <a:gd name="T97" fmla="*/ 58 h 412"/>
              <a:gd name="T98" fmla="*/ 150 w 294"/>
              <a:gd name="T99" fmla="*/ 62 h 412"/>
              <a:gd name="T100" fmla="*/ 166 w 294"/>
              <a:gd name="T101" fmla="*/ 44 h 412"/>
              <a:gd name="T102" fmla="*/ 174 w 294"/>
              <a:gd name="T103" fmla="*/ 36 h 412"/>
              <a:gd name="T104" fmla="*/ 166 w 294"/>
              <a:gd name="T105" fmla="*/ 28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94" h="412">
                <a:moveTo>
                  <a:pt x="218" y="344"/>
                </a:moveTo>
                <a:lnTo>
                  <a:pt x="218" y="400"/>
                </a:lnTo>
                <a:lnTo>
                  <a:pt x="218" y="400"/>
                </a:lnTo>
                <a:lnTo>
                  <a:pt x="202" y="404"/>
                </a:lnTo>
                <a:lnTo>
                  <a:pt x="184" y="408"/>
                </a:lnTo>
                <a:lnTo>
                  <a:pt x="166" y="412"/>
                </a:lnTo>
                <a:lnTo>
                  <a:pt x="148" y="412"/>
                </a:lnTo>
                <a:lnTo>
                  <a:pt x="148" y="412"/>
                </a:lnTo>
                <a:lnTo>
                  <a:pt x="130" y="412"/>
                </a:lnTo>
                <a:lnTo>
                  <a:pt x="112" y="410"/>
                </a:lnTo>
                <a:lnTo>
                  <a:pt x="94" y="406"/>
                </a:lnTo>
                <a:lnTo>
                  <a:pt x="78" y="400"/>
                </a:lnTo>
                <a:lnTo>
                  <a:pt x="78" y="264"/>
                </a:lnTo>
                <a:lnTo>
                  <a:pt x="54" y="264"/>
                </a:lnTo>
                <a:lnTo>
                  <a:pt x="54" y="390"/>
                </a:lnTo>
                <a:lnTo>
                  <a:pt x="54" y="390"/>
                </a:lnTo>
                <a:lnTo>
                  <a:pt x="40" y="382"/>
                </a:lnTo>
                <a:lnTo>
                  <a:pt x="26" y="372"/>
                </a:lnTo>
                <a:lnTo>
                  <a:pt x="12" y="362"/>
                </a:lnTo>
                <a:lnTo>
                  <a:pt x="0" y="350"/>
                </a:lnTo>
                <a:lnTo>
                  <a:pt x="0" y="248"/>
                </a:lnTo>
                <a:lnTo>
                  <a:pt x="0" y="248"/>
                </a:lnTo>
                <a:lnTo>
                  <a:pt x="2" y="232"/>
                </a:lnTo>
                <a:lnTo>
                  <a:pt x="6" y="216"/>
                </a:lnTo>
                <a:lnTo>
                  <a:pt x="14" y="202"/>
                </a:lnTo>
                <a:lnTo>
                  <a:pt x="24" y="190"/>
                </a:lnTo>
                <a:lnTo>
                  <a:pt x="36" y="180"/>
                </a:lnTo>
                <a:lnTo>
                  <a:pt x="48" y="172"/>
                </a:lnTo>
                <a:lnTo>
                  <a:pt x="64" y="168"/>
                </a:lnTo>
                <a:lnTo>
                  <a:pt x="80" y="166"/>
                </a:lnTo>
                <a:lnTo>
                  <a:pt x="84" y="166"/>
                </a:lnTo>
                <a:lnTo>
                  <a:pt x="84" y="200"/>
                </a:lnTo>
                <a:lnTo>
                  <a:pt x="84" y="200"/>
                </a:lnTo>
                <a:lnTo>
                  <a:pt x="78" y="204"/>
                </a:lnTo>
                <a:lnTo>
                  <a:pt x="74" y="210"/>
                </a:lnTo>
                <a:lnTo>
                  <a:pt x="72" y="216"/>
                </a:lnTo>
                <a:lnTo>
                  <a:pt x="70" y="222"/>
                </a:lnTo>
                <a:lnTo>
                  <a:pt x="70" y="222"/>
                </a:lnTo>
                <a:lnTo>
                  <a:pt x="72" y="232"/>
                </a:lnTo>
                <a:lnTo>
                  <a:pt x="78" y="240"/>
                </a:lnTo>
                <a:lnTo>
                  <a:pt x="84" y="246"/>
                </a:lnTo>
                <a:lnTo>
                  <a:pt x="94" y="248"/>
                </a:lnTo>
                <a:lnTo>
                  <a:pt x="94" y="248"/>
                </a:lnTo>
                <a:lnTo>
                  <a:pt x="104" y="246"/>
                </a:lnTo>
                <a:lnTo>
                  <a:pt x="112" y="240"/>
                </a:lnTo>
                <a:lnTo>
                  <a:pt x="116" y="232"/>
                </a:lnTo>
                <a:lnTo>
                  <a:pt x="118" y="222"/>
                </a:lnTo>
                <a:lnTo>
                  <a:pt x="118" y="222"/>
                </a:lnTo>
                <a:lnTo>
                  <a:pt x="118" y="216"/>
                </a:lnTo>
                <a:lnTo>
                  <a:pt x="114" y="210"/>
                </a:lnTo>
                <a:lnTo>
                  <a:pt x="110" y="204"/>
                </a:lnTo>
                <a:lnTo>
                  <a:pt x="104" y="200"/>
                </a:lnTo>
                <a:lnTo>
                  <a:pt x="104" y="166"/>
                </a:lnTo>
                <a:lnTo>
                  <a:pt x="170" y="166"/>
                </a:lnTo>
                <a:lnTo>
                  <a:pt x="170" y="166"/>
                </a:lnTo>
                <a:lnTo>
                  <a:pt x="170" y="168"/>
                </a:lnTo>
                <a:lnTo>
                  <a:pt x="170" y="218"/>
                </a:lnTo>
                <a:lnTo>
                  <a:pt x="170" y="218"/>
                </a:lnTo>
                <a:lnTo>
                  <a:pt x="160" y="222"/>
                </a:lnTo>
                <a:lnTo>
                  <a:pt x="150" y="226"/>
                </a:lnTo>
                <a:lnTo>
                  <a:pt x="142" y="232"/>
                </a:lnTo>
                <a:lnTo>
                  <a:pt x="136" y="238"/>
                </a:lnTo>
                <a:lnTo>
                  <a:pt x="130" y="248"/>
                </a:lnTo>
                <a:lnTo>
                  <a:pt x="126" y="256"/>
                </a:lnTo>
                <a:lnTo>
                  <a:pt x="122" y="266"/>
                </a:lnTo>
                <a:lnTo>
                  <a:pt x="122" y="276"/>
                </a:lnTo>
                <a:lnTo>
                  <a:pt x="122" y="332"/>
                </a:lnTo>
                <a:lnTo>
                  <a:pt x="122" y="332"/>
                </a:lnTo>
                <a:lnTo>
                  <a:pt x="122" y="338"/>
                </a:lnTo>
                <a:lnTo>
                  <a:pt x="124" y="340"/>
                </a:lnTo>
                <a:lnTo>
                  <a:pt x="128" y="344"/>
                </a:lnTo>
                <a:lnTo>
                  <a:pt x="132" y="344"/>
                </a:lnTo>
                <a:lnTo>
                  <a:pt x="152" y="344"/>
                </a:lnTo>
                <a:lnTo>
                  <a:pt x="152" y="344"/>
                </a:lnTo>
                <a:lnTo>
                  <a:pt x="156" y="344"/>
                </a:lnTo>
                <a:lnTo>
                  <a:pt x="160" y="340"/>
                </a:lnTo>
                <a:lnTo>
                  <a:pt x="162" y="338"/>
                </a:lnTo>
                <a:lnTo>
                  <a:pt x="164" y="332"/>
                </a:lnTo>
                <a:lnTo>
                  <a:pt x="164" y="332"/>
                </a:lnTo>
                <a:lnTo>
                  <a:pt x="162" y="328"/>
                </a:lnTo>
                <a:lnTo>
                  <a:pt x="160" y="326"/>
                </a:lnTo>
                <a:lnTo>
                  <a:pt x="156" y="322"/>
                </a:lnTo>
                <a:lnTo>
                  <a:pt x="152" y="322"/>
                </a:lnTo>
                <a:lnTo>
                  <a:pt x="144" y="322"/>
                </a:lnTo>
                <a:lnTo>
                  <a:pt x="144" y="276"/>
                </a:lnTo>
                <a:lnTo>
                  <a:pt x="144" y="276"/>
                </a:lnTo>
                <a:lnTo>
                  <a:pt x="144" y="270"/>
                </a:lnTo>
                <a:lnTo>
                  <a:pt x="146" y="262"/>
                </a:lnTo>
                <a:lnTo>
                  <a:pt x="150" y="256"/>
                </a:lnTo>
                <a:lnTo>
                  <a:pt x="154" y="250"/>
                </a:lnTo>
                <a:lnTo>
                  <a:pt x="160" y="246"/>
                </a:lnTo>
                <a:lnTo>
                  <a:pt x="166" y="242"/>
                </a:lnTo>
                <a:lnTo>
                  <a:pt x="174" y="240"/>
                </a:lnTo>
                <a:lnTo>
                  <a:pt x="180" y="240"/>
                </a:lnTo>
                <a:lnTo>
                  <a:pt x="180" y="240"/>
                </a:lnTo>
                <a:lnTo>
                  <a:pt x="188" y="240"/>
                </a:lnTo>
                <a:lnTo>
                  <a:pt x="196" y="242"/>
                </a:lnTo>
                <a:lnTo>
                  <a:pt x="202" y="246"/>
                </a:lnTo>
                <a:lnTo>
                  <a:pt x="208" y="250"/>
                </a:lnTo>
                <a:lnTo>
                  <a:pt x="212" y="256"/>
                </a:lnTo>
                <a:lnTo>
                  <a:pt x="216" y="262"/>
                </a:lnTo>
                <a:lnTo>
                  <a:pt x="218" y="270"/>
                </a:lnTo>
                <a:lnTo>
                  <a:pt x="218" y="276"/>
                </a:lnTo>
                <a:lnTo>
                  <a:pt x="218" y="278"/>
                </a:lnTo>
                <a:lnTo>
                  <a:pt x="218" y="322"/>
                </a:lnTo>
                <a:lnTo>
                  <a:pt x="210" y="322"/>
                </a:lnTo>
                <a:lnTo>
                  <a:pt x="210" y="322"/>
                </a:lnTo>
                <a:lnTo>
                  <a:pt x="206" y="322"/>
                </a:lnTo>
                <a:lnTo>
                  <a:pt x="202" y="326"/>
                </a:lnTo>
                <a:lnTo>
                  <a:pt x="200" y="328"/>
                </a:lnTo>
                <a:lnTo>
                  <a:pt x="198" y="332"/>
                </a:lnTo>
                <a:lnTo>
                  <a:pt x="198" y="332"/>
                </a:lnTo>
                <a:lnTo>
                  <a:pt x="200" y="338"/>
                </a:lnTo>
                <a:lnTo>
                  <a:pt x="202" y="340"/>
                </a:lnTo>
                <a:lnTo>
                  <a:pt x="206" y="344"/>
                </a:lnTo>
                <a:lnTo>
                  <a:pt x="210" y="344"/>
                </a:lnTo>
                <a:lnTo>
                  <a:pt x="218" y="344"/>
                </a:lnTo>
                <a:close/>
                <a:moveTo>
                  <a:pt x="240" y="334"/>
                </a:moveTo>
                <a:lnTo>
                  <a:pt x="240" y="390"/>
                </a:lnTo>
                <a:lnTo>
                  <a:pt x="240" y="390"/>
                </a:lnTo>
                <a:lnTo>
                  <a:pt x="254" y="382"/>
                </a:lnTo>
                <a:lnTo>
                  <a:pt x="270" y="372"/>
                </a:lnTo>
                <a:lnTo>
                  <a:pt x="282" y="362"/>
                </a:lnTo>
                <a:lnTo>
                  <a:pt x="294" y="350"/>
                </a:lnTo>
                <a:lnTo>
                  <a:pt x="294" y="250"/>
                </a:lnTo>
                <a:lnTo>
                  <a:pt x="294" y="250"/>
                </a:lnTo>
                <a:lnTo>
                  <a:pt x="294" y="234"/>
                </a:lnTo>
                <a:lnTo>
                  <a:pt x="288" y="218"/>
                </a:lnTo>
                <a:lnTo>
                  <a:pt x="282" y="204"/>
                </a:lnTo>
                <a:lnTo>
                  <a:pt x="272" y="192"/>
                </a:lnTo>
                <a:lnTo>
                  <a:pt x="260" y="182"/>
                </a:lnTo>
                <a:lnTo>
                  <a:pt x="246" y="174"/>
                </a:lnTo>
                <a:lnTo>
                  <a:pt x="230" y="168"/>
                </a:lnTo>
                <a:lnTo>
                  <a:pt x="214" y="166"/>
                </a:lnTo>
                <a:lnTo>
                  <a:pt x="192" y="166"/>
                </a:lnTo>
                <a:lnTo>
                  <a:pt x="192" y="166"/>
                </a:lnTo>
                <a:lnTo>
                  <a:pt x="192" y="168"/>
                </a:lnTo>
                <a:lnTo>
                  <a:pt x="192" y="218"/>
                </a:lnTo>
                <a:lnTo>
                  <a:pt x="192" y="218"/>
                </a:lnTo>
                <a:lnTo>
                  <a:pt x="202" y="222"/>
                </a:lnTo>
                <a:lnTo>
                  <a:pt x="212" y="226"/>
                </a:lnTo>
                <a:lnTo>
                  <a:pt x="220" y="232"/>
                </a:lnTo>
                <a:lnTo>
                  <a:pt x="226" y="238"/>
                </a:lnTo>
                <a:lnTo>
                  <a:pt x="232" y="248"/>
                </a:lnTo>
                <a:lnTo>
                  <a:pt x="236" y="256"/>
                </a:lnTo>
                <a:lnTo>
                  <a:pt x="240" y="266"/>
                </a:lnTo>
                <a:lnTo>
                  <a:pt x="240" y="276"/>
                </a:lnTo>
                <a:lnTo>
                  <a:pt x="240" y="332"/>
                </a:lnTo>
                <a:lnTo>
                  <a:pt x="240" y="332"/>
                </a:lnTo>
                <a:lnTo>
                  <a:pt x="240" y="334"/>
                </a:lnTo>
                <a:lnTo>
                  <a:pt x="240" y="334"/>
                </a:lnTo>
                <a:close/>
                <a:moveTo>
                  <a:pt x="82" y="106"/>
                </a:moveTo>
                <a:lnTo>
                  <a:pt x="82" y="106"/>
                </a:lnTo>
                <a:lnTo>
                  <a:pt x="86" y="116"/>
                </a:lnTo>
                <a:lnTo>
                  <a:pt x="92" y="122"/>
                </a:lnTo>
                <a:lnTo>
                  <a:pt x="100" y="130"/>
                </a:lnTo>
                <a:lnTo>
                  <a:pt x="108" y="136"/>
                </a:lnTo>
                <a:lnTo>
                  <a:pt x="118" y="140"/>
                </a:lnTo>
                <a:lnTo>
                  <a:pt x="126" y="144"/>
                </a:lnTo>
                <a:lnTo>
                  <a:pt x="136" y="146"/>
                </a:lnTo>
                <a:lnTo>
                  <a:pt x="148" y="148"/>
                </a:lnTo>
                <a:lnTo>
                  <a:pt x="148" y="148"/>
                </a:lnTo>
                <a:lnTo>
                  <a:pt x="158" y="146"/>
                </a:lnTo>
                <a:lnTo>
                  <a:pt x="168" y="144"/>
                </a:lnTo>
                <a:lnTo>
                  <a:pt x="178" y="140"/>
                </a:lnTo>
                <a:lnTo>
                  <a:pt x="186" y="136"/>
                </a:lnTo>
                <a:lnTo>
                  <a:pt x="196" y="130"/>
                </a:lnTo>
                <a:lnTo>
                  <a:pt x="202" y="122"/>
                </a:lnTo>
                <a:lnTo>
                  <a:pt x="208" y="116"/>
                </a:lnTo>
                <a:lnTo>
                  <a:pt x="214" y="106"/>
                </a:lnTo>
                <a:lnTo>
                  <a:pt x="214" y="106"/>
                </a:lnTo>
                <a:lnTo>
                  <a:pt x="200" y="96"/>
                </a:lnTo>
                <a:lnTo>
                  <a:pt x="184" y="90"/>
                </a:lnTo>
                <a:lnTo>
                  <a:pt x="166" y="84"/>
                </a:lnTo>
                <a:lnTo>
                  <a:pt x="148" y="84"/>
                </a:lnTo>
                <a:lnTo>
                  <a:pt x="148" y="84"/>
                </a:lnTo>
                <a:lnTo>
                  <a:pt x="130" y="84"/>
                </a:lnTo>
                <a:lnTo>
                  <a:pt x="112" y="90"/>
                </a:lnTo>
                <a:lnTo>
                  <a:pt x="96" y="96"/>
                </a:lnTo>
                <a:lnTo>
                  <a:pt x="82" y="106"/>
                </a:lnTo>
                <a:lnTo>
                  <a:pt x="82" y="106"/>
                </a:lnTo>
                <a:close/>
                <a:moveTo>
                  <a:pt x="148" y="0"/>
                </a:move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62" y="2"/>
                </a:lnTo>
                <a:lnTo>
                  <a:pt x="176" y="6"/>
                </a:lnTo>
                <a:lnTo>
                  <a:pt x="190" y="12"/>
                </a:lnTo>
                <a:lnTo>
                  <a:pt x="200" y="22"/>
                </a:lnTo>
                <a:lnTo>
                  <a:pt x="208" y="32"/>
                </a:lnTo>
                <a:lnTo>
                  <a:pt x="216" y="44"/>
                </a:lnTo>
                <a:lnTo>
                  <a:pt x="220" y="58"/>
                </a:lnTo>
                <a:lnTo>
                  <a:pt x="222" y="74"/>
                </a:lnTo>
                <a:lnTo>
                  <a:pt x="222" y="74"/>
                </a:lnTo>
                <a:lnTo>
                  <a:pt x="220" y="90"/>
                </a:lnTo>
                <a:lnTo>
                  <a:pt x="220" y="90"/>
                </a:lnTo>
                <a:lnTo>
                  <a:pt x="204" y="80"/>
                </a:lnTo>
                <a:lnTo>
                  <a:pt x="186" y="74"/>
                </a:lnTo>
                <a:lnTo>
                  <a:pt x="168" y="68"/>
                </a:lnTo>
                <a:lnTo>
                  <a:pt x="148" y="68"/>
                </a:lnTo>
                <a:lnTo>
                  <a:pt x="148" y="68"/>
                </a:lnTo>
                <a:lnTo>
                  <a:pt x="128" y="68"/>
                </a:lnTo>
                <a:lnTo>
                  <a:pt x="110" y="74"/>
                </a:lnTo>
                <a:lnTo>
                  <a:pt x="92" y="80"/>
                </a:lnTo>
                <a:lnTo>
                  <a:pt x="76" y="90"/>
                </a:lnTo>
                <a:lnTo>
                  <a:pt x="76" y="90"/>
                </a:lnTo>
                <a:lnTo>
                  <a:pt x="74" y="74"/>
                </a:lnTo>
                <a:lnTo>
                  <a:pt x="74" y="74"/>
                </a:lnTo>
                <a:lnTo>
                  <a:pt x="76" y="58"/>
                </a:lnTo>
                <a:lnTo>
                  <a:pt x="80" y="44"/>
                </a:lnTo>
                <a:lnTo>
                  <a:pt x="86" y="32"/>
                </a:lnTo>
                <a:lnTo>
                  <a:pt x="96" y="22"/>
                </a:lnTo>
                <a:lnTo>
                  <a:pt x="106" y="12"/>
                </a:lnTo>
                <a:lnTo>
                  <a:pt x="118" y="6"/>
                </a:lnTo>
                <a:lnTo>
                  <a:pt x="132" y="2"/>
                </a:lnTo>
                <a:lnTo>
                  <a:pt x="148" y="0"/>
                </a:lnTo>
                <a:lnTo>
                  <a:pt x="148" y="0"/>
                </a:lnTo>
                <a:close/>
                <a:moveTo>
                  <a:pt x="156" y="28"/>
                </a:moveTo>
                <a:lnTo>
                  <a:pt x="156" y="18"/>
                </a:lnTo>
                <a:lnTo>
                  <a:pt x="156" y="18"/>
                </a:lnTo>
                <a:lnTo>
                  <a:pt x="154" y="16"/>
                </a:lnTo>
                <a:lnTo>
                  <a:pt x="152" y="12"/>
                </a:lnTo>
                <a:lnTo>
                  <a:pt x="150" y="10"/>
                </a:lnTo>
                <a:lnTo>
                  <a:pt x="148" y="10"/>
                </a:lnTo>
                <a:lnTo>
                  <a:pt x="148" y="10"/>
                </a:lnTo>
                <a:lnTo>
                  <a:pt x="144" y="10"/>
                </a:lnTo>
                <a:lnTo>
                  <a:pt x="142" y="12"/>
                </a:lnTo>
                <a:lnTo>
                  <a:pt x="140" y="16"/>
                </a:lnTo>
                <a:lnTo>
                  <a:pt x="140" y="18"/>
                </a:lnTo>
                <a:lnTo>
                  <a:pt x="140" y="28"/>
                </a:lnTo>
                <a:lnTo>
                  <a:pt x="130" y="28"/>
                </a:lnTo>
                <a:lnTo>
                  <a:pt x="130" y="28"/>
                </a:lnTo>
                <a:lnTo>
                  <a:pt x="126" y="28"/>
                </a:lnTo>
                <a:lnTo>
                  <a:pt x="124" y="30"/>
                </a:lnTo>
                <a:lnTo>
                  <a:pt x="122" y="34"/>
                </a:lnTo>
                <a:lnTo>
                  <a:pt x="122" y="36"/>
                </a:lnTo>
                <a:lnTo>
                  <a:pt x="122" y="36"/>
                </a:lnTo>
                <a:lnTo>
                  <a:pt x="122" y="40"/>
                </a:lnTo>
                <a:lnTo>
                  <a:pt x="124" y="42"/>
                </a:lnTo>
                <a:lnTo>
                  <a:pt x="126" y="44"/>
                </a:lnTo>
                <a:lnTo>
                  <a:pt x="130" y="44"/>
                </a:lnTo>
                <a:lnTo>
                  <a:pt x="140" y="44"/>
                </a:lnTo>
                <a:lnTo>
                  <a:pt x="140" y="54"/>
                </a:lnTo>
                <a:lnTo>
                  <a:pt x="140" y="54"/>
                </a:lnTo>
                <a:lnTo>
                  <a:pt x="140" y="58"/>
                </a:lnTo>
                <a:lnTo>
                  <a:pt x="142" y="60"/>
                </a:lnTo>
                <a:lnTo>
                  <a:pt x="144" y="62"/>
                </a:lnTo>
                <a:lnTo>
                  <a:pt x="148" y="62"/>
                </a:lnTo>
                <a:lnTo>
                  <a:pt x="148" y="62"/>
                </a:lnTo>
                <a:lnTo>
                  <a:pt x="150" y="62"/>
                </a:lnTo>
                <a:lnTo>
                  <a:pt x="152" y="60"/>
                </a:lnTo>
                <a:lnTo>
                  <a:pt x="154" y="58"/>
                </a:lnTo>
                <a:lnTo>
                  <a:pt x="156" y="54"/>
                </a:lnTo>
                <a:lnTo>
                  <a:pt x="156" y="44"/>
                </a:lnTo>
                <a:lnTo>
                  <a:pt x="166" y="44"/>
                </a:lnTo>
                <a:lnTo>
                  <a:pt x="166" y="44"/>
                </a:lnTo>
                <a:lnTo>
                  <a:pt x="168" y="44"/>
                </a:lnTo>
                <a:lnTo>
                  <a:pt x="170" y="42"/>
                </a:lnTo>
                <a:lnTo>
                  <a:pt x="172" y="40"/>
                </a:lnTo>
                <a:lnTo>
                  <a:pt x="174" y="36"/>
                </a:lnTo>
                <a:lnTo>
                  <a:pt x="174" y="36"/>
                </a:lnTo>
                <a:lnTo>
                  <a:pt x="172" y="34"/>
                </a:lnTo>
                <a:lnTo>
                  <a:pt x="170" y="30"/>
                </a:lnTo>
                <a:lnTo>
                  <a:pt x="168" y="28"/>
                </a:lnTo>
                <a:lnTo>
                  <a:pt x="166" y="28"/>
                </a:lnTo>
                <a:lnTo>
                  <a:pt x="156" y="28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txBody>
          <a:bodyPr vert="horz" wrap="square" lIns="152380" tIns="76190" rIns="152380" bIns="76190" numCol="1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6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Rektangel 10">
            <a:extLst>
              <a:ext uri="{FF2B5EF4-FFF2-40B4-BE49-F238E27FC236}">
                <a16:creationId xmlns:a16="http://schemas.microsoft.com/office/drawing/2014/main" id="{4E438C5C-962A-4CD6-99F2-5D4A4622C451}"/>
              </a:ext>
            </a:extLst>
          </p:cNvPr>
          <p:cNvSpPr/>
          <p:nvPr/>
        </p:nvSpPr>
        <p:spPr>
          <a:xfrm>
            <a:off x="21063564" y="7971472"/>
            <a:ext cx="2052000" cy="432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byggere</a:t>
            </a:r>
          </a:p>
        </p:txBody>
      </p:sp>
      <p:sp>
        <p:nvSpPr>
          <p:cNvPr id="72" name="Freeform 4924">
            <a:extLst>
              <a:ext uri="{FF2B5EF4-FFF2-40B4-BE49-F238E27FC236}">
                <a16:creationId xmlns:a16="http://schemas.microsoft.com/office/drawing/2014/main" id="{2B5C26C8-68CF-494B-8F4F-0DBF3E2A091C}"/>
              </a:ext>
            </a:extLst>
          </p:cNvPr>
          <p:cNvSpPr>
            <a:spLocks noEditPoints="1"/>
          </p:cNvSpPr>
          <p:nvPr/>
        </p:nvSpPr>
        <p:spPr bwMode="auto">
          <a:xfrm>
            <a:off x="21357948" y="8653076"/>
            <a:ext cx="1438639" cy="1387520"/>
          </a:xfrm>
          <a:custGeom>
            <a:avLst/>
            <a:gdLst>
              <a:gd name="T0" fmla="*/ 78 w 394"/>
              <a:gd name="T1" fmla="*/ 20 h 380"/>
              <a:gd name="T2" fmla="*/ 116 w 394"/>
              <a:gd name="T3" fmla="*/ 0 h 380"/>
              <a:gd name="T4" fmla="*/ 148 w 394"/>
              <a:gd name="T5" fmla="*/ 14 h 380"/>
              <a:gd name="T6" fmla="*/ 162 w 394"/>
              <a:gd name="T7" fmla="*/ 46 h 380"/>
              <a:gd name="T8" fmla="*/ 142 w 394"/>
              <a:gd name="T9" fmla="*/ 84 h 380"/>
              <a:gd name="T10" fmla="*/ 106 w 394"/>
              <a:gd name="T11" fmla="*/ 92 h 380"/>
              <a:gd name="T12" fmla="*/ 74 w 394"/>
              <a:gd name="T13" fmla="*/ 64 h 380"/>
              <a:gd name="T14" fmla="*/ 120 w 394"/>
              <a:gd name="T15" fmla="*/ 232 h 380"/>
              <a:gd name="T16" fmla="*/ 148 w 394"/>
              <a:gd name="T17" fmla="*/ 198 h 380"/>
              <a:gd name="T18" fmla="*/ 142 w 394"/>
              <a:gd name="T19" fmla="*/ 164 h 380"/>
              <a:gd name="T20" fmla="*/ 170 w 394"/>
              <a:gd name="T21" fmla="*/ 128 h 380"/>
              <a:gd name="T22" fmla="*/ 176 w 394"/>
              <a:gd name="T23" fmla="*/ 114 h 380"/>
              <a:gd name="T24" fmla="*/ 72 w 394"/>
              <a:gd name="T25" fmla="*/ 112 h 380"/>
              <a:gd name="T26" fmla="*/ 38 w 394"/>
              <a:gd name="T27" fmla="*/ 130 h 380"/>
              <a:gd name="T28" fmla="*/ 0 w 394"/>
              <a:gd name="T29" fmla="*/ 244 h 380"/>
              <a:gd name="T30" fmla="*/ 46 w 394"/>
              <a:gd name="T31" fmla="*/ 318 h 380"/>
              <a:gd name="T32" fmla="*/ 152 w 394"/>
              <a:gd name="T33" fmla="*/ 376 h 380"/>
              <a:gd name="T34" fmla="*/ 130 w 394"/>
              <a:gd name="T35" fmla="*/ 332 h 380"/>
              <a:gd name="T36" fmla="*/ 390 w 394"/>
              <a:gd name="T37" fmla="*/ 154 h 380"/>
              <a:gd name="T38" fmla="*/ 372 w 394"/>
              <a:gd name="T39" fmla="*/ 124 h 380"/>
              <a:gd name="T40" fmla="*/ 318 w 394"/>
              <a:gd name="T41" fmla="*/ 112 h 380"/>
              <a:gd name="T42" fmla="*/ 228 w 394"/>
              <a:gd name="T43" fmla="*/ 112 h 380"/>
              <a:gd name="T44" fmla="*/ 196 w 394"/>
              <a:gd name="T45" fmla="*/ 124 h 380"/>
              <a:gd name="T46" fmla="*/ 228 w 394"/>
              <a:gd name="T47" fmla="*/ 138 h 380"/>
              <a:gd name="T48" fmla="*/ 242 w 394"/>
              <a:gd name="T49" fmla="*/ 174 h 380"/>
              <a:gd name="T50" fmla="*/ 256 w 394"/>
              <a:gd name="T51" fmla="*/ 210 h 380"/>
              <a:gd name="T52" fmla="*/ 264 w 394"/>
              <a:gd name="T53" fmla="*/ 314 h 380"/>
              <a:gd name="T54" fmla="*/ 232 w 394"/>
              <a:gd name="T55" fmla="*/ 342 h 380"/>
              <a:gd name="T56" fmla="*/ 278 w 394"/>
              <a:gd name="T57" fmla="*/ 362 h 380"/>
              <a:gd name="T58" fmla="*/ 338 w 394"/>
              <a:gd name="T59" fmla="*/ 260 h 380"/>
              <a:gd name="T60" fmla="*/ 366 w 394"/>
              <a:gd name="T61" fmla="*/ 284 h 380"/>
              <a:gd name="T62" fmla="*/ 394 w 394"/>
              <a:gd name="T63" fmla="*/ 198 h 380"/>
              <a:gd name="T64" fmla="*/ 192 w 394"/>
              <a:gd name="T65" fmla="*/ 380 h 380"/>
              <a:gd name="T66" fmla="*/ 236 w 394"/>
              <a:gd name="T67" fmla="*/ 320 h 380"/>
              <a:gd name="T68" fmla="*/ 244 w 394"/>
              <a:gd name="T69" fmla="*/ 232 h 380"/>
              <a:gd name="T70" fmla="*/ 154 w 394"/>
              <a:gd name="T71" fmla="*/ 218 h 380"/>
              <a:gd name="T72" fmla="*/ 140 w 394"/>
              <a:gd name="T73" fmla="*/ 232 h 380"/>
              <a:gd name="T74" fmla="*/ 148 w 394"/>
              <a:gd name="T75" fmla="*/ 320 h 380"/>
              <a:gd name="T76" fmla="*/ 192 w 394"/>
              <a:gd name="T77" fmla="*/ 380 h 380"/>
              <a:gd name="T78" fmla="*/ 242 w 394"/>
              <a:gd name="T79" fmla="*/ 64 h 380"/>
              <a:gd name="T80" fmla="*/ 274 w 394"/>
              <a:gd name="T81" fmla="*/ 92 h 380"/>
              <a:gd name="T82" fmla="*/ 308 w 394"/>
              <a:gd name="T83" fmla="*/ 84 h 380"/>
              <a:gd name="T84" fmla="*/ 330 w 394"/>
              <a:gd name="T85" fmla="*/ 46 h 380"/>
              <a:gd name="T86" fmla="*/ 314 w 394"/>
              <a:gd name="T87" fmla="*/ 12 h 380"/>
              <a:gd name="T88" fmla="*/ 284 w 394"/>
              <a:gd name="T89" fmla="*/ 0 h 380"/>
              <a:gd name="T90" fmla="*/ 250 w 394"/>
              <a:gd name="T91" fmla="*/ 14 h 380"/>
              <a:gd name="T92" fmla="*/ 238 w 394"/>
              <a:gd name="T93" fmla="*/ 46 h 380"/>
              <a:gd name="T94" fmla="*/ 214 w 394"/>
              <a:gd name="T95" fmla="*/ 196 h 380"/>
              <a:gd name="T96" fmla="*/ 222 w 394"/>
              <a:gd name="T97" fmla="*/ 168 h 380"/>
              <a:gd name="T98" fmla="*/ 192 w 394"/>
              <a:gd name="T99" fmla="*/ 142 h 380"/>
              <a:gd name="T100" fmla="*/ 164 w 394"/>
              <a:gd name="T101" fmla="*/ 162 h 380"/>
              <a:gd name="T102" fmla="*/ 164 w 394"/>
              <a:gd name="T103" fmla="*/ 186 h 380"/>
              <a:gd name="T104" fmla="*/ 192 w 394"/>
              <a:gd name="T105" fmla="*/ 204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4" h="380">
                <a:moveTo>
                  <a:pt x="70" y="46"/>
                </a:moveTo>
                <a:lnTo>
                  <a:pt x="70" y="46"/>
                </a:lnTo>
                <a:lnTo>
                  <a:pt x="72" y="38"/>
                </a:lnTo>
                <a:lnTo>
                  <a:pt x="74" y="28"/>
                </a:lnTo>
                <a:lnTo>
                  <a:pt x="78" y="20"/>
                </a:lnTo>
                <a:lnTo>
                  <a:pt x="84" y="14"/>
                </a:lnTo>
                <a:lnTo>
                  <a:pt x="90" y="8"/>
                </a:lnTo>
                <a:lnTo>
                  <a:pt x="98" y="4"/>
                </a:lnTo>
                <a:lnTo>
                  <a:pt x="106" y="2"/>
                </a:lnTo>
                <a:lnTo>
                  <a:pt x="116" y="0"/>
                </a:lnTo>
                <a:lnTo>
                  <a:pt x="116" y="0"/>
                </a:lnTo>
                <a:lnTo>
                  <a:pt x="126" y="2"/>
                </a:lnTo>
                <a:lnTo>
                  <a:pt x="134" y="4"/>
                </a:lnTo>
                <a:lnTo>
                  <a:pt x="142" y="8"/>
                </a:lnTo>
                <a:lnTo>
                  <a:pt x="148" y="14"/>
                </a:lnTo>
                <a:lnTo>
                  <a:pt x="154" y="20"/>
                </a:lnTo>
                <a:lnTo>
                  <a:pt x="158" y="28"/>
                </a:lnTo>
                <a:lnTo>
                  <a:pt x="160" y="38"/>
                </a:lnTo>
                <a:lnTo>
                  <a:pt x="162" y="46"/>
                </a:lnTo>
                <a:lnTo>
                  <a:pt x="162" y="46"/>
                </a:lnTo>
                <a:lnTo>
                  <a:pt x="160" y="56"/>
                </a:lnTo>
                <a:lnTo>
                  <a:pt x="158" y="64"/>
                </a:lnTo>
                <a:lnTo>
                  <a:pt x="154" y="72"/>
                </a:lnTo>
                <a:lnTo>
                  <a:pt x="148" y="78"/>
                </a:lnTo>
                <a:lnTo>
                  <a:pt x="142" y="84"/>
                </a:lnTo>
                <a:lnTo>
                  <a:pt x="134" y="88"/>
                </a:lnTo>
                <a:lnTo>
                  <a:pt x="126" y="92"/>
                </a:lnTo>
                <a:lnTo>
                  <a:pt x="116" y="92"/>
                </a:lnTo>
                <a:lnTo>
                  <a:pt x="116" y="92"/>
                </a:lnTo>
                <a:lnTo>
                  <a:pt x="106" y="92"/>
                </a:lnTo>
                <a:lnTo>
                  <a:pt x="98" y="88"/>
                </a:lnTo>
                <a:lnTo>
                  <a:pt x="90" y="84"/>
                </a:lnTo>
                <a:lnTo>
                  <a:pt x="84" y="78"/>
                </a:lnTo>
                <a:lnTo>
                  <a:pt x="78" y="72"/>
                </a:lnTo>
                <a:lnTo>
                  <a:pt x="74" y="64"/>
                </a:lnTo>
                <a:lnTo>
                  <a:pt x="72" y="56"/>
                </a:lnTo>
                <a:lnTo>
                  <a:pt x="70" y="46"/>
                </a:lnTo>
                <a:lnTo>
                  <a:pt x="70" y="46"/>
                </a:lnTo>
                <a:close/>
                <a:moveTo>
                  <a:pt x="120" y="308"/>
                </a:moveTo>
                <a:lnTo>
                  <a:pt x="120" y="232"/>
                </a:lnTo>
                <a:lnTo>
                  <a:pt x="120" y="232"/>
                </a:lnTo>
                <a:lnTo>
                  <a:pt x="122" y="220"/>
                </a:lnTo>
                <a:lnTo>
                  <a:pt x="128" y="210"/>
                </a:lnTo>
                <a:lnTo>
                  <a:pt x="136" y="202"/>
                </a:lnTo>
                <a:lnTo>
                  <a:pt x="148" y="198"/>
                </a:lnTo>
                <a:lnTo>
                  <a:pt x="148" y="198"/>
                </a:lnTo>
                <a:lnTo>
                  <a:pt x="144" y="186"/>
                </a:lnTo>
                <a:lnTo>
                  <a:pt x="142" y="174"/>
                </a:lnTo>
                <a:lnTo>
                  <a:pt x="142" y="174"/>
                </a:lnTo>
                <a:lnTo>
                  <a:pt x="142" y="164"/>
                </a:lnTo>
                <a:lnTo>
                  <a:pt x="146" y="154"/>
                </a:lnTo>
                <a:lnTo>
                  <a:pt x="150" y="146"/>
                </a:lnTo>
                <a:lnTo>
                  <a:pt x="156" y="140"/>
                </a:lnTo>
                <a:lnTo>
                  <a:pt x="162" y="132"/>
                </a:lnTo>
                <a:lnTo>
                  <a:pt x="170" y="128"/>
                </a:lnTo>
                <a:lnTo>
                  <a:pt x="178" y="124"/>
                </a:lnTo>
                <a:lnTo>
                  <a:pt x="188" y="124"/>
                </a:lnTo>
                <a:lnTo>
                  <a:pt x="188" y="124"/>
                </a:lnTo>
                <a:lnTo>
                  <a:pt x="182" y="118"/>
                </a:lnTo>
                <a:lnTo>
                  <a:pt x="176" y="114"/>
                </a:lnTo>
                <a:lnTo>
                  <a:pt x="168" y="112"/>
                </a:lnTo>
                <a:lnTo>
                  <a:pt x="160" y="112"/>
                </a:lnTo>
                <a:lnTo>
                  <a:pt x="116" y="112"/>
                </a:lnTo>
                <a:lnTo>
                  <a:pt x="72" y="112"/>
                </a:lnTo>
                <a:lnTo>
                  <a:pt x="72" y="112"/>
                </a:lnTo>
                <a:lnTo>
                  <a:pt x="64" y="112"/>
                </a:lnTo>
                <a:lnTo>
                  <a:pt x="56" y="114"/>
                </a:lnTo>
                <a:lnTo>
                  <a:pt x="50" y="118"/>
                </a:lnTo>
                <a:lnTo>
                  <a:pt x="44" y="124"/>
                </a:lnTo>
                <a:lnTo>
                  <a:pt x="38" y="130"/>
                </a:lnTo>
                <a:lnTo>
                  <a:pt x="34" y="136"/>
                </a:lnTo>
                <a:lnTo>
                  <a:pt x="30" y="144"/>
                </a:lnTo>
                <a:lnTo>
                  <a:pt x="28" y="152"/>
                </a:lnTo>
                <a:lnTo>
                  <a:pt x="0" y="244"/>
                </a:lnTo>
                <a:lnTo>
                  <a:pt x="0" y="244"/>
                </a:lnTo>
                <a:lnTo>
                  <a:pt x="12" y="270"/>
                </a:lnTo>
                <a:lnTo>
                  <a:pt x="26" y="296"/>
                </a:lnTo>
                <a:lnTo>
                  <a:pt x="60" y="188"/>
                </a:lnTo>
                <a:lnTo>
                  <a:pt x="76" y="188"/>
                </a:lnTo>
                <a:lnTo>
                  <a:pt x="46" y="318"/>
                </a:lnTo>
                <a:lnTo>
                  <a:pt x="46" y="318"/>
                </a:lnTo>
                <a:lnTo>
                  <a:pt x="70" y="338"/>
                </a:lnTo>
                <a:lnTo>
                  <a:pt x="94" y="356"/>
                </a:lnTo>
                <a:lnTo>
                  <a:pt x="122" y="368"/>
                </a:lnTo>
                <a:lnTo>
                  <a:pt x="152" y="376"/>
                </a:lnTo>
                <a:lnTo>
                  <a:pt x="152" y="342"/>
                </a:lnTo>
                <a:lnTo>
                  <a:pt x="152" y="342"/>
                </a:lnTo>
                <a:lnTo>
                  <a:pt x="146" y="340"/>
                </a:lnTo>
                <a:lnTo>
                  <a:pt x="140" y="338"/>
                </a:lnTo>
                <a:lnTo>
                  <a:pt x="130" y="332"/>
                </a:lnTo>
                <a:lnTo>
                  <a:pt x="122" y="320"/>
                </a:lnTo>
                <a:lnTo>
                  <a:pt x="120" y="314"/>
                </a:lnTo>
                <a:lnTo>
                  <a:pt x="120" y="308"/>
                </a:lnTo>
                <a:lnTo>
                  <a:pt x="120" y="308"/>
                </a:lnTo>
                <a:close/>
                <a:moveTo>
                  <a:pt x="390" y="154"/>
                </a:moveTo>
                <a:lnTo>
                  <a:pt x="390" y="154"/>
                </a:lnTo>
                <a:lnTo>
                  <a:pt x="388" y="146"/>
                </a:lnTo>
                <a:lnTo>
                  <a:pt x="384" y="138"/>
                </a:lnTo>
                <a:lnTo>
                  <a:pt x="378" y="130"/>
                </a:lnTo>
                <a:lnTo>
                  <a:pt x="372" y="124"/>
                </a:lnTo>
                <a:lnTo>
                  <a:pt x="366" y="118"/>
                </a:lnTo>
                <a:lnTo>
                  <a:pt x="358" y="116"/>
                </a:lnTo>
                <a:lnTo>
                  <a:pt x="348" y="112"/>
                </a:lnTo>
                <a:lnTo>
                  <a:pt x="340" y="112"/>
                </a:lnTo>
                <a:lnTo>
                  <a:pt x="318" y="112"/>
                </a:lnTo>
                <a:lnTo>
                  <a:pt x="310" y="112"/>
                </a:lnTo>
                <a:lnTo>
                  <a:pt x="284" y="148"/>
                </a:lnTo>
                <a:lnTo>
                  <a:pt x="256" y="112"/>
                </a:lnTo>
                <a:lnTo>
                  <a:pt x="250" y="112"/>
                </a:lnTo>
                <a:lnTo>
                  <a:pt x="228" y="112"/>
                </a:lnTo>
                <a:lnTo>
                  <a:pt x="228" y="112"/>
                </a:lnTo>
                <a:lnTo>
                  <a:pt x="218" y="112"/>
                </a:lnTo>
                <a:lnTo>
                  <a:pt x="210" y="114"/>
                </a:lnTo>
                <a:lnTo>
                  <a:pt x="202" y="118"/>
                </a:lnTo>
                <a:lnTo>
                  <a:pt x="196" y="124"/>
                </a:lnTo>
                <a:lnTo>
                  <a:pt x="196" y="124"/>
                </a:lnTo>
                <a:lnTo>
                  <a:pt x="204" y="124"/>
                </a:lnTo>
                <a:lnTo>
                  <a:pt x="214" y="128"/>
                </a:lnTo>
                <a:lnTo>
                  <a:pt x="222" y="132"/>
                </a:lnTo>
                <a:lnTo>
                  <a:pt x="228" y="138"/>
                </a:lnTo>
                <a:lnTo>
                  <a:pt x="234" y="146"/>
                </a:lnTo>
                <a:lnTo>
                  <a:pt x="238" y="154"/>
                </a:lnTo>
                <a:lnTo>
                  <a:pt x="242" y="164"/>
                </a:lnTo>
                <a:lnTo>
                  <a:pt x="242" y="174"/>
                </a:lnTo>
                <a:lnTo>
                  <a:pt x="242" y="174"/>
                </a:lnTo>
                <a:lnTo>
                  <a:pt x="240" y="186"/>
                </a:lnTo>
                <a:lnTo>
                  <a:pt x="236" y="198"/>
                </a:lnTo>
                <a:lnTo>
                  <a:pt x="236" y="198"/>
                </a:lnTo>
                <a:lnTo>
                  <a:pt x="248" y="202"/>
                </a:lnTo>
                <a:lnTo>
                  <a:pt x="256" y="210"/>
                </a:lnTo>
                <a:lnTo>
                  <a:pt x="262" y="220"/>
                </a:lnTo>
                <a:lnTo>
                  <a:pt x="264" y="232"/>
                </a:lnTo>
                <a:lnTo>
                  <a:pt x="264" y="308"/>
                </a:lnTo>
                <a:lnTo>
                  <a:pt x="264" y="308"/>
                </a:lnTo>
                <a:lnTo>
                  <a:pt x="264" y="314"/>
                </a:lnTo>
                <a:lnTo>
                  <a:pt x="262" y="320"/>
                </a:lnTo>
                <a:lnTo>
                  <a:pt x="254" y="332"/>
                </a:lnTo>
                <a:lnTo>
                  <a:pt x="244" y="338"/>
                </a:lnTo>
                <a:lnTo>
                  <a:pt x="238" y="340"/>
                </a:lnTo>
                <a:lnTo>
                  <a:pt x="232" y="342"/>
                </a:lnTo>
                <a:lnTo>
                  <a:pt x="232" y="376"/>
                </a:lnTo>
                <a:lnTo>
                  <a:pt x="232" y="376"/>
                </a:lnTo>
                <a:lnTo>
                  <a:pt x="248" y="372"/>
                </a:lnTo>
                <a:lnTo>
                  <a:pt x="262" y="368"/>
                </a:lnTo>
                <a:lnTo>
                  <a:pt x="278" y="362"/>
                </a:lnTo>
                <a:lnTo>
                  <a:pt x="292" y="354"/>
                </a:lnTo>
                <a:lnTo>
                  <a:pt x="306" y="346"/>
                </a:lnTo>
                <a:lnTo>
                  <a:pt x="318" y="336"/>
                </a:lnTo>
                <a:lnTo>
                  <a:pt x="340" y="316"/>
                </a:lnTo>
                <a:lnTo>
                  <a:pt x="338" y="260"/>
                </a:lnTo>
                <a:lnTo>
                  <a:pt x="338" y="192"/>
                </a:lnTo>
                <a:lnTo>
                  <a:pt x="350" y="192"/>
                </a:lnTo>
                <a:lnTo>
                  <a:pt x="350" y="192"/>
                </a:lnTo>
                <a:lnTo>
                  <a:pt x="354" y="192"/>
                </a:lnTo>
                <a:lnTo>
                  <a:pt x="366" y="284"/>
                </a:lnTo>
                <a:lnTo>
                  <a:pt x="366" y="284"/>
                </a:lnTo>
                <a:lnTo>
                  <a:pt x="376" y="264"/>
                </a:lnTo>
                <a:lnTo>
                  <a:pt x="384" y="244"/>
                </a:lnTo>
                <a:lnTo>
                  <a:pt x="390" y="222"/>
                </a:lnTo>
                <a:lnTo>
                  <a:pt x="394" y="198"/>
                </a:lnTo>
                <a:lnTo>
                  <a:pt x="394" y="198"/>
                </a:lnTo>
                <a:lnTo>
                  <a:pt x="390" y="154"/>
                </a:lnTo>
                <a:lnTo>
                  <a:pt x="390" y="154"/>
                </a:lnTo>
                <a:close/>
                <a:moveTo>
                  <a:pt x="192" y="380"/>
                </a:moveTo>
                <a:lnTo>
                  <a:pt x="192" y="380"/>
                </a:lnTo>
                <a:lnTo>
                  <a:pt x="212" y="380"/>
                </a:lnTo>
                <a:lnTo>
                  <a:pt x="212" y="322"/>
                </a:lnTo>
                <a:lnTo>
                  <a:pt x="230" y="322"/>
                </a:lnTo>
                <a:lnTo>
                  <a:pt x="230" y="322"/>
                </a:lnTo>
                <a:lnTo>
                  <a:pt x="236" y="320"/>
                </a:lnTo>
                <a:lnTo>
                  <a:pt x="240" y="318"/>
                </a:lnTo>
                <a:lnTo>
                  <a:pt x="242" y="314"/>
                </a:lnTo>
                <a:lnTo>
                  <a:pt x="244" y="308"/>
                </a:lnTo>
                <a:lnTo>
                  <a:pt x="244" y="232"/>
                </a:lnTo>
                <a:lnTo>
                  <a:pt x="244" y="232"/>
                </a:lnTo>
                <a:lnTo>
                  <a:pt x="242" y="226"/>
                </a:lnTo>
                <a:lnTo>
                  <a:pt x="240" y="222"/>
                </a:lnTo>
                <a:lnTo>
                  <a:pt x="236" y="218"/>
                </a:lnTo>
                <a:lnTo>
                  <a:pt x="230" y="218"/>
                </a:lnTo>
                <a:lnTo>
                  <a:pt x="154" y="218"/>
                </a:lnTo>
                <a:lnTo>
                  <a:pt x="154" y="218"/>
                </a:lnTo>
                <a:lnTo>
                  <a:pt x="148" y="218"/>
                </a:lnTo>
                <a:lnTo>
                  <a:pt x="144" y="222"/>
                </a:lnTo>
                <a:lnTo>
                  <a:pt x="142" y="226"/>
                </a:lnTo>
                <a:lnTo>
                  <a:pt x="140" y="232"/>
                </a:lnTo>
                <a:lnTo>
                  <a:pt x="140" y="308"/>
                </a:lnTo>
                <a:lnTo>
                  <a:pt x="140" y="308"/>
                </a:lnTo>
                <a:lnTo>
                  <a:pt x="142" y="314"/>
                </a:lnTo>
                <a:lnTo>
                  <a:pt x="144" y="318"/>
                </a:lnTo>
                <a:lnTo>
                  <a:pt x="148" y="320"/>
                </a:lnTo>
                <a:lnTo>
                  <a:pt x="154" y="322"/>
                </a:lnTo>
                <a:lnTo>
                  <a:pt x="172" y="322"/>
                </a:lnTo>
                <a:lnTo>
                  <a:pt x="172" y="380"/>
                </a:lnTo>
                <a:lnTo>
                  <a:pt x="172" y="380"/>
                </a:lnTo>
                <a:lnTo>
                  <a:pt x="192" y="380"/>
                </a:lnTo>
                <a:lnTo>
                  <a:pt x="192" y="380"/>
                </a:lnTo>
                <a:close/>
                <a:moveTo>
                  <a:pt x="238" y="46"/>
                </a:moveTo>
                <a:lnTo>
                  <a:pt x="238" y="46"/>
                </a:lnTo>
                <a:lnTo>
                  <a:pt x="238" y="56"/>
                </a:lnTo>
                <a:lnTo>
                  <a:pt x="242" y="64"/>
                </a:lnTo>
                <a:lnTo>
                  <a:pt x="246" y="72"/>
                </a:lnTo>
                <a:lnTo>
                  <a:pt x="250" y="78"/>
                </a:lnTo>
                <a:lnTo>
                  <a:pt x="258" y="84"/>
                </a:lnTo>
                <a:lnTo>
                  <a:pt x="266" y="88"/>
                </a:lnTo>
                <a:lnTo>
                  <a:pt x="274" y="92"/>
                </a:lnTo>
                <a:lnTo>
                  <a:pt x="284" y="92"/>
                </a:lnTo>
                <a:lnTo>
                  <a:pt x="284" y="92"/>
                </a:lnTo>
                <a:lnTo>
                  <a:pt x="292" y="92"/>
                </a:lnTo>
                <a:lnTo>
                  <a:pt x="302" y="88"/>
                </a:lnTo>
                <a:lnTo>
                  <a:pt x="308" y="84"/>
                </a:lnTo>
                <a:lnTo>
                  <a:pt x="316" y="78"/>
                </a:lnTo>
                <a:lnTo>
                  <a:pt x="322" y="72"/>
                </a:lnTo>
                <a:lnTo>
                  <a:pt x="326" y="64"/>
                </a:lnTo>
                <a:lnTo>
                  <a:pt x="328" y="56"/>
                </a:lnTo>
                <a:lnTo>
                  <a:pt x="330" y="46"/>
                </a:lnTo>
                <a:lnTo>
                  <a:pt x="330" y="46"/>
                </a:lnTo>
                <a:lnTo>
                  <a:pt x="328" y="36"/>
                </a:lnTo>
                <a:lnTo>
                  <a:pt x="324" y="28"/>
                </a:lnTo>
                <a:lnTo>
                  <a:pt x="320" y="20"/>
                </a:lnTo>
                <a:lnTo>
                  <a:pt x="314" y="12"/>
                </a:lnTo>
                <a:lnTo>
                  <a:pt x="314" y="12"/>
                </a:lnTo>
                <a:lnTo>
                  <a:pt x="306" y="6"/>
                </a:lnTo>
                <a:lnTo>
                  <a:pt x="306" y="6"/>
                </a:lnTo>
                <a:lnTo>
                  <a:pt x="294" y="2"/>
                </a:lnTo>
                <a:lnTo>
                  <a:pt x="284" y="0"/>
                </a:lnTo>
                <a:lnTo>
                  <a:pt x="284" y="0"/>
                </a:lnTo>
                <a:lnTo>
                  <a:pt x="274" y="2"/>
                </a:lnTo>
                <a:lnTo>
                  <a:pt x="266" y="4"/>
                </a:lnTo>
                <a:lnTo>
                  <a:pt x="258" y="8"/>
                </a:lnTo>
                <a:lnTo>
                  <a:pt x="250" y="14"/>
                </a:lnTo>
                <a:lnTo>
                  <a:pt x="246" y="20"/>
                </a:lnTo>
                <a:lnTo>
                  <a:pt x="242" y="28"/>
                </a:lnTo>
                <a:lnTo>
                  <a:pt x="238" y="38"/>
                </a:lnTo>
                <a:lnTo>
                  <a:pt x="238" y="46"/>
                </a:lnTo>
                <a:lnTo>
                  <a:pt x="238" y="46"/>
                </a:lnTo>
                <a:close/>
                <a:moveTo>
                  <a:pt x="192" y="204"/>
                </a:moveTo>
                <a:lnTo>
                  <a:pt x="192" y="204"/>
                </a:lnTo>
                <a:lnTo>
                  <a:pt x="198" y="204"/>
                </a:lnTo>
                <a:lnTo>
                  <a:pt x="204" y="202"/>
                </a:lnTo>
                <a:lnTo>
                  <a:pt x="214" y="196"/>
                </a:lnTo>
                <a:lnTo>
                  <a:pt x="220" y="186"/>
                </a:lnTo>
                <a:lnTo>
                  <a:pt x="222" y="180"/>
                </a:lnTo>
                <a:lnTo>
                  <a:pt x="222" y="174"/>
                </a:lnTo>
                <a:lnTo>
                  <a:pt x="222" y="174"/>
                </a:lnTo>
                <a:lnTo>
                  <a:pt x="222" y="168"/>
                </a:lnTo>
                <a:lnTo>
                  <a:pt x="220" y="162"/>
                </a:lnTo>
                <a:lnTo>
                  <a:pt x="214" y="152"/>
                </a:lnTo>
                <a:lnTo>
                  <a:pt x="204" y="146"/>
                </a:lnTo>
                <a:lnTo>
                  <a:pt x="198" y="144"/>
                </a:lnTo>
                <a:lnTo>
                  <a:pt x="192" y="142"/>
                </a:lnTo>
                <a:lnTo>
                  <a:pt x="192" y="142"/>
                </a:lnTo>
                <a:lnTo>
                  <a:pt x="186" y="144"/>
                </a:lnTo>
                <a:lnTo>
                  <a:pt x="180" y="146"/>
                </a:lnTo>
                <a:lnTo>
                  <a:pt x="170" y="152"/>
                </a:lnTo>
                <a:lnTo>
                  <a:pt x="164" y="162"/>
                </a:lnTo>
                <a:lnTo>
                  <a:pt x="162" y="168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4" y="186"/>
                </a:lnTo>
                <a:lnTo>
                  <a:pt x="170" y="196"/>
                </a:lnTo>
                <a:lnTo>
                  <a:pt x="180" y="202"/>
                </a:lnTo>
                <a:lnTo>
                  <a:pt x="186" y="204"/>
                </a:lnTo>
                <a:lnTo>
                  <a:pt x="192" y="204"/>
                </a:lnTo>
                <a:lnTo>
                  <a:pt x="192" y="204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bg1"/>
            </a:solidFill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6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Rektangel 10">
            <a:extLst>
              <a:ext uri="{FF2B5EF4-FFF2-40B4-BE49-F238E27FC236}">
                <a16:creationId xmlns:a16="http://schemas.microsoft.com/office/drawing/2014/main" id="{DD5CAC45-4C07-41BA-8A37-F582DD8CEA66}"/>
              </a:ext>
            </a:extLst>
          </p:cNvPr>
          <p:cNvSpPr/>
          <p:nvPr/>
        </p:nvSpPr>
        <p:spPr>
          <a:xfrm>
            <a:off x="1997037" y="5873243"/>
            <a:ext cx="2052000" cy="432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gangs-forvalter</a:t>
            </a:r>
          </a:p>
        </p:txBody>
      </p:sp>
      <p:grpSp>
        <p:nvGrpSpPr>
          <p:cNvPr id="85" name="Gruppe 84">
            <a:extLst>
              <a:ext uri="{FF2B5EF4-FFF2-40B4-BE49-F238E27FC236}">
                <a16:creationId xmlns:a16="http://schemas.microsoft.com/office/drawing/2014/main" id="{AA00E08B-6E0A-4A88-BC41-162898BC6C05}"/>
              </a:ext>
            </a:extLst>
          </p:cNvPr>
          <p:cNvGrpSpPr/>
          <p:nvPr/>
        </p:nvGrpSpPr>
        <p:grpSpPr>
          <a:xfrm>
            <a:off x="2050108" y="6814047"/>
            <a:ext cx="1814149" cy="1271582"/>
            <a:chOff x="1488936" y="9343316"/>
            <a:chExt cx="2165003" cy="1517504"/>
          </a:xfrm>
        </p:grpSpPr>
        <p:sp>
          <p:nvSpPr>
            <p:cNvPr id="82" name="Freeform 4919">
              <a:extLst>
                <a:ext uri="{FF2B5EF4-FFF2-40B4-BE49-F238E27FC236}">
                  <a16:creationId xmlns:a16="http://schemas.microsoft.com/office/drawing/2014/main" id="{C521E84E-6AF0-43B6-BBA0-D3D03E275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8960" y="9343316"/>
              <a:ext cx="964979" cy="1517504"/>
            </a:xfrm>
            <a:custGeom>
              <a:avLst/>
              <a:gdLst>
                <a:gd name="T0" fmla="*/ 150 w 248"/>
                <a:gd name="T1" fmla="*/ 30 h 390"/>
                <a:gd name="T2" fmla="*/ 160 w 248"/>
                <a:gd name="T3" fmla="*/ 12 h 390"/>
                <a:gd name="T4" fmla="*/ 178 w 248"/>
                <a:gd name="T5" fmla="*/ 2 h 390"/>
                <a:gd name="T6" fmla="*/ 192 w 248"/>
                <a:gd name="T7" fmla="*/ 2 h 390"/>
                <a:gd name="T8" fmla="*/ 212 w 248"/>
                <a:gd name="T9" fmla="*/ 12 h 390"/>
                <a:gd name="T10" fmla="*/ 222 w 248"/>
                <a:gd name="T11" fmla="*/ 30 h 390"/>
                <a:gd name="T12" fmla="*/ 222 w 248"/>
                <a:gd name="T13" fmla="*/ 44 h 390"/>
                <a:gd name="T14" fmla="*/ 212 w 248"/>
                <a:gd name="T15" fmla="*/ 64 h 390"/>
                <a:gd name="T16" fmla="*/ 192 w 248"/>
                <a:gd name="T17" fmla="*/ 74 h 390"/>
                <a:gd name="T18" fmla="*/ 178 w 248"/>
                <a:gd name="T19" fmla="*/ 74 h 390"/>
                <a:gd name="T20" fmla="*/ 160 w 248"/>
                <a:gd name="T21" fmla="*/ 64 h 390"/>
                <a:gd name="T22" fmla="*/ 150 w 248"/>
                <a:gd name="T23" fmla="*/ 44 h 390"/>
                <a:gd name="T24" fmla="*/ 248 w 248"/>
                <a:gd name="T25" fmla="*/ 120 h 390"/>
                <a:gd name="T26" fmla="*/ 242 w 248"/>
                <a:gd name="T27" fmla="*/ 100 h 390"/>
                <a:gd name="T28" fmla="*/ 232 w 248"/>
                <a:gd name="T29" fmla="*/ 90 h 390"/>
                <a:gd name="T30" fmla="*/ 210 w 248"/>
                <a:gd name="T31" fmla="*/ 84 h 390"/>
                <a:gd name="T32" fmla="*/ 194 w 248"/>
                <a:gd name="T33" fmla="*/ 88 h 390"/>
                <a:gd name="T34" fmla="*/ 182 w 248"/>
                <a:gd name="T35" fmla="*/ 98 h 390"/>
                <a:gd name="T36" fmla="*/ 182 w 248"/>
                <a:gd name="T37" fmla="*/ 98 h 390"/>
                <a:gd name="T38" fmla="*/ 84 w 248"/>
                <a:gd name="T39" fmla="*/ 156 h 390"/>
                <a:gd name="T40" fmla="*/ 74 w 248"/>
                <a:gd name="T41" fmla="*/ 160 h 390"/>
                <a:gd name="T42" fmla="*/ 70 w 248"/>
                <a:gd name="T43" fmla="*/ 170 h 390"/>
                <a:gd name="T44" fmla="*/ 80 w 248"/>
                <a:gd name="T45" fmla="*/ 184 h 390"/>
                <a:gd name="T46" fmla="*/ 146 w 248"/>
                <a:gd name="T47" fmla="*/ 186 h 390"/>
                <a:gd name="T48" fmla="*/ 172 w 248"/>
                <a:gd name="T49" fmla="*/ 160 h 390"/>
                <a:gd name="T50" fmla="*/ 138 w 248"/>
                <a:gd name="T51" fmla="*/ 222 h 390"/>
                <a:gd name="T52" fmla="*/ 146 w 248"/>
                <a:gd name="T53" fmla="*/ 212 h 390"/>
                <a:gd name="T54" fmla="*/ 142 w 248"/>
                <a:gd name="T55" fmla="*/ 204 h 390"/>
                <a:gd name="T56" fmla="*/ 50 w 248"/>
                <a:gd name="T57" fmla="*/ 202 h 390"/>
                <a:gd name="T58" fmla="*/ 42 w 248"/>
                <a:gd name="T59" fmla="*/ 204 h 390"/>
                <a:gd name="T60" fmla="*/ 38 w 248"/>
                <a:gd name="T61" fmla="*/ 212 h 390"/>
                <a:gd name="T62" fmla="*/ 46 w 248"/>
                <a:gd name="T63" fmla="*/ 222 h 390"/>
                <a:gd name="T64" fmla="*/ 104 w 248"/>
                <a:gd name="T65" fmla="*/ 224 h 390"/>
                <a:gd name="T66" fmla="*/ 98 w 248"/>
                <a:gd name="T67" fmla="*/ 226 h 390"/>
                <a:gd name="T68" fmla="*/ 94 w 248"/>
                <a:gd name="T69" fmla="*/ 228 h 390"/>
                <a:gd name="T70" fmla="*/ 0 w 248"/>
                <a:gd name="T71" fmla="*/ 324 h 390"/>
                <a:gd name="T72" fmla="*/ 6 w 248"/>
                <a:gd name="T73" fmla="*/ 344 h 390"/>
                <a:gd name="T74" fmla="*/ 20 w 248"/>
                <a:gd name="T75" fmla="*/ 350 h 390"/>
                <a:gd name="T76" fmla="*/ 88 w 248"/>
                <a:gd name="T77" fmla="*/ 290 h 390"/>
                <a:gd name="T78" fmla="*/ 90 w 248"/>
                <a:gd name="T79" fmla="*/ 378 h 390"/>
                <a:gd name="T80" fmla="*/ 108 w 248"/>
                <a:gd name="T81" fmla="*/ 390 h 390"/>
                <a:gd name="T82" fmla="*/ 116 w 248"/>
                <a:gd name="T83" fmla="*/ 388 h 390"/>
                <a:gd name="T84" fmla="*/ 128 w 248"/>
                <a:gd name="T85" fmla="*/ 370 h 390"/>
                <a:gd name="T86" fmla="*/ 216 w 248"/>
                <a:gd name="T87" fmla="*/ 284 h 390"/>
                <a:gd name="T88" fmla="*/ 236 w 248"/>
                <a:gd name="T89" fmla="*/ 282 h 390"/>
                <a:gd name="T90" fmla="*/ 248 w 248"/>
                <a:gd name="T91" fmla="*/ 264 h 390"/>
                <a:gd name="T92" fmla="*/ 248 w 248"/>
                <a:gd name="T93" fmla="*/ 120 h 390"/>
                <a:gd name="T94" fmla="*/ 28 w 248"/>
                <a:gd name="T95" fmla="*/ 202 h 390"/>
                <a:gd name="T96" fmla="*/ 36 w 248"/>
                <a:gd name="T97" fmla="*/ 208 h 390"/>
                <a:gd name="T98" fmla="*/ 42 w 248"/>
                <a:gd name="T99" fmla="*/ 206 h 390"/>
                <a:gd name="T100" fmla="*/ 44 w 248"/>
                <a:gd name="T101" fmla="*/ 196 h 390"/>
                <a:gd name="T102" fmla="*/ 16 w 248"/>
                <a:gd name="T103" fmla="*/ 118 h 390"/>
                <a:gd name="T104" fmla="*/ 8 w 248"/>
                <a:gd name="T105" fmla="*/ 116 h 390"/>
                <a:gd name="T106" fmla="*/ 2 w 248"/>
                <a:gd name="T107" fmla="*/ 120 h 390"/>
                <a:gd name="T108" fmla="*/ 28 w 248"/>
                <a:gd name="T109" fmla="*/ 202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48" h="390">
                  <a:moveTo>
                    <a:pt x="148" y="38"/>
                  </a:moveTo>
                  <a:lnTo>
                    <a:pt x="148" y="38"/>
                  </a:lnTo>
                  <a:lnTo>
                    <a:pt x="150" y="30"/>
                  </a:lnTo>
                  <a:lnTo>
                    <a:pt x="152" y="22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4" y="6"/>
                  </a:lnTo>
                  <a:lnTo>
                    <a:pt x="172" y="4"/>
                  </a:lnTo>
                  <a:lnTo>
                    <a:pt x="178" y="2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92" y="2"/>
                  </a:lnTo>
                  <a:lnTo>
                    <a:pt x="200" y="4"/>
                  </a:lnTo>
                  <a:lnTo>
                    <a:pt x="206" y="6"/>
                  </a:lnTo>
                  <a:lnTo>
                    <a:pt x="212" y="12"/>
                  </a:lnTo>
                  <a:lnTo>
                    <a:pt x="216" y="16"/>
                  </a:lnTo>
                  <a:lnTo>
                    <a:pt x="220" y="22"/>
                  </a:lnTo>
                  <a:lnTo>
                    <a:pt x="222" y="30"/>
                  </a:lnTo>
                  <a:lnTo>
                    <a:pt x="222" y="38"/>
                  </a:lnTo>
                  <a:lnTo>
                    <a:pt x="222" y="38"/>
                  </a:lnTo>
                  <a:lnTo>
                    <a:pt x="222" y="44"/>
                  </a:lnTo>
                  <a:lnTo>
                    <a:pt x="220" y="52"/>
                  </a:lnTo>
                  <a:lnTo>
                    <a:pt x="216" y="58"/>
                  </a:lnTo>
                  <a:lnTo>
                    <a:pt x="212" y="64"/>
                  </a:lnTo>
                  <a:lnTo>
                    <a:pt x="206" y="68"/>
                  </a:lnTo>
                  <a:lnTo>
                    <a:pt x="200" y="72"/>
                  </a:lnTo>
                  <a:lnTo>
                    <a:pt x="192" y="74"/>
                  </a:lnTo>
                  <a:lnTo>
                    <a:pt x="186" y="74"/>
                  </a:lnTo>
                  <a:lnTo>
                    <a:pt x="186" y="74"/>
                  </a:lnTo>
                  <a:lnTo>
                    <a:pt x="178" y="74"/>
                  </a:lnTo>
                  <a:lnTo>
                    <a:pt x="172" y="72"/>
                  </a:lnTo>
                  <a:lnTo>
                    <a:pt x="164" y="68"/>
                  </a:lnTo>
                  <a:lnTo>
                    <a:pt x="160" y="64"/>
                  </a:lnTo>
                  <a:lnTo>
                    <a:pt x="154" y="58"/>
                  </a:lnTo>
                  <a:lnTo>
                    <a:pt x="152" y="52"/>
                  </a:lnTo>
                  <a:lnTo>
                    <a:pt x="150" y="44"/>
                  </a:lnTo>
                  <a:lnTo>
                    <a:pt x="148" y="38"/>
                  </a:lnTo>
                  <a:lnTo>
                    <a:pt x="148" y="38"/>
                  </a:lnTo>
                  <a:close/>
                  <a:moveTo>
                    <a:pt x="248" y="120"/>
                  </a:moveTo>
                  <a:lnTo>
                    <a:pt x="248" y="120"/>
                  </a:lnTo>
                  <a:lnTo>
                    <a:pt x="246" y="106"/>
                  </a:lnTo>
                  <a:lnTo>
                    <a:pt x="242" y="100"/>
                  </a:lnTo>
                  <a:lnTo>
                    <a:pt x="238" y="96"/>
                  </a:lnTo>
                  <a:lnTo>
                    <a:pt x="238" y="96"/>
                  </a:lnTo>
                  <a:lnTo>
                    <a:pt x="232" y="90"/>
                  </a:lnTo>
                  <a:lnTo>
                    <a:pt x="226" y="88"/>
                  </a:lnTo>
                  <a:lnTo>
                    <a:pt x="218" y="84"/>
                  </a:lnTo>
                  <a:lnTo>
                    <a:pt x="210" y="84"/>
                  </a:lnTo>
                  <a:lnTo>
                    <a:pt x="210" y="84"/>
                  </a:lnTo>
                  <a:lnTo>
                    <a:pt x="202" y="86"/>
                  </a:lnTo>
                  <a:lnTo>
                    <a:pt x="194" y="88"/>
                  </a:lnTo>
                  <a:lnTo>
                    <a:pt x="188" y="92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78" y="102"/>
                  </a:lnTo>
                  <a:lnTo>
                    <a:pt x="138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4" y="160"/>
                  </a:lnTo>
                  <a:lnTo>
                    <a:pt x="70" y="164"/>
                  </a:lnTo>
                  <a:lnTo>
                    <a:pt x="70" y="170"/>
                  </a:lnTo>
                  <a:lnTo>
                    <a:pt x="70" y="170"/>
                  </a:lnTo>
                  <a:lnTo>
                    <a:pt x="70" y="176"/>
                  </a:lnTo>
                  <a:lnTo>
                    <a:pt x="74" y="182"/>
                  </a:lnTo>
                  <a:lnTo>
                    <a:pt x="80" y="184"/>
                  </a:lnTo>
                  <a:lnTo>
                    <a:pt x="84" y="186"/>
                  </a:lnTo>
                  <a:lnTo>
                    <a:pt x="146" y="186"/>
                  </a:lnTo>
                  <a:lnTo>
                    <a:pt x="146" y="186"/>
                  </a:lnTo>
                  <a:lnTo>
                    <a:pt x="152" y="184"/>
                  </a:lnTo>
                  <a:lnTo>
                    <a:pt x="158" y="180"/>
                  </a:lnTo>
                  <a:lnTo>
                    <a:pt x="172" y="160"/>
                  </a:lnTo>
                  <a:lnTo>
                    <a:pt x="172" y="222"/>
                  </a:lnTo>
                  <a:lnTo>
                    <a:pt x="138" y="222"/>
                  </a:lnTo>
                  <a:lnTo>
                    <a:pt x="138" y="222"/>
                  </a:lnTo>
                  <a:lnTo>
                    <a:pt x="142" y="218"/>
                  </a:lnTo>
                  <a:lnTo>
                    <a:pt x="144" y="216"/>
                  </a:lnTo>
                  <a:lnTo>
                    <a:pt x="146" y="212"/>
                  </a:lnTo>
                  <a:lnTo>
                    <a:pt x="146" y="212"/>
                  </a:lnTo>
                  <a:lnTo>
                    <a:pt x="144" y="208"/>
                  </a:lnTo>
                  <a:lnTo>
                    <a:pt x="142" y="204"/>
                  </a:lnTo>
                  <a:lnTo>
                    <a:pt x="138" y="202"/>
                  </a:lnTo>
                  <a:lnTo>
                    <a:pt x="134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6" y="202"/>
                  </a:lnTo>
                  <a:lnTo>
                    <a:pt x="42" y="204"/>
                  </a:lnTo>
                  <a:lnTo>
                    <a:pt x="40" y="208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40" y="216"/>
                  </a:lnTo>
                  <a:lnTo>
                    <a:pt x="42" y="220"/>
                  </a:lnTo>
                  <a:lnTo>
                    <a:pt x="46" y="222"/>
                  </a:lnTo>
                  <a:lnTo>
                    <a:pt x="50" y="224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100" y="224"/>
                  </a:lnTo>
                  <a:lnTo>
                    <a:pt x="100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4" y="228"/>
                  </a:lnTo>
                  <a:lnTo>
                    <a:pt x="94" y="228"/>
                  </a:lnTo>
                  <a:lnTo>
                    <a:pt x="6" y="318"/>
                  </a:lnTo>
                  <a:lnTo>
                    <a:pt x="6" y="318"/>
                  </a:lnTo>
                  <a:lnTo>
                    <a:pt x="0" y="324"/>
                  </a:lnTo>
                  <a:lnTo>
                    <a:pt x="0" y="332"/>
                  </a:lnTo>
                  <a:lnTo>
                    <a:pt x="0" y="338"/>
                  </a:lnTo>
                  <a:lnTo>
                    <a:pt x="6" y="344"/>
                  </a:lnTo>
                  <a:lnTo>
                    <a:pt x="6" y="344"/>
                  </a:lnTo>
                  <a:lnTo>
                    <a:pt x="12" y="350"/>
                  </a:lnTo>
                  <a:lnTo>
                    <a:pt x="20" y="350"/>
                  </a:lnTo>
                  <a:lnTo>
                    <a:pt x="26" y="350"/>
                  </a:lnTo>
                  <a:lnTo>
                    <a:pt x="32" y="344"/>
                  </a:lnTo>
                  <a:lnTo>
                    <a:pt x="88" y="290"/>
                  </a:lnTo>
                  <a:lnTo>
                    <a:pt x="88" y="370"/>
                  </a:lnTo>
                  <a:lnTo>
                    <a:pt x="88" y="370"/>
                  </a:lnTo>
                  <a:lnTo>
                    <a:pt x="90" y="378"/>
                  </a:lnTo>
                  <a:lnTo>
                    <a:pt x="94" y="384"/>
                  </a:lnTo>
                  <a:lnTo>
                    <a:pt x="100" y="388"/>
                  </a:lnTo>
                  <a:lnTo>
                    <a:pt x="108" y="390"/>
                  </a:lnTo>
                  <a:lnTo>
                    <a:pt x="108" y="390"/>
                  </a:lnTo>
                  <a:lnTo>
                    <a:pt x="108" y="390"/>
                  </a:lnTo>
                  <a:lnTo>
                    <a:pt x="116" y="388"/>
                  </a:lnTo>
                  <a:lnTo>
                    <a:pt x="122" y="384"/>
                  </a:lnTo>
                  <a:lnTo>
                    <a:pt x="126" y="378"/>
                  </a:lnTo>
                  <a:lnTo>
                    <a:pt x="128" y="370"/>
                  </a:lnTo>
                  <a:lnTo>
                    <a:pt x="128" y="284"/>
                  </a:lnTo>
                  <a:lnTo>
                    <a:pt x="192" y="284"/>
                  </a:lnTo>
                  <a:lnTo>
                    <a:pt x="216" y="284"/>
                  </a:lnTo>
                  <a:lnTo>
                    <a:pt x="230" y="284"/>
                  </a:lnTo>
                  <a:lnTo>
                    <a:pt x="230" y="284"/>
                  </a:lnTo>
                  <a:lnTo>
                    <a:pt x="236" y="282"/>
                  </a:lnTo>
                  <a:lnTo>
                    <a:pt x="244" y="278"/>
                  </a:lnTo>
                  <a:lnTo>
                    <a:pt x="248" y="272"/>
                  </a:lnTo>
                  <a:lnTo>
                    <a:pt x="248" y="264"/>
                  </a:lnTo>
                  <a:lnTo>
                    <a:pt x="248" y="122"/>
                  </a:lnTo>
                  <a:lnTo>
                    <a:pt x="248" y="122"/>
                  </a:lnTo>
                  <a:lnTo>
                    <a:pt x="248" y="120"/>
                  </a:lnTo>
                  <a:lnTo>
                    <a:pt x="248" y="120"/>
                  </a:lnTo>
                  <a:close/>
                  <a:moveTo>
                    <a:pt x="28" y="202"/>
                  </a:moveTo>
                  <a:lnTo>
                    <a:pt x="28" y="202"/>
                  </a:lnTo>
                  <a:lnTo>
                    <a:pt x="30" y="206"/>
                  </a:lnTo>
                  <a:lnTo>
                    <a:pt x="36" y="208"/>
                  </a:lnTo>
                  <a:lnTo>
                    <a:pt x="36" y="208"/>
                  </a:lnTo>
                  <a:lnTo>
                    <a:pt x="38" y="208"/>
                  </a:lnTo>
                  <a:lnTo>
                    <a:pt x="38" y="208"/>
                  </a:lnTo>
                  <a:lnTo>
                    <a:pt x="42" y="206"/>
                  </a:lnTo>
                  <a:lnTo>
                    <a:pt x="44" y="204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16" y="118"/>
                  </a:lnTo>
                  <a:lnTo>
                    <a:pt x="14" y="116"/>
                  </a:lnTo>
                  <a:lnTo>
                    <a:pt x="1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8"/>
                  </a:lnTo>
                  <a:lnTo>
                    <a:pt x="2" y="120"/>
                  </a:lnTo>
                  <a:lnTo>
                    <a:pt x="2" y="124"/>
                  </a:lnTo>
                  <a:lnTo>
                    <a:pt x="2" y="126"/>
                  </a:lnTo>
                  <a:lnTo>
                    <a:pt x="28" y="202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chemeClr val="bg1"/>
              </a:solidFill>
            </a:ln>
            <a:ex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152380" tIns="76190" rIns="152380" bIns="761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6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Freeform 156">
              <a:extLst>
                <a:ext uri="{FF2B5EF4-FFF2-40B4-BE49-F238E27FC236}">
                  <a16:creationId xmlns:a16="http://schemas.microsoft.com/office/drawing/2014/main" id="{FD6B2009-5708-451B-B664-D56642C2B9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88936" y="9464575"/>
              <a:ext cx="1014622" cy="1010999"/>
            </a:xfrm>
            <a:custGeom>
              <a:avLst/>
              <a:gdLst>
                <a:gd name="T0" fmla="*/ 391 w 839"/>
                <a:gd name="T1" fmla="*/ 661 h 839"/>
                <a:gd name="T2" fmla="*/ 301 w 839"/>
                <a:gd name="T3" fmla="*/ 598 h 839"/>
                <a:gd name="T4" fmla="*/ 241 w 839"/>
                <a:gd name="T5" fmla="*/ 537 h 839"/>
                <a:gd name="T6" fmla="*/ 177 w 839"/>
                <a:gd name="T7" fmla="*/ 448 h 839"/>
                <a:gd name="T8" fmla="*/ 172 w 839"/>
                <a:gd name="T9" fmla="*/ 419 h 839"/>
                <a:gd name="T10" fmla="*/ 218 w 839"/>
                <a:gd name="T11" fmla="*/ 376 h 839"/>
                <a:gd name="T12" fmla="*/ 183 w 839"/>
                <a:gd name="T13" fmla="*/ 140 h 839"/>
                <a:gd name="T14" fmla="*/ 103 w 839"/>
                <a:gd name="T15" fmla="*/ 144 h 839"/>
                <a:gd name="T16" fmla="*/ 56 w 839"/>
                <a:gd name="T17" fmla="*/ 185 h 839"/>
                <a:gd name="T18" fmla="*/ 13 w 839"/>
                <a:gd name="T19" fmla="*/ 252 h 839"/>
                <a:gd name="T20" fmla="*/ 0 w 839"/>
                <a:gd name="T21" fmla="*/ 306 h 839"/>
                <a:gd name="T22" fmla="*/ 12 w 839"/>
                <a:gd name="T23" fmla="*/ 387 h 839"/>
                <a:gd name="T24" fmla="*/ 59 w 839"/>
                <a:gd name="T25" fmla="*/ 496 h 839"/>
                <a:gd name="T26" fmla="*/ 157 w 839"/>
                <a:gd name="T27" fmla="*/ 628 h 839"/>
                <a:gd name="T28" fmla="*/ 265 w 839"/>
                <a:gd name="T29" fmla="*/ 728 h 839"/>
                <a:gd name="T30" fmla="*/ 389 w 839"/>
                <a:gd name="T31" fmla="*/ 804 h 839"/>
                <a:gd name="T32" fmla="*/ 488 w 839"/>
                <a:gd name="T33" fmla="*/ 835 h 839"/>
                <a:gd name="T34" fmla="*/ 546 w 839"/>
                <a:gd name="T35" fmla="*/ 837 h 839"/>
                <a:gd name="T36" fmla="*/ 615 w 839"/>
                <a:gd name="T37" fmla="*/ 811 h 839"/>
                <a:gd name="T38" fmla="*/ 674 w 839"/>
                <a:gd name="T39" fmla="*/ 764 h 839"/>
                <a:gd name="T40" fmla="*/ 699 w 839"/>
                <a:gd name="T41" fmla="*/ 722 h 839"/>
                <a:gd name="T42" fmla="*/ 497 w 839"/>
                <a:gd name="T43" fmla="*/ 573 h 839"/>
                <a:gd name="T44" fmla="*/ 439 w 839"/>
                <a:gd name="T45" fmla="*/ 653 h 839"/>
                <a:gd name="T46" fmla="*/ 413 w 839"/>
                <a:gd name="T47" fmla="*/ 667 h 839"/>
                <a:gd name="T48" fmla="*/ 499 w 839"/>
                <a:gd name="T49" fmla="*/ 10 h 839"/>
                <a:gd name="T50" fmla="*/ 392 w 839"/>
                <a:gd name="T51" fmla="*/ 66 h 839"/>
                <a:gd name="T52" fmla="*/ 327 w 839"/>
                <a:gd name="T53" fmla="*/ 159 h 839"/>
                <a:gd name="T54" fmla="*/ 315 w 839"/>
                <a:gd name="T55" fmla="*/ 240 h 839"/>
                <a:gd name="T56" fmla="*/ 328 w 839"/>
                <a:gd name="T57" fmla="*/ 299 h 839"/>
                <a:gd name="T58" fmla="*/ 401 w 839"/>
                <a:gd name="T59" fmla="*/ 395 h 839"/>
                <a:gd name="T60" fmla="*/ 527 w 839"/>
                <a:gd name="T61" fmla="*/ 449 h 839"/>
                <a:gd name="T62" fmla="*/ 629 w 839"/>
                <a:gd name="T63" fmla="*/ 449 h 839"/>
                <a:gd name="T64" fmla="*/ 744 w 839"/>
                <a:gd name="T65" fmla="*/ 402 h 839"/>
                <a:gd name="T66" fmla="*/ 818 w 839"/>
                <a:gd name="T67" fmla="*/ 316 h 839"/>
                <a:gd name="T68" fmla="*/ 839 w 839"/>
                <a:gd name="T69" fmla="*/ 226 h 839"/>
                <a:gd name="T70" fmla="*/ 807 w 839"/>
                <a:gd name="T71" fmla="*/ 119 h 839"/>
                <a:gd name="T72" fmla="*/ 723 w 839"/>
                <a:gd name="T73" fmla="*/ 38 h 839"/>
                <a:gd name="T74" fmla="*/ 604 w 839"/>
                <a:gd name="T75" fmla="*/ 1 h 839"/>
                <a:gd name="T76" fmla="*/ 430 w 839"/>
                <a:gd name="T77" fmla="*/ 261 h 839"/>
                <a:gd name="T78" fmla="*/ 405 w 839"/>
                <a:gd name="T79" fmla="*/ 241 h 839"/>
                <a:gd name="T80" fmla="*/ 405 w 839"/>
                <a:gd name="T81" fmla="*/ 213 h 839"/>
                <a:gd name="T82" fmla="*/ 430 w 839"/>
                <a:gd name="T83" fmla="*/ 193 h 839"/>
                <a:gd name="T84" fmla="*/ 457 w 839"/>
                <a:gd name="T85" fmla="*/ 197 h 839"/>
                <a:gd name="T86" fmla="*/ 472 w 839"/>
                <a:gd name="T87" fmla="*/ 226 h 839"/>
                <a:gd name="T88" fmla="*/ 462 w 839"/>
                <a:gd name="T89" fmla="*/ 252 h 839"/>
                <a:gd name="T90" fmla="*/ 438 w 839"/>
                <a:gd name="T91" fmla="*/ 261 h 839"/>
                <a:gd name="T92" fmla="*/ 557 w 839"/>
                <a:gd name="T93" fmla="*/ 257 h 839"/>
                <a:gd name="T94" fmla="*/ 542 w 839"/>
                <a:gd name="T95" fmla="*/ 226 h 839"/>
                <a:gd name="T96" fmla="*/ 552 w 839"/>
                <a:gd name="T97" fmla="*/ 202 h 839"/>
                <a:gd name="T98" fmla="*/ 577 w 839"/>
                <a:gd name="T99" fmla="*/ 191 h 839"/>
                <a:gd name="T100" fmla="*/ 606 w 839"/>
                <a:gd name="T101" fmla="*/ 207 h 839"/>
                <a:gd name="T102" fmla="*/ 611 w 839"/>
                <a:gd name="T103" fmla="*/ 234 h 839"/>
                <a:gd name="T104" fmla="*/ 591 w 839"/>
                <a:gd name="T105" fmla="*/ 259 h 839"/>
                <a:gd name="T106" fmla="*/ 717 w 839"/>
                <a:gd name="T107" fmla="*/ 261 h 839"/>
                <a:gd name="T108" fmla="*/ 687 w 839"/>
                <a:gd name="T109" fmla="*/ 247 h 839"/>
                <a:gd name="T110" fmla="*/ 682 w 839"/>
                <a:gd name="T111" fmla="*/ 220 h 839"/>
                <a:gd name="T112" fmla="*/ 703 w 839"/>
                <a:gd name="T113" fmla="*/ 195 h 839"/>
                <a:gd name="T114" fmla="*/ 730 w 839"/>
                <a:gd name="T115" fmla="*/ 195 h 839"/>
                <a:gd name="T116" fmla="*/ 751 w 839"/>
                <a:gd name="T117" fmla="*/ 220 h 839"/>
                <a:gd name="T118" fmla="*/ 746 w 839"/>
                <a:gd name="T119" fmla="*/ 247 h 839"/>
                <a:gd name="T120" fmla="*/ 717 w 839"/>
                <a:gd name="T121" fmla="*/ 261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9" h="839">
                  <a:moveTo>
                    <a:pt x="413" y="667"/>
                  </a:moveTo>
                  <a:lnTo>
                    <a:pt x="413" y="667"/>
                  </a:lnTo>
                  <a:lnTo>
                    <a:pt x="406" y="667"/>
                  </a:lnTo>
                  <a:lnTo>
                    <a:pt x="399" y="665"/>
                  </a:lnTo>
                  <a:lnTo>
                    <a:pt x="391" y="661"/>
                  </a:lnTo>
                  <a:lnTo>
                    <a:pt x="381" y="657"/>
                  </a:lnTo>
                  <a:lnTo>
                    <a:pt x="362" y="646"/>
                  </a:lnTo>
                  <a:lnTo>
                    <a:pt x="341" y="630"/>
                  </a:lnTo>
                  <a:lnTo>
                    <a:pt x="321" y="614"/>
                  </a:lnTo>
                  <a:lnTo>
                    <a:pt x="301" y="598"/>
                  </a:lnTo>
                  <a:lnTo>
                    <a:pt x="285" y="582"/>
                  </a:lnTo>
                  <a:lnTo>
                    <a:pt x="270" y="569"/>
                  </a:lnTo>
                  <a:lnTo>
                    <a:pt x="270" y="569"/>
                  </a:lnTo>
                  <a:lnTo>
                    <a:pt x="257" y="554"/>
                  </a:lnTo>
                  <a:lnTo>
                    <a:pt x="241" y="537"/>
                  </a:lnTo>
                  <a:lnTo>
                    <a:pt x="224" y="518"/>
                  </a:lnTo>
                  <a:lnTo>
                    <a:pt x="209" y="498"/>
                  </a:lnTo>
                  <a:lnTo>
                    <a:pt x="193" y="477"/>
                  </a:lnTo>
                  <a:lnTo>
                    <a:pt x="182" y="458"/>
                  </a:lnTo>
                  <a:lnTo>
                    <a:pt x="177" y="448"/>
                  </a:lnTo>
                  <a:lnTo>
                    <a:pt x="174" y="440"/>
                  </a:lnTo>
                  <a:lnTo>
                    <a:pt x="171" y="432"/>
                  </a:lnTo>
                  <a:lnTo>
                    <a:pt x="171" y="425"/>
                  </a:lnTo>
                  <a:lnTo>
                    <a:pt x="171" y="425"/>
                  </a:lnTo>
                  <a:lnTo>
                    <a:pt x="172" y="419"/>
                  </a:lnTo>
                  <a:lnTo>
                    <a:pt x="175" y="413"/>
                  </a:lnTo>
                  <a:lnTo>
                    <a:pt x="180" y="407"/>
                  </a:lnTo>
                  <a:lnTo>
                    <a:pt x="186" y="400"/>
                  </a:lnTo>
                  <a:lnTo>
                    <a:pt x="201" y="388"/>
                  </a:lnTo>
                  <a:lnTo>
                    <a:pt x="218" y="376"/>
                  </a:lnTo>
                  <a:lnTo>
                    <a:pt x="252" y="355"/>
                  </a:lnTo>
                  <a:lnTo>
                    <a:pt x="263" y="347"/>
                  </a:lnTo>
                  <a:lnTo>
                    <a:pt x="265" y="342"/>
                  </a:lnTo>
                  <a:lnTo>
                    <a:pt x="266" y="340"/>
                  </a:lnTo>
                  <a:lnTo>
                    <a:pt x="183" y="140"/>
                  </a:lnTo>
                  <a:lnTo>
                    <a:pt x="183" y="140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0" y="141"/>
                  </a:lnTo>
                  <a:lnTo>
                    <a:pt x="103" y="144"/>
                  </a:lnTo>
                  <a:lnTo>
                    <a:pt x="93" y="149"/>
                  </a:lnTo>
                  <a:lnTo>
                    <a:pt x="84" y="157"/>
                  </a:lnTo>
                  <a:lnTo>
                    <a:pt x="75" y="165"/>
                  </a:lnTo>
                  <a:lnTo>
                    <a:pt x="65" y="175"/>
                  </a:lnTo>
                  <a:lnTo>
                    <a:pt x="56" y="185"/>
                  </a:lnTo>
                  <a:lnTo>
                    <a:pt x="46" y="197"/>
                  </a:lnTo>
                  <a:lnTo>
                    <a:pt x="36" y="211"/>
                  </a:lnTo>
                  <a:lnTo>
                    <a:pt x="28" y="224"/>
                  </a:lnTo>
                  <a:lnTo>
                    <a:pt x="21" y="238"/>
                  </a:lnTo>
                  <a:lnTo>
                    <a:pt x="13" y="252"/>
                  </a:lnTo>
                  <a:lnTo>
                    <a:pt x="9" y="266"/>
                  </a:lnTo>
                  <a:lnTo>
                    <a:pt x="4" y="279"/>
                  </a:lnTo>
                  <a:lnTo>
                    <a:pt x="1" y="293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19"/>
                  </a:lnTo>
                  <a:lnTo>
                    <a:pt x="1" y="334"/>
                  </a:lnTo>
                  <a:lnTo>
                    <a:pt x="4" y="351"/>
                  </a:lnTo>
                  <a:lnTo>
                    <a:pt x="7" y="367"/>
                  </a:lnTo>
                  <a:lnTo>
                    <a:pt x="12" y="387"/>
                  </a:lnTo>
                  <a:lnTo>
                    <a:pt x="18" y="406"/>
                  </a:lnTo>
                  <a:lnTo>
                    <a:pt x="27" y="428"/>
                  </a:lnTo>
                  <a:lnTo>
                    <a:pt x="35" y="449"/>
                  </a:lnTo>
                  <a:lnTo>
                    <a:pt x="47" y="472"/>
                  </a:lnTo>
                  <a:lnTo>
                    <a:pt x="59" y="496"/>
                  </a:lnTo>
                  <a:lnTo>
                    <a:pt x="75" y="522"/>
                  </a:lnTo>
                  <a:lnTo>
                    <a:pt x="92" y="547"/>
                  </a:lnTo>
                  <a:lnTo>
                    <a:pt x="111" y="573"/>
                  </a:lnTo>
                  <a:lnTo>
                    <a:pt x="133" y="600"/>
                  </a:lnTo>
                  <a:lnTo>
                    <a:pt x="157" y="628"/>
                  </a:lnTo>
                  <a:lnTo>
                    <a:pt x="183" y="655"/>
                  </a:lnTo>
                  <a:lnTo>
                    <a:pt x="183" y="655"/>
                  </a:lnTo>
                  <a:lnTo>
                    <a:pt x="211" y="682"/>
                  </a:lnTo>
                  <a:lnTo>
                    <a:pt x="239" y="706"/>
                  </a:lnTo>
                  <a:lnTo>
                    <a:pt x="265" y="728"/>
                  </a:lnTo>
                  <a:lnTo>
                    <a:pt x="292" y="747"/>
                  </a:lnTo>
                  <a:lnTo>
                    <a:pt x="317" y="764"/>
                  </a:lnTo>
                  <a:lnTo>
                    <a:pt x="342" y="780"/>
                  </a:lnTo>
                  <a:lnTo>
                    <a:pt x="366" y="792"/>
                  </a:lnTo>
                  <a:lnTo>
                    <a:pt x="389" y="804"/>
                  </a:lnTo>
                  <a:lnTo>
                    <a:pt x="411" y="812"/>
                  </a:lnTo>
                  <a:lnTo>
                    <a:pt x="433" y="820"/>
                  </a:lnTo>
                  <a:lnTo>
                    <a:pt x="452" y="827"/>
                  </a:lnTo>
                  <a:lnTo>
                    <a:pt x="471" y="831"/>
                  </a:lnTo>
                  <a:lnTo>
                    <a:pt x="488" y="835"/>
                  </a:lnTo>
                  <a:lnTo>
                    <a:pt x="505" y="837"/>
                  </a:lnTo>
                  <a:lnTo>
                    <a:pt x="519" y="839"/>
                  </a:lnTo>
                  <a:lnTo>
                    <a:pt x="533" y="839"/>
                  </a:lnTo>
                  <a:lnTo>
                    <a:pt x="533" y="839"/>
                  </a:lnTo>
                  <a:lnTo>
                    <a:pt x="546" y="837"/>
                  </a:lnTo>
                  <a:lnTo>
                    <a:pt x="559" y="835"/>
                  </a:lnTo>
                  <a:lnTo>
                    <a:pt x="573" y="830"/>
                  </a:lnTo>
                  <a:lnTo>
                    <a:pt x="587" y="825"/>
                  </a:lnTo>
                  <a:lnTo>
                    <a:pt x="600" y="818"/>
                  </a:lnTo>
                  <a:lnTo>
                    <a:pt x="615" y="811"/>
                  </a:lnTo>
                  <a:lnTo>
                    <a:pt x="628" y="802"/>
                  </a:lnTo>
                  <a:lnTo>
                    <a:pt x="641" y="793"/>
                  </a:lnTo>
                  <a:lnTo>
                    <a:pt x="653" y="783"/>
                  </a:lnTo>
                  <a:lnTo>
                    <a:pt x="664" y="773"/>
                  </a:lnTo>
                  <a:lnTo>
                    <a:pt x="674" y="764"/>
                  </a:lnTo>
                  <a:lnTo>
                    <a:pt x="682" y="754"/>
                  </a:lnTo>
                  <a:lnTo>
                    <a:pt x="689" y="745"/>
                  </a:lnTo>
                  <a:lnTo>
                    <a:pt x="694" y="736"/>
                  </a:lnTo>
                  <a:lnTo>
                    <a:pt x="698" y="729"/>
                  </a:lnTo>
                  <a:lnTo>
                    <a:pt x="699" y="722"/>
                  </a:lnTo>
                  <a:lnTo>
                    <a:pt x="699" y="722"/>
                  </a:lnTo>
                  <a:lnTo>
                    <a:pt x="699" y="655"/>
                  </a:lnTo>
                  <a:lnTo>
                    <a:pt x="499" y="572"/>
                  </a:lnTo>
                  <a:lnTo>
                    <a:pt x="499" y="572"/>
                  </a:lnTo>
                  <a:lnTo>
                    <a:pt x="497" y="573"/>
                  </a:lnTo>
                  <a:lnTo>
                    <a:pt x="492" y="576"/>
                  </a:lnTo>
                  <a:lnTo>
                    <a:pt x="483" y="587"/>
                  </a:lnTo>
                  <a:lnTo>
                    <a:pt x="463" y="620"/>
                  </a:lnTo>
                  <a:lnTo>
                    <a:pt x="451" y="637"/>
                  </a:lnTo>
                  <a:lnTo>
                    <a:pt x="439" y="653"/>
                  </a:lnTo>
                  <a:lnTo>
                    <a:pt x="432" y="659"/>
                  </a:lnTo>
                  <a:lnTo>
                    <a:pt x="426" y="664"/>
                  </a:lnTo>
                  <a:lnTo>
                    <a:pt x="419" y="666"/>
                  </a:lnTo>
                  <a:lnTo>
                    <a:pt x="413" y="667"/>
                  </a:lnTo>
                  <a:lnTo>
                    <a:pt x="413" y="667"/>
                  </a:lnTo>
                  <a:close/>
                  <a:moveTo>
                    <a:pt x="577" y="0"/>
                  </a:moveTo>
                  <a:lnTo>
                    <a:pt x="577" y="0"/>
                  </a:lnTo>
                  <a:lnTo>
                    <a:pt x="550" y="1"/>
                  </a:lnTo>
                  <a:lnTo>
                    <a:pt x="524" y="5"/>
                  </a:lnTo>
                  <a:lnTo>
                    <a:pt x="499" y="10"/>
                  </a:lnTo>
                  <a:lnTo>
                    <a:pt x="475" y="18"/>
                  </a:lnTo>
                  <a:lnTo>
                    <a:pt x="452" y="28"/>
                  </a:lnTo>
                  <a:lnTo>
                    <a:pt x="430" y="38"/>
                  </a:lnTo>
                  <a:lnTo>
                    <a:pt x="410" y="52"/>
                  </a:lnTo>
                  <a:lnTo>
                    <a:pt x="392" y="66"/>
                  </a:lnTo>
                  <a:lnTo>
                    <a:pt x="375" y="83"/>
                  </a:lnTo>
                  <a:lnTo>
                    <a:pt x="359" y="100"/>
                  </a:lnTo>
                  <a:lnTo>
                    <a:pt x="346" y="119"/>
                  </a:lnTo>
                  <a:lnTo>
                    <a:pt x="335" y="138"/>
                  </a:lnTo>
                  <a:lnTo>
                    <a:pt x="327" y="159"/>
                  </a:lnTo>
                  <a:lnTo>
                    <a:pt x="319" y="182"/>
                  </a:lnTo>
                  <a:lnTo>
                    <a:pt x="316" y="204"/>
                  </a:lnTo>
                  <a:lnTo>
                    <a:pt x="315" y="226"/>
                  </a:lnTo>
                  <a:lnTo>
                    <a:pt x="315" y="226"/>
                  </a:lnTo>
                  <a:lnTo>
                    <a:pt x="315" y="240"/>
                  </a:lnTo>
                  <a:lnTo>
                    <a:pt x="316" y="252"/>
                  </a:lnTo>
                  <a:lnTo>
                    <a:pt x="318" y="264"/>
                  </a:lnTo>
                  <a:lnTo>
                    <a:pt x="321" y="276"/>
                  </a:lnTo>
                  <a:lnTo>
                    <a:pt x="324" y="288"/>
                  </a:lnTo>
                  <a:lnTo>
                    <a:pt x="328" y="299"/>
                  </a:lnTo>
                  <a:lnTo>
                    <a:pt x="338" y="320"/>
                  </a:lnTo>
                  <a:lnTo>
                    <a:pt x="351" y="341"/>
                  </a:lnTo>
                  <a:lnTo>
                    <a:pt x="365" y="361"/>
                  </a:lnTo>
                  <a:lnTo>
                    <a:pt x="382" y="378"/>
                  </a:lnTo>
                  <a:lnTo>
                    <a:pt x="401" y="395"/>
                  </a:lnTo>
                  <a:lnTo>
                    <a:pt x="350" y="524"/>
                  </a:lnTo>
                  <a:lnTo>
                    <a:pt x="479" y="437"/>
                  </a:lnTo>
                  <a:lnTo>
                    <a:pt x="479" y="437"/>
                  </a:lnTo>
                  <a:lnTo>
                    <a:pt x="503" y="445"/>
                  </a:lnTo>
                  <a:lnTo>
                    <a:pt x="527" y="449"/>
                  </a:lnTo>
                  <a:lnTo>
                    <a:pt x="551" y="453"/>
                  </a:lnTo>
                  <a:lnTo>
                    <a:pt x="577" y="454"/>
                  </a:lnTo>
                  <a:lnTo>
                    <a:pt x="577" y="454"/>
                  </a:lnTo>
                  <a:lnTo>
                    <a:pt x="604" y="453"/>
                  </a:lnTo>
                  <a:lnTo>
                    <a:pt x="629" y="449"/>
                  </a:lnTo>
                  <a:lnTo>
                    <a:pt x="654" y="445"/>
                  </a:lnTo>
                  <a:lnTo>
                    <a:pt x="679" y="436"/>
                  </a:lnTo>
                  <a:lnTo>
                    <a:pt x="701" y="426"/>
                  </a:lnTo>
                  <a:lnTo>
                    <a:pt x="723" y="416"/>
                  </a:lnTo>
                  <a:lnTo>
                    <a:pt x="744" y="402"/>
                  </a:lnTo>
                  <a:lnTo>
                    <a:pt x="762" y="388"/>
                  </a:lnTo>
                  <a:lnTo>
                    <a:pt x="779" y="371"/>
                  </a:lnTo>
                  <a:lnTo>
                    <a:pt x="794" y="354"/>
                  </a:lnTo>
                  <a:lnTo>
                    <a:pt x="807" y="335"/>
                  </a:lnTo>
                  <a:lnTo>
                    <a:pt x="818" y="316"/>
                  </a:lnTo>
                  <a:lnTo>
                    <a:pt x="827" y="295"/>
                  </a:lnTo>
                  <a:lnTo>
                    <a:pt x="834" y="272"/>
                  </a:lnTo>
                  <a:lnTo>
                    <a:pt x="838" y="251"/>
                  </a:lnTo>
                  <a:lnTo>
                    <a:pt x="839" y="226"/>
                  </a:lnTo>
                  <a:lnTo>
                    <a:pt x="839" y="226"/>
                  </a:lnTo>
                  <a:lnTo>
                    <a:pt x="838" y="204"/>
                  </a:lnTo>
                  <a:lnTo>
                    <a:pt x="834" y="182"/>
                  </a:lnTo>
                  <a:lnTo>
                    <a:pt x="827" y="159"/>
                  </a:lnTo>
                  <a:lnTo>
                    <a:pt x="818" y="138"/>
                  </a:lnTo>
                  <a:lnTo>
                    <a:pt x="807" y="119"/>
                  </a:lnTo>
                  <a:lnTo>
                    <a:pt x="794" y="100"/>
                  </a:lnTo>
                  <a:lnTo>
                    <a:pt x="779" y="83"/>
                  </a:lnTo>
                  <a:lnTo>
                    <a:pt x="762" y="66"/>
                  </a:lnTo>
                  <a:lnTo>
                    <a:pt x="744" y="52"/>
                  </a:lnTo>
                  <a:lnTo>
                    <a:pt x="723" y="38"/>
                  </a:lnTo>
                  <a:lnTo>
                    <a:pt x="701" y="28"/>
                  </a:lnTo>
                  <a:lnTo>
                    <a:pt x="679" y="18"/>
                  </a:lnTo>
                  <a:lnTo>
                    <a:pt x="654" y="10"/>
                  </a:lnTo>
                  <a:lnTo>
                    <a:pt x="629" y="5"/>
                  </a:lnTo>
                  <a:lnTo>
                    <a:pt x="604" y="1"/>
                  </a:lnTo>
                  <a:lnTo>
                    <a:pt x="577" y="0"/>
                  </a:lnTo>
                  <a:lnTo>
                    <a:pt x="577" y="0"/>
                  </a:lnTo>
                  <a:close/>
                  <a:moveTo>
                    <a:pt x="438" y="261"/>
                  </a:moveTo>
                  <a:lnTo>
                    <a:pt x="438" y="261"/>
                  </a:lnTo>
                  <a:lnTo>
                    <a:pt x="430" y="261"/>
                  </a:lnTo>
                  <a:lnTo>
                    <a:pt x="423" y="259"/>
                  </a:lnTo>
                  <a:lnTo>
                    <a:pt x="417" y="257"/>
                  </a:lnTo>
                  <a:lnTo>
                    <a:pt x="412" y="252"/>
                  </a:lnTo>
                  <a:lnTo>
                    <a:pt x="407" y="247"/>
                  </a:lnTo>
                  <a:lnTo>
                    <a:pt x="405" y="241"/>
                  </a:lnTo>
                  <a:lnTo>
                    <a:pt x="403" y="234"/>
                  </a:lnTo>
                  <a:lnTo>
                    <a:pt x="403" y="226"/>
                  </a:lnTo>
                  <a:lnTo>
                    <a:pt x="403" y="226"/>
                  </a:lnTo>
                  <a:lnTo>
                    <a:pt x="403" y="220"/>
                  </a:lnTo>
                  <a:lnTo>
                    <a:pt x="405" y="213"/>
                  </a:lnTo>
                  <a:lnTo>
                    <a:pt x="407" y="207"/>
                  </a:lnTo>
                  <a:lnTo>
                    <a:pt x="412" y="202"/>
                  </a:lnTo>
                  <a:lnTo>
                    <a:pt x="417" y="197"/>
                  </a:lnTo>
                  <a:lnTo>
                    <a:pt x="423" y="195"/>
                  </a:lnTo>
                  <a:lnTo>
                    <a:pt x="430" y="193"/>
                  </a:lnTo>
                  <a:lnTo>
                    <a:pt x="438" y="191"/>
                  </a:lnTo>
                  <a:lnTo>
                    <a:pt x="438" y="191"/>
                  </a:lnTo>
                  <a:lnTo>
                    <a:pt x="444" y="193"/>
                  </a:lnTo>
                  <a:lnTo>
                    <a:pt x="451" y="195"/>
                  </a:lnTo>
                  <a:lnTo>
                    <a:pt x="457" y="197"/>
                  </a:lnTo>
                  <a:lnTo>
                    <a:pt x="462" y="202"/>
                  </a:lnTo>
                  <a:lnTo>
                    <a:pt x="466" y="207"/>
                  </a:lnTo>
                  <a:lnTo>
                    <a:pt x="469" y="213"/>
                  </a:lnTo>
                  <a:lnTo>
                    <a:pt x="471" y="220"/>
                  </a:lnTo>
                  <a:lnTo>
                    <a:pt x="472" y="226"/>
                  </a:lnTo>
                  <a:lnTo>
                    <a:pt x="472" y="226"/>
                  </a:lnTo>
                  <a:lnTo>
                    <a:pt x="471" y="234"/>
                  </a:lnTo>
                  <a:lnTo>
                    <a:pt x="469" y="241"/>
                  </a:lnTo>
                  <a:lnTo>
                    <a:pt x="466" y="247"/>
                  </a:lnTo>
                  <a:lnTo>
                    <a:pt x="462" y="252"/>
                  </a:lnTo>
                  <a:lnTo>
                    <a:pt x="457" y="257"/>
                  </a:lnTo>
                  <a:lnTo>
                    <a:pt x="451" y="259"/>
                  </a:lnTo>
                  <a:lnTo>
                    <a:pt x="444" y="261"/>
                  </a:lnTo>
                  <a:lnTo>
                    <a:pt x="438" y="261"/>
                  </a:lnTo>
                  <a:lnTo>
                    <a:pt x="438" y="261"/>
                  </a:lnTo>
                  <a:close/>
                  <a:moveTo>
                    <a:pt x="577" y="261"/>
                  </a:moveTo>
                  <a:lnTo>
                    <a:pt x="577" y="261"/>
                  </a:lnTo>
                  <a:lnTo>
                    <a:pt x="570" y="261"/>
                  </a:lnTo>
                  <a:lnTo>
                    <a:pt x="563" y="259"/>
                  </a:lnTo>
                  <a:lnTo>
                    <a:pt x="557" y="257"/>
                  </a:lnTo>
                  <a:lnTo>
                    <a:pt x="552" y="252"/>
                  </a:lnTo>
                  <a:lnTo>
                    <a:pt x="547" y="247"/>
                  </a:lnTo>
                  <a:lnTo>
                    <a:pt x="545" y="241"/>
                  </a:lnTo>
                  <a:lnTo>
                    <a:pt x="542" y="234"/>
                  </a:lnTo>
                  <a:lnTo>
                    <a:pt x="542" y="226"/>
                  </a:lnTo>
                  <a:lnTo>
                    <a:pt x="542" y="226"/>
                  </a:lnTo>
                  <a:lnTo>
                    <a:pt x="542" y="220"/>
                  </a:lnTo>
                  <a:lnTo>
                    <a:pt x="545" y="213"/>
                  </a:lnTo>
                  <a:lnTo>
                    <a:pt x="547" y="207"/>
                  </a:lnTo>
                  <a:lnTo>
                    <a:pt x="552" y="202"/>
                  </a:lnTo>
                  <a:lnTo>
                    <a:pt x="557" y="197"/>
                  </a:lnTo>
                  <a:lnTo>
                    <a:pt x="563" y="195"/>
                  </a:lnTo>
                  <a:lnTo>
                    <a:pt x="570" y="193"/>
                  </a:lnTo>
                  <a:lnTo>
                    <a:pt x="577" y="191"/>
                  </a:lnTo>
                  <a:lnTo>
                    <a:pt x="577" y="191"/>
                  </a:lnTo>
                  <a:lnTo>
                    <a:pt x="583" y="193"/>
                  </a:lnTo>
                  <a:lnTo>
                    <a:pt x="591" y="195"/>
                  </a:lnTo>
                  <a:lnTo>
                    <a:pt x="597" y="197"/>
                  </a:lnTo>
                  <a:lnTo>
                    <a:pt x="601" y="202"/>
                  </a:lnTo>
                  <a:lnTo>
                    <a:pt x="606" y="207"/>
                  </a:lnTo>
                  <a:lnTo>
                    <a:pt x="609" y="213"/>
                  </a:lnTo>
                  <a:lnTo>
                    <a:pt x="611" y="220"/>
                  </a:lnTo>
                  <a:lnTo>
                    <a:pt x="612" y="226"/>
                  </a:lnTo>
                  <a:lnTo>
                    <a:pt x="612" y="226"/>
                  </a:lnTo>
                  <a:lnTo>
                    <a:pt x="611" y="234"/>
                  </a:lnTo>
                  <a:lnTo>
                    <a:pt x="609" y="241"/>
                  </a:lnTo>
                  <a:lnTo>
                    <a:pt x="606" y="247"/>
                  </a:lnTo>
                  <a:lnTo>
                    <a:pt x="601" y="252"/>
                  </a:lnTo>
                  <a:lnTo>
                    <a:pt x="597" y="257"/>
                  </a:lnTo>
                  <a:lnTo>
                    <a:pt x="591" y="259"/>
                  </a:lnTo>
                  <a:lnTo>
                    <a:pt x="583" y="261"/>
                  </a:lnTo>
                  <a:lnTo>
                    <a:pt x="577" y="261"/>
                  </a:lnTo>
                  <a:lnTo>
                    <a:pt x="577" y="261"/>
                  </a:lnTo>
                  <a:close/>
                  <a:moveTo>
                    <a:pt x="717" y="261"/>
                  </a:moveTo>
                  <a:lnTo>
                    <a:pt x="717" y="261"/>
                  </a:lnTo>
                  <a:lnTo>
                    <a:pt x="710" y="261"/>
                  </a:lnTo>
                  <a:lnTo>
                    <a:pt x="703" y="259"/>
                  </a:lnTo>
                  <a:lnTo>
                    <a:pt x="697" y="257"/>
                  </a:lnTo>
                  <a:lnTo>
                    <a:pt x="692" y="252"/>
                  </a:lnTo>
                  <a:lnTo>
                    <a:pt x="687" y="247"/>
                  </a:lnTo>
                  <a:lnTo>
                    <a:pt x="685" y="241"/>
                  </a:lnTo>
                  <a:lnTo>
                    <a:pt x="682" y="234"/>
                  </a:lnTo>
                  <a:lnTo>
                    <a:pt x="682" y="226"/>
                  </a:lnTo>
                  <a:lnTo>
                    <a:pt x="682" y="226"/>
                  </a:lnTo>
                  <a:lnTo>
                    <a:pt x="682" y="220"/>
                  </a:lnTo>
                  <a:lnTo>
                    <a:pt x="685" y="213"/>
                  </a:lnTo>
                  <a:lnTo>
                    <a:pt x="687" y="207"/>
                  </a:lnTo>
                  <a:lnTo>
                    <a:pt x="692" y="202"/>
                  </a:lnTo>
                  <a:lnTo>
                    <a:pt x="697" y="197"/>
                  </a:lnTo>
                  <a:lnTo>
                    <a:pt x="703" y="195"/>
                  </a:lnTo>
                  <a:lnTo>
                    <a:pt x="710" y="193"/>
                  </a:lnTo>
                  <a:lnTo>
                    <a:pt x="717" y="191"/>
                  </a:lnTo>
                  <a:lnTo>
                    <a:pt x="717" y="191"/>
                  </a:lnTo>
                  <a:lnTo>
                    <a:pt x="723" y="193"/>
                  </a:lnTo>
                  <a:lnTo>
                    <a:pt x="730" y="195"/>
                  </a:lnTo>
                  <a:lnTo>
                    <a:pt x="736" y="197"/>
                  </a:lnTo>
                  <a:lnTo>
                    <a:pt x="741" y="202"/>
                  </a:lnTo>
                  <a:lnTo>
                    <a:pt x="746" y="207"/>
                  </a:lnTo>
                  <a:lnTo>
                    <a:pt x="748" y="213"/>
                  </a:lnTo>
                  <a:lnTo>
                    <a:pt x="751" y="220"/>
                  </a:lnTo>
                  <a:lnTo>
                    <a:pt x="752" y="226"/>
                  </a:lnTo>
                  <a:lnTo>
                    <a:pt x="752" y="226"/>
                  </a:lnTo>
                  <a:lnTo>
                    <a:pt x="751" y="234"/>
                  </a:lnTo>
                  <a:lnTo>
                    <a:pt x="748" y="241"/>
                  </a:lnTo>
                  <a:lnTo>
                    <a:pt x="746" y="247"/>
                  </a:lnTo>
                  <a:lnTo>
                    <a:pt x="741" y="252"/>
                  </a:lnTo>
                  <a:lnTo>
                    <a:pt x="736" y="257"/>
                  </a:lnTo>
                  <a:lnTo>
                    <a:pt x="730" y="259"/>
                  </a:lnTo>
                  <a:lnTo>
                    <a:pt x="723" y="261"/>
                  </a:lnTo>
                  <a:lnTo>
                    <a:pt x="717" y="261"/>
                  </a:lnTo>
                  <a:lnTo>
                    <a:pt x="717" y="26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0310" tIns="65154" rIns="130310" bIns="6515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4519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4" name="Freeform 71">
            <a:extLst>
              <a:ext uri="{FF2B5EF4-FFF2-40B4-BE49-F238E27FC236}">
                <a16:creationId xmlns:a16="http://schemas.microsoft.com/office/drawing/2014/main" id="{16CC7BB2-7E8B-45F1-AA62-CDA4C1182167}"/>
              </a:ext>
            </a:extLst>
          </p:cNvPr>
          <p:cNvSpPr>
            <a:spLocks noEditPoints="1"/>
          </p:cNvSpPr>
          <p:nvPr/>
        </p:nvSpPr>
        <p:spPr bwMode="auto">
          <a:xfrm>
            <a:off x="13190013" y="5972683"/>
            <a:ext cx="558647" cy="640651"/>
          </a:xfrm>
          <a:custGeom>
            <a:avLst/>
            <a:gdLst>
              <a:gd name="T0" fmla="*/ 236367 w 1817"/>
              <a:gd name="T1" fmla="*/ 168810 h 2083"/>
              <a:gd name="T2" fmla="*/ 166086 w 1817"/>
              <a:gd name="T3" fmla="*/ 146327 h 2083"/>
              <a:gd name="T4" fmla="*/ 135040 w 1817"/>
              <a:gd name="T5" fmla="*/ 160427 h 2083"/>
              <a:gd name="T6" fmla="*/ 115422 w 1817"/>
              <a:gd name="T7" fmla="*/ 188625 h 2083"/>
              <a:gd name="T8" fmla="*/ 160372 w 1817"/>
              <a:gd name="T9" fmla="*/ 216824 h 2083"/>
              <a:gd name="T10" fmla="*/ 182846 w 1817"/>
              <a:gd name="T11" fmla="*/ 239306 h 2083"/>
              <a:gd name="T12" fmla="*/ 199798 w 1817"/>
              <a:gd name="T13" fmla="*/ 306754 h 2083"/>
              <a:gd name="T14" fmla="*/ 247605 w 1817"/>
              <a:gd name="T15" fmla="*/ 261789 h 2083"/>
              <a:gd name="T16" fmla="*/ 270079 w 1817"/>
              <a:gd name="T17" fmla="*/ 199866 h 2083"/>
              <a:gd name="T18" fmla="*/ 247605 w 1817"/>
              <a:gd name="T19" fmla="*/ 180051 h 2083"/>
              <a:gd name="T20" fmla="*/ 188560 w 1817"/>
              <a:gd name="T21" fmla="*/ 366009 h 2083"/>
              <a:gd name="T22" fmla="*/ 346075 w 1817"/>
              <a:gd name="T23" fmla="*/ 174526 h 2083"/>
              <a:gd name="T24" fmla="*/ 0 w 1817"/>
              <a:gd name="T25" fmla="*/ 174526 h 2083"/>
              <a:gd name="T26" fmla="*/ 157515 w 1817"/>
              <a:gd name="T27" fmla="*/ 366009 h 2083"/>
              <a:gd name="T28" fmla="*/ 126659 w 1817"/>
              <a:gd name="T29" fmla="*/ 368676 h 2083"/>
              <a:gd name="T30" fmla="*/ 47807 w 1817"/>
              <a:gd name="T31" fmla="*/ 394017 h 2083"/>
              <a:gd name="T32" fmla="*/ 132183 w 1817"/>
              <a:gd name="T33" fmla="*/ 396875 h 2083"/>
              <a:gd name="T34" fmla="*/ 222273 w 1817"/>
              <a:gd name="T35" fmla="*/ 394017 h 2083"/>
              <a:gd name="T36" fmla="*/ 298268 w 1817"/>
              <a:gd name="T37" fmla="*/ 368676 h 2083"/>
              <a:gd name="T38" fmla="*/ 216559 w 1817"/>
              <a:gd name="T39" fmla="*/ 366009 h 2083"/>
              <a:gd name="T40" fmla="*/ 81519 w 1817"/>
              <a:gd name="T41" fmla="*/ 298371 h 2083"/>
              <a:gd name="T42" fmla="*/ 87233 w 1817"/>
              <a:gd name="T43" fmla="*/ 270172 h 2083"/>
              <a:gd name="T44" fmla="*/ 95613 w 1817"/>
              <a:gd name="T45" fmla="*/ 247690 h 2083"/>
              <a:gd name="T46" fmla="*/ 70282 w 1817"/>
              <a:gd name="T47" fmla="*/ 230732 h 2083"/>
              <a:gd name="T48" fmla="*/ 36569 w 1817"/>
              <a:gd name="T49" fmla="*/ 219491 h 2083"/>
              <a:gd name="T50" fmla="*/ 28189 w 1817"/>
              <a:gd name="T51" fmla="*/ 199866 h 2083"/>
              <a:gd name="T52" fmla="*/ 16951 w 1817"/>
              <a:gd name="T53" fmla="*/ 180051 h 2083"/>
              <a:gd name="T54" fmla="*/ 28189 w 1817"/>
              <a:gd name="T55" fmla="*/ 115461 h 2083"/>
              <a:gd name="T56" fmla="*/ 42283 w 1817"/>
              <a:gd name="T57" fmla="*/ 112604 h 2083"/>
              <a:gd name="T58" fmla="*/ 61901 w 1817"/>
              <a:gd name="T59" fmla="*/ 90121 h 2083"/>
              <a:gd name="T60" fmla="*/ 64758 w 1817"/>
              <a:gd name="T61" fmla="*/ 61922 h 2083"/>
              <a:gd name="T62" fmla="*/ 171609 w 1817"/>
              <a:gd name="T63" fmla="*/ 16767 h 2083"/>
              <a:gd name="T64" fmla="*/ 179989 w 1817"/>
              <a:gd name="T65" fmla="*/ 25341 h 2083"/>
              <a:gd name="T66" fmla="*/ 171609 w 1817"/>
              <a:gd name="T67" fmla="*/ 42107 h 2083"/>
              <a:gd name="T68" fmla="*/ 140754 w 1817"/>
              <a:gd name="T69" fmla="*/ 64780 h 2083"/>
              <a:gd name="T70" fmla="*/ 149134 w 1817"/>
              <a:gd name="T71" fmla="*/ 76022 h 2083"/>
              <a:gd name="T72" fmla="*/ 129516 w 1817"/>
              <a:gd name="T73" fmla="*/ 84405 h 2083"/>
              <a:gd name="T74" fmla="*/ 118088 w 1817"/>
              <a:gd name="T75" fmla="*/ 76022 h 2083"/>
              <a:gd name="T76" fmla="*/ 120945 w 1817"/>
              <a:gd name="T77" fmla="*/ 92788 h 2083"/>
              <a:gd name="T78" fmla="*/ 123802 w 1817"/>
              <a:gd name="T79" fmla="*/ 112604 h 2083"/>
              <a:gd name="T80" fmla="*/ 106851 w 1817"/>
              <a:gd name="T81" fmla="*/ 135086 h 2083"/>
              <a:gd name="T82" fmla="*/ 143420 w 1817"/>
              <a:gd name="T83" fmla="*/ 146327 h 2083"/>
              <a:gd name="T84" fmla="*/ 168752 w 1817"/>
              <a:gd name="T85" fmla="*/ 132228 h 2083"/>
              <a:gd name="T86" fmla="*/ 179989 w 1817"/>
              <a:gd name="T87" fmla="*/ 123845 h 2083"/>
              <a:gd name="T88" fmla="*/ 188560 w 1817"/>
              <a:gd name="T89" fmla="*/ 118129 h 2083"/>
              <a:gd name="T90" fmla="*/ 179989 w 1817"/>
              <a:gd name="T91" fmla="*/ 126703 h 2083"/>
              <a:gd name="T92" fmla="*/ 194084 w 1817"/>
              <a:gd name="T93" fmla="*/ 129370 h 2083"/>
              <a:gd name="T94" fmla="*/ 222273 w 1817"/>
              <a:gd name="T95" fmla="*/ 123845 h 2083"/>
              <a:gd name="T96" fmla="*/ 244748 w 1817"/>
              <a:gd name="T97" fmla="*/ 154711 h 2083"/>
              <a:gd name="T98" fmla="*/ 270079 w 1817"/>
              <a:gd name="T99" fmla="*/ 174526 h 2083"/>
              <a:gd name="T100" fmla="*/ 292554 w 1817"/>
              <a:gd name="T101" fmla="*/ 152043 h 2083"/>
              <a:gd name="T102" fmla="*/ 289697 w 1817"/>
              <a:gd name="T103" fmla="*/ 137944 h 2083"/>
              <a:gd name="T104" fmla="*/ 258842 w 1817"/>
              <a:gd name="T105" fmla="*/ 132228 h 2083"/>
              <a:gd name="T106" fmla="*/ 253128 w 1817"/>
              <a:gd name="T107" fmla="*/ 115461 h 2083"/>
              <a:gd name="T108" fmla="*/ 250462 w 1817"/>
              <a:gd name="T109" fmla="*/ 92788 h 2083"/>
              <a:gd name="T110" fmla="*/ 250462 w 1817"/>
              <a:gd name="T111" fmla="*/ 78880 h 2083"/>
              <a:gd name="T112" fmla="*/ 255985 w 1817"/>
              <a:gd name="T113" fmla="*/ 90121 h 2083"/>
              <a:gd name="T114" fmla="*/ 261699 w 1817"/>
              <a:gd name="T115" fmla="*/ 126703 h 2083"/>
              <a:gd name="T116" fmla="*/ 272936 w 1817"/>
              <a:gd name="T117" fmla="*/ 132228 h 2083"/>
              <a:gd name="T118" fmla="*/ 292554 w 1817"/>
              <a:gd name="T119" fmla="*/ 132228 h 2083"/>
              <a:gd name="T120" fmla="*/ 323600 w 1817"/>
              <a:gd name="T121" fmla="*/ 129370 h 2083"/>
              <a:gd name="T122" fmla="*/ 171609 w 1817"/>
              <a:gd name="T123" fmla="*/ 329427 h 208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817" h="2083">
                <a:moveTo>
                  <a:pt x="1300" y="945"/>
                </a:moveTo>
                <a:cubicBezTo>
                  <a:pt x="1241" y="886"/>
                  <a:pt x="1241" y="886"/>
                  <a:pt x="1241" y="886"/>
                </a:cubicBezTo>
                <a:cubicBezTo>
                  <a:pt x="1093" y="768"/>
                  <a:pt x="1093" y="768"/>
                  <a:pt x="1093" y="768"/>
                </a:cubicBezTo>
                <a:cubicBezTo>
                  <a:pt x="872" y="768"/>
                  <a:pt x="872" y="768"/>
                  <a:pt x="872" y="768"/>
                </a:cubicBezTo>
                <a:cubicBezTo>
                  <a:pt x="753" y="798"/>
                  <a:pt x="753" y="798"/>
                  <a:pt x="753" y="798"/>
                </a:cubicBezTo>
                <a:cubicBezTo>
                  <a:pt x="709" y="842"/>
                  <a:pt x="709" y="842"/>
                  <a:pt x="709" y="842"/>
                </a:cubicBezTo>
                <a:cubicBezTo>
                  <a:pt x="606" y="945"/>
                  <a:pt x="606" y="945"/>
                  <a:pt x="606" y="945"/>
                </a:cubicBezTo>
                <a:cubicBezTo>
                  <a:pt x="606" y="990"/>
                  <a:pt x="606" y="990"/>
                  <a:pt x="606" y="990"/>
                </a:cubicBezTo>
                <a:cubicBezTo>
                  <a:pt x="709" y="1123"/>
                  <a:pt x="709" y="1123"/>
                  <a:pt x="709" y="1123"/>
                </a:cubicBezTo>
                <a:cubicBezTo>
                  <a:pt x="842" y="1138"/>
                  <a:pt x="842" y="1138"/>
                  <a:pt x="842" y="1138"/>
                </a:cubicBezTo>
                <a:cubicBezTo>
                  <a:pt x="916" y="1182"/>
                  <a:pt x="916" y="1182"/>
                  <a:pt x="916" y="1182"/>
                </a:cubicBezTo>
                <a:cubicBezTo>
                  <a:pt x="960" y="1256"/>
                  <a:pt x="960" y="1256"/>
                  <a:pt x="960" y="1256"/>
                </a:cubicBezTo>
                <a:cubicBezTo>
                  <a:pt x="990" y="1492"/>
                  <a:pt x="990" y="1492"/>
                  <a:pt x="990" y="1492"/>
                </a:cubicBezTo>
                <a:cubicBezTo>
                  <a:pt x="1049" y="1610"/>
                  <a:pt x="1049" y="1610"/>
                  <a:pt x="1049" y="1610"/>
                </a:cubicBezTo>
                <a:cubicBezTo>
                  <a:pt x="1196" y="1522"/>
                  <a:pt x="1196" y="1522"/>
                  <a:pt x="1196" y="1522"/>
                </a:cubicBezTo>
                <a:cubicBezTo>
                  <a:pt x="1300" y="1374"/>
                  <a:pt x="1300" y="1374"/>
                  <a:pt x="1300" y="1374"/>
                </a:cubicBezTo>
                <a:cubicBezTo>
                  <a:pt x="1344" y="1182"/>
                  <a:pt x="1344" y="1182"/>
                  <a:pt x="1344" y="1182"/>
                </a:cubicBezTo>
                <a:cubicBezTo>
                  <a:pt x="1418" y="1049"/>
                  <a:pt x="1418" y="1049"/>
                  <a:pt x="1418" y="1049"/>
                </a:cubicBezTo>
                <a:cubicBezTo>
                  <a:pt x="1344" y="960"/>
                  <a:pt x="1344" y="960"/>
                  <a:pt x="1344" y="960"/>
                </a:cubicBezTo>
                <a:lnTo>
                  <a:pt x="1300" y="945"/>
                </a:lnTo>
                <a:close/>
                <a:moveTo>
                  <a:pt x="1137" y="1921"/>
                </a:moveTo>
                <a:cubicBezTo>
                  <a:pt x="990" y="1921"/>
                  <a:pt x="990" y="1921"/>
                  <a:pt x="990" y="1921"/>
                </a:cubicBezTo>
                <a:cubicBezTo>
                  <a:pt x="990" y="1817"/>
                  <a:pt x="990" y="1817"/>
                  <a:pt x="990" y="1817"/>
                </a:cubicBezTo>
                <a:cubicBezTo>
                  <a:pt x="1448" y="1773"/>
                  <a:pt x="1817" y="1374"/>
                  <a:pt x="1817" y="916"/>
                </a:cubicBezTo>
                <a:cubicBezTo>
                  <a:pt x="1817" y="414"/>
                  <a:pt x="1403" y="0"/>
                  <a:pt x="901" y="0"/>
                </a:cubicBezTo>
                <a:cubicBezTo>
                  <a:pt x="414" y="0"/>
                  <a:pt x="0" y="414"/>
                  <a:pt x="0" y="916"/>
                </a:cubicBezTo>
                <a:cubicBezTo>
                  <a:pt x="0" y="1389"/>
                  <a:pt x="369" y="1773"/>
                  <a:pt x="827" y="1817"/>
                </a:cubicBezTo>
                <a:cubicBezTo>
                  <a:pt x="827" y="1921"/>
                  <a:pt x="827" y="1921"/>
                  <a:pt x="827" y="1921"/>
                </a:cubicBezTo>
                <a:cubicBezTo>
                  <a:pt x="694" y="1921"/>
                  <a:pt x="694" y="1921"/>
                  <a:pt x="694" y="1921"/>
                </a:cubicBezTo>
                <a:cubicBezTo>
                  <a:pt x="680" y="1921"/>
                  <a:pt x="665" y="1921"/>
                  <a:pt x="665" y="1935"/>
                </a:cubicBezTo>
                <a:cubicBezTo>
                  <a:pt x="251" y="1935"/>
                  <a:pt x="251" y="1935"/>
                  <a:pt x="251" y="1935"/>
                </a:cubicBezTo>
                <a:cubicBezTo>
                  <a:pt x="251" y="2068"/>
                  <a:pt x="251" y="2068"/>
                  <a:pt x="251" y="2068"/>
                </a:cubicBezTo>
                <a:cubicBezTo>
                  <a:pt x="665" y="2068"/>
                  <a:pt x="665" y="2068"/>
                  <a:pt x="665" y="2068"/>
                </a:cubicBezTo>
                <a:cubicBezTo>
                  <a:pt x="665" y="2083"/>
                  <a:pt x="680" y="2083"/>
                  <a:pt x="694" y="2083"/>
                </a:cubicBezTo>
                <a:cubicBezTo>
                  <a:pt x="1137" y="2083"/>
                  <a:pt x="1137" y="2083"/>
                  <a:pt x="1137" y="2083"/>
                </a:cubicBezTo>
                <a:cubicBezTo>
                  <a:pt x="1152" y="2083"/>
                  <a:pt x="1152" y="2083"/>
                  <a:pt x="1167" y="2068"/>
                </a:cubicBezTo>
                <a:cubicBezTo>
                  <a:pt x="1566" y="2068"/>
                  <a:pt x="1566" y="2068"/>
                  <a:pt x="1566" y="2068"/>
                </a:cubicBezTo>
                <a:cubicBezTo>
                  <a:pt x="1566" y="1935"/>
                  <a:pt x="1566" y="1935"/>
                  <a:pt x="1566" y="1935"/>
                </a:cubicBezTo>
                <a:cubicBezTo>
                  <a:pt x="1167" y="1935"/>
                  <a:pt x="1167" y="1935"/>
                  <a:pt x="1167" y="1935"/>
                </a:cubicBezTo>
                <a:cubicBezTo>
                  <a:pt x="1152" y="1921"/>
                  <a:pt x="1152" y="1921"/>
                  <a:pt x="1137" y="1921"/>
                </a:cubicBezTo>
                <a:close/>
                <a:moveTo>
                  <a:pt x="428" y="1566"/>
                </a:moveTo>
                <a:cubicBezTo>
                  <a:pt x="428" y="1566"/>
                  <a:pt x="428" y="1566"/>
                  <a:pt x="428" y="1566"/>
                </a:cubicBezTo>
                <a:cubicBezTo>
                  <a:pt x="473" y="1522"/>
                  <a:pt x="473" y="1522"/>
                  <a:pt x="473" y="1522"/>
                </a:cubicBezTo>
                <a:cubicBezTo>
                  <a:pt x="458" y="1418"/>
                  <a:pt x="458" y="1418"/>
                  <a:pt x="458" y="1418"/>
                </a:cubicBezTo>
                <a:cubicBezTo>
                  <a:pt x="502" y="1374"/>
                  <a:pt x="502" y="1374"/>
                  <a:pt x="502" y="1374"/>
                </a:cubicBezTo>
                <a:cubicBezTo>
                  <a:pt x="502" y="1300"/>
                  <a:pt x="502" y="1300"/>
                  <a:pt x="502" y="1300"/>
                </a:cubicBezTo>
                <a:cubicBezTo>
                  <a:pt x="443" y="1256"/>
                  <a:pt x="443" y="1256"/>
                  <a:pt x="443" y="1256"/>
                </a:cubicBezTo>
                <a:cubicBezTo>
                  <a:pt x="369" y="1211"/>
                  <a:pt x="369" y="1211"/>
                  <a:pt x="369" y="1211"/>
                </a:cubicBezTo>
                <a:cubicBezTo>
                  <a:pt x="310" y="1197"/>
                  <a:pt x="310" y="1197"/>
                  <a:pt x="310" y="1197"/>
                </a:cubicBezTo>
                <a:cubicBezTo>
                  <a:pt x="192" y="1152"/>
                  <a:pt x="192" y="1152"/>
                  <a:pt x="192" y="1152"/>
                </a:cubicBezTo>
                <a:cubicBezTo>
                  <a:pt x="177" y="1078"/>
                  <a:pt x="177" y="1078"/>
                  <a:pt x="177" y="1078"/>
                </a:cubicBezTo>
                <a:cubicBezTo>
                  <a:pt x="148" y="1049"/>
                  <a:pt x="148" y="1049"/>
                  <a:pt x="148" y="1049"/>
                </a:cubicBezTo>
                <a:cubicBezTo>
                  <a:pt x="104" y="960"/>
                  <a:pt x="104" y="960"/>
                  <a:pt x="104" y="960"/>
                </a:cubicBezTo>
                <a:cubicBezTo>
                  <a:pt x="89" y="945"/>
                  <a:pt x="89" y="945"/>
                  <a:pt x="89" y="945"/>
                </a:cubicBezTo>
                <a:cubicBezTo>
                  <a:pt x="89" y="931"/>
                  <a:pt x="89" y="916"/>
                  <a:pt x="89" y="916"/>
                </a:cubicBezTo>
                <a:cubicBezTo>
                  <a:pt x="89" y="798"/>
                  <a:pt x="104" y="694"/>
                  <a:pt x="148" y="606"/>
                </a:cubicBezTo>
                <a:cubicBezTo>
                  <a:pt x="133" y="635"/>
                  <a:pt x="133" y="635"/>
                  <a:pt x="133" y="635"/>
                </a:cubicBezTo>
                <a:cubicBezTo>
                  <a:pt x="222" y="591"/>
                  <a:pt x="222" y="591"/>
                  <a:pt x="222" y="591"/>
                </a:cubicBezTo>
                <a:cubicBezTo>
                  <a:pt x="296" y="546"/>
                  <a:pt x="296" y="546"/>
                  <a:pt x="296" y="546"/>
                </a:cubicBezTo>
                <a:cubicBezTo>
                  <a:pt x="325" y="473"/>
                  <a:pt x="325" y="473"/>
                  <a:pt x="325" y="473"/>
                </a:cubicBezTo>
                <a:cubicBezTo>
                  <a:pt x="384" y="369"/>
                  <a:pt x="384" y="369"/>
                  <a:pt x="384" y="369"/>
                </a:cubicBezTo>
                <a:cubicBezTo>
                  <a:pt x="340" y="325"/>
                  <a:pt x="340" y="325"/>
                  <a:pt x="340" y="325"/>
                </a:cubicBezTo>
                <a:cubicBezTo>
                  <a:pt x="310" y="354"/>
                  <a:pt x="310" y="354"/>
                  <a:pt x="310" y="354"/>
                </a:cubicBezTo>
                <a:cubicBezTo>
                  <a:pt x="458" y="192"/>
                  <a:pt x="680" y="88"/>
                  <a:pt x="901" y="88"/>
                </a:cubicBezTo>
                <a:cubicBezTo>
                  <a:pt x="931" y="88"/>
                  <a:pt x="960" y="88"/>
                  <a:pt x="975" y="88"/>
                </a:cubicBezTo>
                <a:cubicBezTo>
                  <a:pt x="945" y="133"/>
                  <a:pt x="945" y="133"/>
                  <a:pt x="945" y="133"/>
                </a:cubicBezTo>
                <a:cubicBezTo>
                  <a:pt x="945" y="207"/>
                  <a:pt x="945" y="207"/>
                  <a:pt x="945" y="207"/>
                </a:cubicBezTo>
                <a:cubicBezTo>
                  <a:pt x="901" y="221"/>
                  <a:pt x="901" y="221"/>
                  <a:pt x="901" y="221"/>
                </a:cubicBezTo>
                <a:cubicBezTo>
                  <a:pt x="827" y="236"/>
                  <a:pt x="827" y="236"/>
                  <a:pt x="827" y="236"/>
                </a:cubicBezTo>
                <a:cubicBezTo>
                  <a:pt x="739" y="340"/>
                  <a:pt x="739" y="340"/>
                  <a:pt x="739" y="340"/>
                </a:cubicBezTo>
                <a:cubicBezTo>
                  <a:pt x="768" y="369"/>
                  <a:pt x="768" y="369"/>
                  <a:pt x="768" y="369"/>
                </a:cubicBezTo>
                <a:cubicBezTo>
                  <a:pt x="783" y="399"/>
                  <a:pt x="783" y="399"/>
                  <a:pt x="783" y="399"/>
                </a:cubicBezTo>
                <a:cubicBezTo>
                  <a:pt x="709" y="428"/>
                  <a:pt x="709" y="428"/>
                  <a:pt x="709" y="428"/>
                </a:cubicBezTo>
                <a:cubicBezTo>
                  <a:pt x="680" y="443"/>
                  <a:pt x="680" y="443"/>
                  <a:pt x="680" y="443"/>
                </a:cubicBezTo>
                <a:cubicBezTo>
                  <a:pt x="680" y="384"/>
                  <a:pt x="680" y="384"/>
                  <a:pt x="680" y="384"/>
                </a:cubicBezTo>
                <a:cubicBezTo>
                  <a:pt x="620" y="399"/>
                  <a:pt x="620" y="399"/>
                  <a:pt x="620" y="399"/>
                </a:cubicBezTo>
                <a:cubicBezTo>
                  <a:pt x="576" y="487"/>
                  <a:pt x="576" y="487"/>
                  <a:pt x="576" y="487"/>
                </a:cubicBezTo>
                <a:cubicBezTo>
                  <a:pt x="635" y="487"/>
                  <a:pt x="635" y="487"/>
                  <a:pt x="635" y="487"/>
                </a:cubicBezTo>
                <a:cubicBezTo>
                  <a:pt x="665" y="487"/>
                  <a:pt x="665" y="487"/>
                  <a:pt x="665" y="487"/>
                </a:cubicBezTo>
                <a:cubicBezTo>
                  <a:pt x="650" y="591"/>
                  <a:pt x="650" y="591"/>
                  <a:pt x="650" y="591"/>
                </a:cubicBezTo>
                <a:cubicBezTo>
                  <a:pt x="576" y="591"/>
                  <a:pt x="576" y="591"/>
                  <a:pt x="576" y="591"/>
                </a:cubicBezTo>
                <a:cubicBezTo>
                  <a:pt x="561" y="709"/>
                  <a:pt x="561" y="709"/>
                  <a:pt x="561" y="709"/>
                </a:cubicBezTo>
                <a:cubicBezTo>
                  <a:pt x="606" y="753"/>
                  <a:pt x="606" y="753"/>
                  <a:pt x="606" y="753"/>
                </a:cubicBezTo>
                <a:cubicBezTo>
                  <a:pt x="753" y="768"/>
                  <a:pt x="753" y="768"/>
                  <a:pt x="753" y="768"/>
                </a:cubicBezTo>
                <a:cubicBezTo>
                  <a:pt x="798" y="694"/>
                  <a:pt x="798" y="694"/>
                  <a:pt x="798" y="694"/>
                </a:cubicBezTo>
                <a:cubicBezTo>
                  <a:pt x="886" y="694"/>
                  <a:pt x="886" y="694"/>
                  <a:pt x="886" y="694"/>
                </a:cubicBezTo>
                <a:cubicBezTo>
                  <a:pt x="901" y="650"/>
                  <a:pt x="901" y="650"/>
                  <a:pt x="901" y="650"/>
                </a:cubicBezTo>
                <a:cubicBezTo>
                  <a:pt x="945" y="650"/>
                  <a:pt x="945" y="650"/>
                  <a:pt x="945" y="650"/>
                </a:cubicBezTo>
                <a:cubicBezTo>
                  <a:pt x="960" y="606"/>
                  <a:pt x="960" y="606"/>
                  <a:pt x="960" y="606"/>
                </a:cubicBezTo>
                <a:cubicBezTo>
                  <a:pt x="990" y="620"/>
                  <a:pt x="990" y="620"/>
                  <a:pt x="990" y="620"/>
                </a:cubicBezTo>
                <a:cubicBezTo>
                  <a:pt x="990" y="650"/>
                  <a:pt x="990" y="650"/>
                  <a:pt x="990" y="650"/>
                </a:cubicBezTo>
                <a:cubicBezTo>
                  <a:pt x="945" y="665"/>
                  <a:pt x="945" y="665"/>
                  <a:pt x="945" y="665"/>
                </a:cubicBezTo>
                <a:cubicBezTo>
                  <a:pt x="990" y="709"/>
                  <a:pt x="990" y="709"/>
                  <a:pt x="990" y="709"/>
                </a:cubicBezTo>
                <a:cubicBezTo>
                  <a:pt x="1019" y="679"/>
                  <a:pt x="1019" y="679"/>
                  <a:pt x="1019" y="679"/>
                </a:cubicBezTo>
                <a:cubicBezTo>
                  <a:pt x="1064" y="650"/>
                  <a:pt x="1064" y="650"/>
                  <a:pt x="1064" y="650"/>
                </a:cubicBezTo>
                <a:cubicBezTo>
                  <a:pt x="1167" y="650"/>
                  <a:pt x="1167" y="650"/>
                  <a:pt x="1167" y="650"/>
                </a:cubicBezTo>
                <a:cubicBezTo>
                  <a:pt x="1182" y="768"/>
                  <a:pt x="1182" y="768"/>
                  <a:pt x="1182" y="768"/>
                </a:cubicBezTo>
                <a:cubicBezTo>
                  <a:pt x="1285" y="812"/>
                  <a:pt x="1285" y="812"/>
                  <a:pt x="1285" y="812"/>
                </a:cubicBezTo>
                <a:cubicBezTo>
                  <a:pt x="1359" y="886"/>
                  <a:pt x="1359" y="886"/>
                  <a:pt x="1359" y="886"/>
                </a:cubicBezTo>
                <a:cubicBezTo>
                  <a:pt x="1418" y="916"/>
                  <a:pt x="1418" y="916"/>
                  <a:pt x="1418" y="916"/>
                </a:cubicBezTo>
                <a:cubicBezTo>
                  <a:pt x="1507" y="857"/>
                  <a:pt x="1507" y="857"/>
                  <a:pt x="1507" y="857"/>
                </a:cubicBezTo>
                <a:cubicBezTo>
                  <a:pt x="1536" y="798"/>
                  <a:pt x="1536" y="798"/>
                  <a:pt x="1536" y="798"/>
                </a:cubicBezTo>
                <a:cubicBezTo>
                  <a:pt x="1580" y="768"/>
                  <a:pt x="1580" y="768"/>
                  <a:pt x="1580" y="768"/>
                </a:cubicBezTo>
                <a:cubicBezTo>
                  <a:pt x="1521" y="724"/>
                  <a:pt x="1521" y="724"/>
                  <a:pt x="1521" y="724"/>
                </a:cubicBezTo>
                <a:cubicBezTo>
                  <a:pt x="1403" y="724"/>
                  <a:pt x="1403" y="724"/>
                  <a:pt x="1403" y="724"/>
                </a:cubicBezTo>
                <a:cubicBezTo>
                  <a:pt x="1359" y="694"/>
                  <a:pt x="1359" y="694"/>
                  <a:pt x="1359" y="694"/>
                </a:cubicBezTo>
                <a:cubicBezTo>
                  <a:pt x="1329" y="650"/>
                  <a:pt x="1329" y="650"/>
                  <a:pt x="1329" y="650"/>
                </a:cubicBezTo>
                <a:cubicBezTo>
                  <a:pt x="1329" y="606"/>
                  <a:pt x="1329" y="606"/>
                  <a:pt x="1329" y="606"/>
                </a:cubicBezTo>
                <a:cubicBezTo>
                  <a:pt x="1329" y="561"/>
                  <a:pt x="1329" y="561"/>
                  <a:pt x="1329" y="561"/>
                </a:cubicBezTo>
                <a:cubicBezTo>
                  <a:pt x="1315" y="487"/>
                  <a:pt x="1315" y="487"/>
                  <a:pt x="1315" y="487"/>
                </a:cubicBezTo>
                <a:cubicBezTo>
                  <a:pt x="1270" y="428"/>
                  <a:pt x="1270" y="428"/>
                  <a:pt x="1270" y="428"/>
                </a:cubicBezTo>
                <a:cubicBezTo>
                  <a:pt x="1315" y="414"/>
                  <a:pt x="1315" y="414"/>
                  <a:pt x="1315" y="414"/>
                </a:cubicBezTo>
                <a:cubicBezTo>
                  <a:pt x="1329" y="458"/>
                  <a:pt x="1329" y="458"/>
                  <a:pt x="1329" y="458"/>
                </a:cubicBezTo>
                <a:cubicBezTo>
                  <a:pt x="1344" y="473"/>
                  <a:pt x="1344" y="473"/>
                  <a:pt x="1344" y="473"/>
                </a:cubicBezTo>
                <a:cubicBezTo>
                  <a:pt x="1374" y="532"/>
                  <a:pt x="1374" y="532"/>
                  <a:pt x="1374" y="532"/>
                </a:cubicBezTo>
                <a:cubicBezTo>
                  <a:pt x="1374" y="665"/>
                  <a:pt x="1374" y="665"/>
                  <a:pt x="1374" y="665"/>
                </a:cubicBezTo>
                <a:cubicBezTo>
                  <a:pt x="1403" y="665"/>
                  <a:pt x="1403" y="665"/>
                  <a:pt x="1403" y="665"/>
                </a:cubicBezTo>
                <a:cubicBezTo>
                  <a:pt x="1433" y="694"/>
                  <a:pt x="1433" y="694"/>
                  <a:pt x="1433" y="694"/>
                </a:cubicBezTo>
                <a:cubicBezTo>
                  <a:pt x="1477" y="709"/>
                  <a:pt x="1477" y="709"/>
                  <a:pt x="1477" y="709"/>
                </a:cubicBezTo>
                <a:cubicBezTo>
                  <a:pt x="1536" y="694"/>
                  <a:pt x="1536" y="694"/>
                  <a:pt x="1536" y="694"/>
                </a:cubicBezTo>
                <a:cubicBezTo>
                  <a:pt x="1699" y="694"/>
                  <a:pt x="1699" y="694"/>
                  <a:pt x="1699" y="694"/>
                </a:cubicBezTo>
                <a:cubicBezTo>
                  <a:pt x="1699" y="694"/>
                  <a:pt x="1699" y="694"/>
                  <a:pt x="1699" y="679"/>
                </a:cubicBezTo>
                <a:cubicBezTo>
                  <a:pt x="1713" y="753"/>
                  <a:pt x="1728" y="827"/>
                  <a:pt x="1728" y="916"/>
                </a:cubicBezTo>
                <a:cubicBezTo>
                  <a:pt x="1728" y="1359"/>
                  <a:pt x="1359" y="1729"/>
                  <a:pt x="901" y="1729"/>
                </a:cubicBezTo>
                <a:cubicBezTo>
                  <a:pt x="724" y="1729"/>
                  <a:pt x="561" y="1669"/>
                  <a:pt x="428" y="156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5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ektangel 10">
            <a:extLst>
              <a:ext uri="{FF2B5EF4-FFF2-40B4-BE49-F238E27FC236}">
                <a16:creationId xmlns:a16="http://schemas.microsoft.com/office/drawing/2014/main" id="{4E438C5C-962A-4CD6-99F2-5D4A4622C451}"/>
              </a:ext>
            </a:extLst>
          </p:cNvPr>
          <p:cNvSpPr/>
          <p:nvPr/>
        </p:nvSpPr>
        <p:spPr>
          <a:xfrm>
            <a:off x="10589550" y="13096391"/>
            <a:ext cx="3756838" cy="4320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Økosystem</a:t>
            </a:r>
          </a:p>
        </p:txBody>
      </p:sp>
    </p:spTree>
    <p:extLst>
      <p:ext uri="{BB962C8B-B14F-4D97-AF65-F5344CB8AC3E}">
        <p14:creationId xmlns:p14="http://schemas.microsoft.com/office/powerpoint/2010/main" val="30823303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Up Arrow Callout 80"/>
          <p:cNvSpPr/>
          <p:nvPr/>
        </p:nvSpPr>
        <p:spPr>
          <a:xfrm>
            <a:off x="5506942" y="10005324"/>
            <a:ext cx="13368528" cy="3235188"/>
          </a:xfrm>
          <a:prstGeom prst="upArrowCallout">
            <a:avLst>
              <a:gd name="adj1" fmla="val 30769"/>
              <a:gd name="adj2" fmla="val 27233"/>
              <a:gd name="adj3" fmla="val 8632"/>
              <a:gd name="adj4" fmla="val 78932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t"/>
          <a:lstStyle/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Forskningsinfrastrukturer,</a:t>
            </a:r>
            <a:r>
              <a:rPr kumimoji="0" lang="nb-NO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 h</a:t>
            </a:r>
            <a:r>
              <a:rPr kumimoji="0" lang="nb-NO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elseregistre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, grunndata, </a:t>
            </a:r>
            <a:endParaRPr kumimoji="0" lang="nb-NO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sosiøkonomiske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data, biobanker, </a:t>
            </a:r>
            <a:endParaRPr kumimoji="0" lang="nb-NO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befolkningsundersøkelser,</a:t>
            </a:r>
            <a:r>
              <a:rPr kumimoji="0" lang="nb-NO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 journaldata, </a:t>
            </a:r>
          </a:p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fellestjenester UH-sektor, sluttbrukertjenester m.m.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Rounded Rectangle 75"/>
          <p:cNvSpPr/>
          <p:nvPr/>
        </p:nvSpPr>
        <p:spPr>
          <a:xfrm flipH="1">
            <a:off x="5506942" y="1078992"/>
            <a:ext cx="13368528" cy="8833103"/>
          </a:xfrm>
          <a:prstGeom prst="roundRect">
            <a:avLst>
              <a:gd name="adj" fmla="val 4317"/>
            </a:avLst>
          </a:prstGeom>
          <a:solidFill>
            <a:schemeClr val="bg1">
              <a:lumMod val="95000"/>
            </a:schemeClr>
          </a:solidFill>
          <a:ln w="381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nb-NO" sz="2400" b="1" dirty="0" smtClean="0">
                <a:solidFill>
                  <a:schemeClr val="tx1"/>
                </a:solidFill>
              </a:rPr>
              <a:t>Helsedataprorammets tjenestekart: 2017-2021 </a:t>
            </a:r>
            <a:endParaRPr lang="nb-NO" sz="2400" b="1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 smtClean="0"/>
              <a:t> Side </a:t>
            </a:r>
            <a:fld id="{5751DFAA-887F-4071-8EAD-E8CA316FCF06}" type="slidenum">
              <a:rPr lang="nb-NO" smtClean="0"/>
              <a:pPr/>
              <a:t>18</a:t>
            </a:fld>
            <a:endParaRPr lang="nb-NO" dirty="0"/>
          </a:p>
        </p:txBody>
      </p:sp>
      <p:pic>
        <p:nvPicPr>
          <p:cNvPr id="5" name="Bil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871" y="3323432"/>
            <a:ext cx="1713596" cy="4320000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04980" y="3323432"/>
            <a:ext cx="1477525" cy="4320000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640798" y="2024984"/>
            <a:ext cx="3095437" cy="75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 smtClean="0">
                <a:solidFill>
                  <a:schemeClr val="bg1"/>
                </a:solidFill>
              </a:rPr>
              <a:t>helsedata.no</a:t>
            </a:r>
            <a:endParaRPr lang="nb-NO" sz="240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4646177" y="2024984"/>
            <a:ext cx="3095437" cy="75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>
                <a:solidFill>
                  <a:schemeClr val="bg1"/>
                </a:solidFill>
              </a:rPr>
              <a:t>h</a:t>
            </a:r>
            <a:r>
              <a:rPr lang="nb-NO" sz="2400" dirty="0" smtClean="0">
                <a:solidFill>
                  <a:schemeClr val="bg1"/>
                </a:solidFill>
              </a:rPr>
              <a:t>elsenorge.no</a:t>
            </a:r>
            <a:endParaRPr lang="nb-NO" sz="2400" dirty="0">
              <a:solidFill>
                <a:schemeClr val="bg1"/>
              </a:solidFill>
            </a:endParaRPr>
          </a:p>
        </p:txBody>
      </p:sp>
      <p:sp>
        <p:nvSpPr>
          <p:cNvPr id="57" name="Rektangel 84"/>
          <p:cNvSpPr/>
          <p:nvPr/>
        </p:nvSpPr>
        <p:spPr>
          <a:xfrm>
            <a:off x="6640798" y="2843531"/>
            <a:ext cx="3095437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253958" tIns="126978" rIns="253958" bIns="126978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Oversikt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Veilednin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Variabelkatalo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Søknadstjeneste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Innbyggerdialo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>
                <a:solidFill>
                  <a:schemeClr val="tx1"/>
                </a:solidFill>
              </a:rPr>
              <a:t>Tilgang og </a:t>
            </a:r>
            <a:r>
              <a:rPr lang="nb-NO" sz="1800" dirty="0" smtClean="0">
                <a:solidFill>
                  <a:schemeClr val="tx1"/>
                </a:solidFill>
              </a:rPr>
              <a:t>utlevering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8" name="Rektangel 84"/>
          <p:cNvSpPr/>
          <p:nvPr/>
        </p:nvSpPr>
        <p:spPr>
          <a:xfrm>
            <a:off x="14646177" y="2843531"/>
            <a:ext cx="3095437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253958" tIns="126978" rIns="253958" bIns="126978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Innsyn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Samtykke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Reservasjon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Dialo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Skjema</a:t>
            </a: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0643488" y="2024984"/>
            <a:ext cx="3095437" cy="75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 smtClean="0">
                <a:solidFill>
                  <a:schemeClr val="bg1"/>
                </a:solidFill>
              </a:rPr>
              <a:t>Data og analyse</a:t>
            </a:r>
            <a:endParaRPr lang="nb-NO" sz="2400" dirty="0">
              <a:solidFill>
                <a:schemeClr val="bg1"/>
              </a:solidFill>
            </a:endParaRPr>
          </a:p>
        </p:txBody>
      </p:sp>
      <p:sp>
        <p:nvSpPr>
          <p:cNvPr id="60" name="Rektangel 84"/>
          <p:cNvSpPr/>
          <p:nvPr/>
        </p:nvSpPr>
        <p:spPr>
          <a:xfrm>
            <a:off x="10643488" y="2843532"/>
            <a:ext cx="3095437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253958" tIns="126978" rIns="253958" bIns="126978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Filoverførin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Analyseverktøy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Eksplorativ analyse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Analyserom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0643488" y="5225344"/>
            <a:ext cx="3095437" cy="75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 smtClean="0">
                <a:solidFill>
                  <a:schemeClr val="bg1"/>
                </a:solidFill>
              </a:rPr>
              <a:t>Forvaltnings-tjenester</a:t>
            </a:r>
            <a:endParaRPr lang="nb-NO" sz="2400" dirty="0">
              <a:solidFill>
                <a:schemeClr val="bg1"/>
              </a:solidFill>
            </a:endParaRPr>
          </a:p>
        </p:txBody>
      </p:sp>
      <p:sp>
        <p:nvSpPr>
          <p:cNvPr id="62" name="Rektangel 84"/>
          <p:cNvSpPr/>
          <p:nvPr/>
        </p:nvSpPr>
        <p:spPr>
          <a:xfrm>
            <a:off x="10643488" y="6037958"/>
            <a:ext cx="3095437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253958" tIns="126978" rIns="253958" bIns="126978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Felles saksbehandlin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Søknadshåndterin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Metadatakatalo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Variabeloversikt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4646177" y="5225344"/>
            <a:ext cx="3095437" cy="756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 smtClean="0">
                <a:solidFill>
                  <a:schemeClr val="bg1"/>
                </a:solidFill>
              </a:rPr>
              <a:t>Fellestjenester</a:t>
            </a:r>
            <a:endParaRPr lang="nb-NO" sz="2400" dirty="0">
              <a:solidFill>
                <a:schemeClr val="bg1"/>
              </a:solidFill>
            </a:endParaRPr>
          </a:p>
        </p:txBody>
      </p:sp>
      <p:sp>
        <p:nvSpPr>
          <p:cNvPr id="64" name="Rektangel 84"/>
          <p:cNvSpPr/>
          <p:nvPr/>
        </p:nvSpPr>
        <p:spPr>
          <a:xfrm>
            <a:off x="14646177" y="6037958"/>
            <a:ext cx="3095437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253958" tIns="126978" rIns="253958" bIns="126978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Integrasjon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Grunndata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Driftstjeneste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Infrastruktur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b="1" dirty="0" smtClean="0">
                <a:solidFill>
                  <a:schemeClr val="tx1"/>
                </a:solidFill>
              </a:rPr>
              <a:t>Personvern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endParaRPr lang="nb-NO" sz="18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-"/>
            </a:pP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640798" y="5225344"/>
            <a:ext cx="3095437" cy="756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 smtClean="0">
                <a:solidFill>
                  <a:schemeClr val="bg1"/>
                </a:solidFill>
              </a:rPr>
              <a:t>«Helsedataservice»</a:t>
            </a:r>
            <a:endParaRPr lang="nb-NO" sz="2400" dirty="0">
              <a:solidFill>
                <a:schemeClr val="bg1"/>
              </a:solidFill>
            </a:endParaRPr>
          </a:p>
        </p:txBody>
      </p:sp>
      <p:sp>
        <p:nvSpPr>
          <p:cNvPr id="70" name="Rektangel 84"/>
          <p:cNvSpPr/>
          <p:nvPr/>
        </p:nvSpPr>
        <p:spPr>
          <a:xfrm>
            <a:off x="6640798" y="6037958"/>
            <a:ext cx="3095437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253958" tIns="126978" rIns="253958" bIns="126978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Brukerstøtte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Kontaktpunkt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>
                <a:solidFill>
                  <a:schemeClr val="tx1"/>
                </a:solidFill>
              </a:rPr>
              <a:t>Veiledning</a:t>
            </a:r>
            <a:endParaRPr lang="nb-NO" sz="18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Saksbehandling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Vedtak</a:t>
            </a:r>
          </a:p>
          <a:p>
            <a:pPr marL="285750" indent="-285750">
              <a:buFont typeface="Arial" panose="020B0604020202020204" pitchFamily="34" charset="0"/>
              <a:buChar char="-"/>
            </a:pPr>
            <a:r>
              <a:rPr lang="nb-NO" sz="1800" dirty="0" smtClean="0">
                <a:solidFill>
                  <a:schemeClr val="tx1"/>
                </a:solidFill>
              </a:rPr>
              <a:t>Oppgjør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71" name="Bilde 2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091873" y="11396255"/>
            <a:ext cx="662066" cy="1440000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117" y="11396255"/>
            <a:ext cx="770855" cy="1440000"/>
          </a:xfrm>
          <a:prstGeom prst="rect">
            <a:avLst/>
          </a:prstGeom>
        </p:spPr>
      </p:pic>
      <p:sp>
        <p:nvSpPr>
          <p:cNvPr id="82" name="Can 81"/>
          <p:cNvSpPr/>
          <p:nvPr/>
        </p:nvSpPr>
        <p:spPr>
          <a:xfrm>
            <a:off x="10448726" y="12613465"/>
            <a:ext cx="550796" cy="308470"/>
          </a:xfrm>
          <a:prstGeom prst="can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Can 82"/>
          <p:cNvSpPr/>
          <p:nvPr/>
        </p:nvSpPr>
        <p:spPr>
          <a:xfrm>
            <a:off x="11422417" y="12613465"/>
            <a:ext cx="550796" cy="308470"/>
          </a:xfrm>
          <a:prstGeom prst="can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Can 83"/>
          <p:cNvSpPr/>
          <p:nvPr/>
        </p:nvSpPr>
        <p:spPr>
          <a:xfrm>
            <a:off x="12506353" y="12613465"/>
            <a:ext cx="550796" cy="308470"/>
          </a:xfrm>
          <a:prstGeom prst="can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Can 84"/>
          <p:cNvSpPr/>
          <p:nvPr/>
        </p:nvSpPr>
        <p:spPr>
          <a:xfrm>
            <a:off x="13480041" y="12613465"/>
            <a:ext cx="550796" cy="308470"/>
          </a:xfrm>
          <a:prstGeom prst="can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5" name="Picture 9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6263" y="8155026"/>
            <a:ext cx="1277353" cy="1440000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79659" y="8216683"/>
            <a:ext cx="500400" cy="1440000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3714" y="8198395"/>
            <a:ext cx="399835" cy="1440000"/>
          </a:xfrm>
          <a:prstGeom prst="rect">
            <a:avLst/>
          </a:prstGeom>
        </p:spPr>
      </p:pic>
      <p:sp>
        <p:nvSpPr>
          <p:cNvPr id="98" name="Rectangle 97"/>
          <p:cNvSpPr/>
          <p:nvPr/>
        </p:nvSpPr>
        <p:spPr>
          <a:xfrm>
            <a:off x="6640798" y="9001502"/>
            <a:ext cx="3095437" cy="6186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tx1"/>
                </a:solidFill>
              </a:rPr>
              <a:t>Brukerstøtte og veiledning</a:t>
            </a:r>
            <a:endParaRPr lang="nb-NO" sz="1600" dirty="0">
              <a:solidFill>
                <a:schemeClr val="tx1"/>
              </a:solidFill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10643488" y="8984332"/>
            <a:ext cx="3095437" cy="6186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tx1"/>
                </a:solidFill>
              </a:rPr>
              <a:t>Forvaltning</a:t>
            </a:r>
            <a:endParaRPr lang="nb-NO" sz="1600" dirty="0">
              <a:solidFill>
                <a:schemeClr val="tx1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14646177" y="8984332"/>
            <a:ext cx="3095437" cy="6186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tx1"/>
                </a:solidFill>
              </a:rPr>
              <a:t>Koordinering, styring og standardisering</a:t>
            </a:r>
            <a:endParaRPr lang="nb-NO" sz="1600" dirty="0">
              <a:solidFill>
                <a:schemeClr val="tx1"/>
              </a:solidFill>
            </a:endParaRPr>
          </a:p>
        </p:txBody>
      </p:sp>
      <p:cxnSp>
        <p:nvCxnSpPr>
          <p:cNvPr id="102" name="Elbow Connector 101"/>
          <p:cNvCxnSpPr>
            <a:stCxn id="5" idx="2"/>
            <a:endCxn id="81" idx="1"/>
          </p:cNvCxnSpPr>
          <p:nvPr/>
        </p:nvCxnSpPr>
        <p:spPr>
          <a:xfrm rot="16200000" flipH="1">
            <a:off x="2701065" y="7881035"/>
            <a:ext cx="3043481" cy="2568273"/>
          </a:xfrm>
          <a:prstGeom prst="bentConnector2">
            <a:avLst/>
          </a:prstGeom>
          <a:ln w="31750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/>
          <p:cNvCxnSpPr>
            <a:endCxn id="81" idx="3"/>
          </p:cNvCxnSpPr>
          <p:nvPr/>
        </p:nvCxnSpPr>
        <p:spPr>
          <a:xfrm rot="5400000">
            <a:off x="18620184" y="7863355"/>
            <a:ext cx="3078844" cy="2568272"/>
          </a:xfrm>
          <a:prstGeom prst="bentConnector2">
            <a:avLst/>
          </a:prstGeom>
          <a:ln w="31750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Arrow Connector 110"/>
          <p:cNvCxnSpPr>
            <a:stCxn id="5" idx="3"/>
            <a:endCxn id="76" idx="3"/>
          </p:cNvCxnSpPr>
          <p:nvPr/>
        </p:nvCxnSpPr>
        <p:spPr>
          <a:xfrm>
            <a:off x="3795467" y="5483432"/>
            <a:ext cx="1711475" cy="12112"/>
          </a:xfrm>
          <a:prstGeom prst="straightConnector1">
            <a:avLst/>
          </a:prstGeom>
          <a:ln w="31750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/>
          <p:cNvCxnSpPr>
            <a:stCxn id="76" idx="1"/>
            <a:endCxn id="18" idx="1"/>
          </p:cNvCxnSpPr>
          <p:nvPr/>
        </p:nvCxnSpPr>
        <p:spPr>
          <a:xfrm flipV="1">
            <a:off x="18875470" y="5483432"/>
            <a:ext cx="1829510" cy="12112"/>
          </a:xfrm>
          <a:prstGeom prst="straightConnector1">
            <a:avLst/>
          </a:prstGeom>
          <a:ln w="31750">
            <a:solidFill>
              <a:schemeClr val="bg1">
                <a:lumMod val="50000"/>
              </a:schemeClr>
            </a:solidFill>
            <a:headEnd type="arrow" w="lg" len="lg"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20886409" y="12943572"/>
            <a:ext cx="3095437" cy="46800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bg1"/>
                </a:solidFill>
              </a:rPr>
              <a:t>Digitale tjenester</a:t>
            </a:r>
            <a:endParaRPr lang="nb-NO" sz="1600" dirty="0">
              <a:solidFill>
                <a:schemeClr val="bg1"/>
              </a:solidFill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20886409" y="12332953"/>
            <a:ext cx="3095437" cy="46800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bg1"/>
                </a:solidFill>
              </a:rPr>
              <a:t>«Fysiske» tjenester</a:t>
            </a:r>
            <a:endParaRPr lang="nb-NO" sz="1600" dirty="0">
              <a:solidFill>
                <a:schemeClr val="bg1"/>
              </a:solidFill>
            </a:endParaRP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2223" y="11396255"/>
            <a:ext cx="493200" cy="1440000"/>
          </a:xfrm>
          <a:prstGeom prst="rect">
            <a:avLst/>
          </a:prstGeom>
        </p:spPr>
      </p:pic>
      <p:sp>
        <p:nvSpPr>
          <p:cNvPr id="128" name="Rectangle 127"/>
          <p:cNvSpPr/>
          <p:nvPr/>
        </p:nvSpPr>
        <p:spPr>
          <a:xfrm>
            <a:off x="1390949" y="6475747"/>
            <a:ext cx="3095437" cy="6186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tx1"/>
                </a:solidFill>
              </a:rPr>
              <a:t>Helseforsker</a:t>
            </a:r>
            <a:endParaRPr lang="nb-NO" sz="1600" dirty="0">
              <a:solidFill>
                <a:schemeClr val="tx1"/>
              </a:solidFill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19896026" y="6475747"/>
            <a:ext cx="3095437" cy="61860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00" dirty="0" smtClean="0">
                <a:solidFill>
                  <a:schemeClr val="tx1"/>
                </a:solidFill>
              </a:rPr>
              <a:t>Innbygger</a:t>
            </a:r>
            <a:endParaRPr lang="nb-NO" sz="1600" dirty="0">
              <a:solidFill>
                <a:schemeClr val="tx1"/>
              </a:solidFill>
            </a:endParaRPr>
          </a:p>
        </p:txBody>
      </p:sp>
      <p:pic>
        <p:nvPicPr>
          <p:cNvPr id="130" name="Picture 12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485" y="11360953"/>
            <a:ext cx="770855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6349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9" grpId="0" animBg="1"/>
      <p:bldP spid="7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3E90757-5213-4C8C-A3BA-28B289D8D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469" y="703095"/>
            <a:ext cx="22905296" cy="1673620"/>
          </a:xfrm>
        </p:spPr>
        <p:txBody>
          <a:bodyPr>
            <a:normAutofit fontScale="90000"/>
          </a:bodyPr>
          <a:lstStyle/>
          <a:p>
            <a:r>
              <a:rPr lang="nb-NO" dirty="0" smtClean="0"/>
              <a:t>Analyseøkosystemet rundt HAP </a:t>
            </a:r>
            <a:r>
              <a:rPr lang="nb-NO" dirty="0"/>
              <a:t>er en utviklingsretning som realiseres stegvis. </a:t>
            </a:r>
            <a:r>
              <a:rPr lang="nb-NO" dirty="0" smtClean="0"/>
              <a:t> Hvert steg skal ha stor egenverdi og kunne være endestasjon for initiativet.</a:t>
            </a:r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AB25C7-260F-4718-9FA3-D410583831C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19</a:t>
            </a:fld>
            <a:endParaRPr lang="nb-NO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597FDB6-64F0-4428-AF9B-04E061A9D79A}"/>
              </a:ext>
            </a:extLst>
          </p:cNvPr>
          <p:cNvSpPr/>
          <p:nvPr/>
        </p:nvSpPr>
        <p:spPr>
          <a:xfrm>
            <a:off x="6768430" y="5394687"/>
            <a:ext cx="2502000" cy="77760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 sz="1800" dirty="0"/>
          </a:p>
          <a:p>
            <a:pPr algn="ctr"/>
            <a:r>
              <a:rPr lang="nb-NO" sz="1800" dirty="0"/>
              <a:t>Saksbehandlingen</a:t>
            </a:r>
          </a:p>
          <a:p>
            <a:pPr algn="ctr"/>
            <a:endParaRPr lang="nb-NO" sz="1800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A680025B-3CDE-45B6-A8F3-FE2E909AE8E1}"/>
              </a:ext>
            </a:extLst>
          </p:cNvPr>
          <p:cNvSpPr/>
          <p:nvPr/>
        </p:nvSpPr>
        <p:spPr>
          <a:xfrm>
            <a:off x="9431988" y="5399174"/>
            <a:ext cx="2502000" cy="777600"/>
          </a:xfrm>
          <a:prstGeom prst="rect">
            <a:avLst/>
          </a:prstGeom>
          <a:solidFill>
            <a:srgbClr val="CDA94F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800" dirty="0"/>
              <a:t>Det enkle analyserommet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CE87EA8D-C72E-4A6C-BD3B-FD96A16FE1D1}"/>
              </a:ext>
            </a:extLst>
          </p:cNvPr>
          <p:cNvSpPr/>
          <p:nvPr/>
        </p:nvSpPr>
        <p:spPr>
          <a:xfrm>
            <a:off x="1440178" y="5395249"/>
            <a:ext cx="2502568" cy="7776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2000" dirty="0"/>
              <a:t>Søknadsveileder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B6ECA80-3D35-4473-9AF2-1DED45AF8FFE}"/>
              </a:ext>
            </a:extLst>
          </p:cNvPr>
          <p:cNvSpPr/>
          <p:nvPr/>
        </p:nvSpPr>
        <p:spPr>
          <a:xfrm>
            <a:off x="4104304" y="5396250"/>
            <a:ext cx="2502568" cy="777600"/>
          </a:xfrm>
          <a:prstGeom prst="rect">
            <a:avLst/>
          </a:prstGeom>
          <a:solidFill>
            <a:srgbClr val="C6EFCE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800" dirty="0"/>
              <a:t>Helsedataportal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56164EDB-07A0-413D-BB55-6766E71A5DE6}"/>
              </a:ext>
            </a:extLst>
          </p:cNvPr>
          <p:cNvSpPr/>
          <p:nvPr/>
        </p:nvSpPr>
        <p:spPr>
          <a:xfrm>
            <a:off x="14759104" y="5397711"/>
            <a:ext cx="2502568" cy="77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800" dirty="0"/>
              <a:t>Det enkle økosystemet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1010FC98-C6A7-4FED-BCC8-6FA170541BB5}"/>
              </a:ext>
            </a:extLst>
          </p:cNvPr>
          <p:cNvSpPr/>
          <p:nvPr/>
        </p:nvSpPr>
        <p:spPr>
          <a:xfrm>
            <a:off x="20086790" y="5391260"/>
            <a:ext cx="2502568" cy="777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800" dirty="0"/>
              <a:t>Analyseøkosystemet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394E236-D4C4-4DE1-98F9-C07E81584FBC}"/>
              </a:ext>
            </a:extLst>
          </p:cNvPr>
          <p:cNvSpPr/>
          <p:nvPr/>
        </p:nvSpPr>
        <p:spPr>
          <a:xfrm>
            <a:off x="17423230" y="5394452"/>
            <a:ext cx="2502000" cy="777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800" dirty="0"/>
              <a:t>Avansert helseanalyse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E815A455-A09C-4CAD-B8FE-6C1ED165C484}"/>
              </a:ext>
            </a:extLst>
          </p:cNvPr>
          <p:cNvSpPr/>
          <p:nvPr/>
        </p:nvSpPr>
        <p:spPr>
          <a:xfrm>
            <a:off x="12095546" y="5396249"/>
            <a:ext cx="2502000" cy="7776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800" dirty="0"/>
              <a:t>Den eksplorative analysen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D8CDD4EC-CE5D-423E-B077-F7118B477789}"/>
              </a:ext>
            </a:extLst>
          </p:cNvPr>
          <p:cNvSpPr/>
          <p:nvPr/>
        </p:nvSpPr>
        <p:spPr>
          <a:xfrm>
            <a:off x="6768430" y="4450985"/>
            <a:ext cx="2502000" cy="77806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 sz="4000" dirty="0"/>
          </a:p>
          <a:p>
            <a:pPr algn="ctr"/>
            <a:r>
              <a:rPr lang="nb-NO" sz="4000" dirty="0"/>
              <a:t>3</a:t>
            </a:r>
          </a:p>
          <a:p>
            <a:pPr algn="ctr"/>
            <a:endParaRPr lang="nb-NO" sz="4000" dirty="0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A4BD4A0-7C56-4EA4-864F-8D4FAFCE269C}"/>
              </a:ext>
            </a:extLst>
          </p:cNvPr>
          <p:cNvSpPr/>
          <p:nvPr/>
        </p:nvSpPr>
        <p:spPr>
          <a:xfrm>
            <a:off x="9431988" y="4450985"/>
            <a:ext cx="2502000" cy="777600"/>
          </a:xfrm>
          <a:prstGeom prst="rect">
            <a:avLst/>
          </a:prstGeom>
          <a:solidFill>
            <a:srgbClr val="CDA94F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4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702AB906-70CC-4A24-BC21-74D1653563E3}"/>
              </a:ext>
            </a:extLst>
          </p:cNvPr>
          <p:cNvSpPr/>
          <p:nvPr/>
        </p:nvSpPr>
        <p:spPr>
          <a:xfrm>
            <a:off x="1440178" y="4450985"/>
            <a:ext cx="2502568" cy="77806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1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9EBD99B4-D8B2-4587-A636-DE0F17CAD46C}"/>
              </a:ext>
            </a:extLst>
          </p:cNvPr>
          <p:cNvSpPr/>
          <p:nvPr/>
        </p:nvSpPr>
        <p:spPr>
          <a:xfrm>
            <a:off x="4104304" y="4450985"/>
            <a:ext cx="2502568" cy="777600"/>
          </a:xfrm>
          <a:prstGeom prst="rect">
            <a:avLst/>
          </a:prstGeom>
          <a:solidFill>
            <a:srgbClr val="C6EFCE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2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EA1A5055-A79D-48D2-AA9D-542756F57AC3}"/>
              </a:ext>
            </a:extLst>
          </p:cNvPr>
          <p:cNvSpPr/>
          <p:nvPr/>
        </p:nvSpPr>
        <p:spPr>
          <a:xfrm>
            <a:off x="14759104" y="4450985"/>
            <a:ext cx="2502568" cy="777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6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EB5F6988-3C21-4C43-B995-ACFF03CA5849}"/>
              </a:ext>
            </a:extLst>
          </p:cNvPr>
          <p:cNvSpPr/>
          <p:nvPr/>
        </p:nvSpPr>
        <p:spPr>
          <a:xfrm>
            <a:off x="20086790" y="4450985"/>
            <a:ext cx="2502568" cy="777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8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C36482F4-558E-4C32-80EC-7B8488C94D77}"/>
              </a:ext>
            </a:extLst>
          </p:cNvPr>
          <p:cNvSpPr/>
          <p:nvPr/>
        </p:nvSpPr>
        <p:spPr>
          <a:xfrm>
            <a:off x="17423230" y="4450985"/>
            <a:ext cx="2502000" cy="777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7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78F826F3-A36A-4DDC-8DDD-7CE261BAF919}"/>
              </a:ext>
            </a:extLst>
          </p:cNvPr>
          <p:cNvSpPr/>
          <p:nvPr/>
        </p:nvSpPr>
        <p:spPr>
          <a:xfrm>
            <a:off x="12095546" y="4450985"/>
            <a:ext cx="2502000" cy="7776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4000" dirty="0"/>
              <a:t>5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18612F8E-7BA1-4CEA-AAB8-19B6411F5003}"/>
              </a:ext>
            </a:extLst>
          </p:cNvPr>
          <p:cNvSpPr/>
          <p:nvPr/>
        </p:nvSpPr>
        <p:spPr>
          <a:xfrm>
            <a:off x="6768430" y="6337921"/>
            <a:ext cx="2502000" cy="41383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Saksbehandlingen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skal standardisere saksbehandlings-prosessen etter helsedata og gi brukere raskere tilgang gjennom økt synlighet og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raskere saks-behandling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.</a:t>
            </a:r>
          </a:p>
          <a:p>
            <a:pPr algn="ctr"/>
            <a:endParaRPr lang="nb-NO" sz="20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D1BFF35E-1173-41E7-96F9-C2EF9EE8EAF4}"/>
              </a:ext>
            </a:extLst>
          </p:cNvPr>
          <p:cNvSpPr/>
          <p:nvPr/>
        </p:nvSpPr>
        <p:spPr>
          <a:xfrm>
            <a:off x="9431988" y="6347362"/>
            <a:ext cx="2502000" cy="41383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Det enkle analyserommet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skal gi brukere tilgang på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en sikker infrastruktur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for å analysere helsedata og legge til rette for økt veiledning i søknadsprosess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6501FA2E-03D2-4F9D-83A5-A3DBB43F252E}"/>
              </a:ext>
            </a:extLst>
          </p:cNvPr>
          <p:cNvSpPr/>
          <p:nvPr/>
        </p:nvSpPr>
        <p:spPr>
          <a:xfrm>
            <a:off x="1440178" y="6339044"/>
            <a:ext cx="2502568" cy="413845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Søknadsveilederen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skal gi brukere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informasjon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om hvilke helsedata-kilder som finnes og informasjon om hvordan man går frem for å søke.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E5DFDF79-1C35-48EF-99C3-28E45C8FE915}"/>
              </a:ext>
            </a:extLst>
          </p:cNvPr>
          <p:cNvSpPr/>
          <p:nvPr/>
        </p:nvSpPr>
        <p:spPr>
          <a:xfrm>
            <a:off x="4104304" y="6341514"/>
            <a:ext cx="2502568" cy="413877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Helsedataportalen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skal gi brukere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et sted å søke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etter helsedata, informasjon om variabler og tilby en elektronisk utleveringstjeneste for helsedata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CC977086-F352-402B-9FCF-3E4EB004CA39}"/>
              </a:ext>
            </a:extLst>
          </p:cNvPr>
          <p:cNvSpPr/>
          <p:nvPr/>
        </p:nvSpPr>
        <p:spPr>
          <a:xfrm>
            <a:off x="14759104" y="6344437"/>
            <a:ext cx="2502568" cy="41383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Det enkle økosystemet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skal gi brukeren en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markedsplass av analyseverktøy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som gir fleksibilitet og valgfrihet i bruk av verktøy.</a:t>
            </a: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686D0980-139E-419D-A670-EB9A887B36ED}"/>
              </a:ext>
            </a:extLst>
          </p:cNvPr>
          <p:cNvSpPr/>
          <p:nvPr/>
        </p:nvSpPr>
        <p:spPr>
          <a:xfrm>
            <a:off x="20086790" y="6331535"/>
            <a:ext cx="2502568" cy="41383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Analyseøkosystemet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skal gi brukere tilgang til en markedsplass av analysetjenester og et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økosystem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av datatilbydere 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6E92EE6D-FC5B-4277-BA9E-5F1451ADB92F}"/>
              </a:ext>
            </a:extLst>
          </p:cNvPr>
          <p:cNvSpPr/>
          <p:nvPr/>
        </p:nvSpPr>
        <p:spPr>
          <a:xfrm>
            <a:off x="17423230" y="6337920"/>
            <a:ext cx="2502000" cy="41383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Avansert helseanalyse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skal gi brukere raskere tilgang på data gjennom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delvis automatisert saksbehandling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og kjøremiljø for beredskap og helseovervåkning. </a:t>
            </a: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6E6A0D15-AC72-4FD9-A679-BF175D1A186B}"/>
              </a:ext>
            </a:extLst>
          </p:cNvPr>
          <p:cNvSpPr/>
          <p:nvPr/>
        </p:nvSpPr>
        <p:spPr>
          <a:xfrm>
            <a:off x="12095546" y="6341513"/>
            <a:ext cx="2502000" cy="41383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nb-NO" sz="2000" b="1" i="1" dirty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nb-NO" sz="2000" b="1" i="1" dirty="0">
                <a:solidFill>
                  <a:schemeClr val="bg1">
                    <a:lumMod val="95000"/>
                  </a:schemeClr>
                </a:solidFill>
              </a:rPr>
              <a:t>Den eksplorative analysen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 skal gi brukere </a:t>
            </a:r>
            <a:r>
              <a:rPr lang="nb-NO" sz="2000" b="1" dirty="0">
                <a:solidFill>
                  <a:schemeClr val="bg1">
                    <a:lumMod val="95000"/>
                  </a:schemeClr>
                </a:solidFill>
              </a:rPr>
              <a:t>eksplorative analysetjenester </a:t>
            </a:r>
            <a:r>
              <a:rPr lang="nb-NO" sz="2000" dirty="0">
                <a:solidFill>
                  <a:schemeClr val="bg1">
                    <a:lumMod val="95000"/>
                  </a:schemeClr>
                </a:solidFill>
              </a:rPr>
              <a:t>og muligheten for å etablere egne datavarehusløsninger på plattformen</a:t>
            </a:r>
          </a:p>
        </p:txBody>
      </p:sp>
      <p:pic>
        <p:nvPicPr>
          <p:cNvPr id="31" name="Grafikk 30" descr="Dokument">
            <a:extLst>
              <a:ext uri="{FF2B5EF4-FFF2-40B4-BE49-F238E27FC236}">
                <a16:creationId xmlns:a16="http://schemas.microsoft.com/office/drawing/2014/main" id="{38207BDE-B82A-40DE-9ADE-666207461F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234262" y="3461728"/>
            <a:ext cx="914400" cy="914400"/>
          </a:xfrm>
          <a:prstGeom prst="rect">
            <a:avLst/>
          </a:prstGeom>
        </p:spPr>
      </p:pic>
      <p:sp>
        <p:nvSpPr>
          <p:cNvPr id="32" name="Freeform 71">
            <a:extLst>
              <a:ext uri="{FF2B5EF4-FFF2-40B4-BE49-F238E27FC236}">
                <a16:creationId xmlns:a16="http://schemas.microsoft.com/office/drawing/2014/main" id="{17F596D8-EA2A-40BC-9553-1C46014DFD72}"/>
              </a:ext>
            </a:extLst>
          </p:cNvPr>
          <p:cNvSpPr>
            <a:spLocks noEditPoints="1"/>
          </p:cNvSpPr>
          <p:nvPr/>
        </p:nvSpPr>
        <p:spPr bwMode="auto">
          <a:xfrm>
            <a:off x="5111805" y="3558798"/>
            <a:ext cx="639158" cy="732980"/>
          </a:xfrm>
          <a:custGeom>
            <a:avLst/>
            <a:gdLst>
              <a:gd name="T0" fmla="*/ 236367 w 1817"/>
              <a:gd name="T1" fmla="*/ 168810 h 2083"/>
              <a:gd name="T2" fmla="*/ 166086 w 1817"/>
              <a:gd name="T3" fmla="*/ 146327 h 2083"/>
              <a:gd name="T4" fmla="*/ 135040 w 1817"/>
              <a:gd name="T5" fmla="*/ 160427 h 2083"/>
              <a:gd name="T6" fmla="*/ 115422 w 1817"/>
              <a:gd name="T7" fmla="*/ 188625 h 2083"/>
              <a:gd name="T8" fmla="*/ 160372 w 1817"/>
              <a:gd name="T9" fmla="*/ 216824 h 2083"/>
              <a:gd name="T10" fmla="*/ 182846 w 1817"/>
              <a:gd name="T11" fmla="*/ 239306 h 2083"/>
              <a:gd name="T12" fmla="*/ 199798 w 1817"/>
              <a:gd name="T13" fmla="*/ 306754 h 2083"/>
              <a:gd name="T14" fmla="*/ 247605 w 1817"/>
              <a:gd name="T15" fmla="*/ 261789 h 2083"/>
              <a:gd name="T16" fmla="*/ 270079 w 1817"/>
              <a:gd name="T17" fmla="*/ 199866 h 2083"/>
              <a:gd name="T18" fmla="*/ 247605 w 1817"/>
              <a:gd name="T19" fmla="*/ 180051 h 2083"/>
              <a:gd name="T20" fmla="*/ 188560 w 1817"/>
              <a:gd name="T21" fmla="*/ 366009 h 2083"/>
              <a:gd name="T22" fmla="*/ 346075 w 1817"/>
              <a:gd name="T23" fmla="*/ 174526 h 2083"/>
              <a:gd name="T24" fmla="*/ 0 w 1817"/>
              <a:gd name="T25" fmla="*/ 174526 h 2083"/>
              <a:gd name="T26" fmla="*/ 157515 w 1817"/>
              <a:gd name="T27" fmla="*/ 366009 h 2083"/>
              <a:gd name="T28" fmla="*/ 126659 w 1817"/>
              <a:gd name="T29" fmla="*/ 368676 h 2083"/>
              <a:gd name="T30" fmla="*/ 47807 w 1817"/>
              <a:gd name="T31" fmla="*/ 394017 h 2083"/>
              <a:gd name="T32" fmla="*/ 132183 w 1817"/>
              <a:gd name="T33" fmla="*/ 396875 h 2083"/>
              <a:gd name="T34" fmla="*/ 222273 w 1817"/>
              <a:gd name="T35" fmla="*/ 394017 h 2083"/>
              <a:gd name="T36" fmla="*/ 298268 w 1817"/>
              <a:gd name="T37" fmla="*/ 368676 h 2083"/>
              <a:gd name="T38" fmla="*/ 216559 w 1817"/>
              <a:gd name="T39" fmla="*/ 366009 h 2083"/>
              <a:gd name="T40" fmla="*/ 81519 w 1817"/>
              <a:gd name="T41" fmla="*/ 298371 h 2083"/>
              <a:gd name="T42" fmla="*/ 87233 w 1817"/>
              <a:gd name="T43" fmla="*/ 270172 h 2083"/>
              <a:gd name="T44" fmla="*/ 95613 w 1817"/>
              <a:gd name="T45" fmla="*/ 247690 h 2083"/>
              <a:gd name="T46" fmla="*/ 70282 w 1817"/>
              <a:gd name="T47" fmla="*/ 230732 h 2083"/>
              <a:gd name="T48" fmla="*/ 36569 w 1817"/>
              <a:gd name="T49" fmla="*/ 219491 h 2083"/>
              <a:gd name="T50" fmla="*/ 28189 w 1817"/>
              <a:gd name="T51" fmla="*/ 199866 h 2083"/>
              <a:gd name="T52" fmla="*/ 16951 w 1817"/>
              <a:gd name="T53" fmla="*/ 180051 h 2083"/>
              <a:gd name="T54" fmla="*/ 28189 w 1817"/>
              <a:gd name="T55" fmla="*/ 115461 h 2083"/>
              <a:gd name="T56" fmla="*/ 42283 w 1817"/>
              <a:gd name="T57" fmla="*/ 112604 h 2083"/>
              <a:gd name="T58" fmla="*/ 61901 w 1817"/>
              <a:gd name="T59" fmla="*/ 90121 h 2083"/>
              <a:gd name="T60" fmla="*/ 64758 w 1817"/>
              <a:gd name="T61" fmla="*/ 61922 h 2083"/>
              <a:gd name="T62" fmla="*/ 171609 w 1817"/>
              <a:gd name="T63" fmla="*/ 16767 h 2083"/>
              <a:gd name="T64" fmla="*/ 179989 w 1817"/>
              <a:gd name="T65" fmla="*/ 25341 h 2083"/>
              <a:gd name="T66" fmla="*/ 171609 w 1817"/>
              <a:gd name="T67" fmla="*/ 42107 h 2083"/>
              <a:gd name="T68" fmla="*/ 140754 w 1817"/>
              <a:gd name="T69" fmla="*/ 64780 h 2083"/>
              <a:gd name="T70" fmla="*/ 149134 w 1817"/>
              <a:gd name="T71" fmla="*/ 76022 h 2083"/>
              <a:gd name="T72" fmla="*/ 129516 w 1817"/>
              <a:gd name="T73" fmla="*/ 84405 h 2083"/>
              <a:gd name="T74" fmla="*/ 118088 w 1817"/>
              <a:gd name="T75" fmla="*/ 76022 h 2083"/>
              <a:gd name="T76" fmla="*/ 120945 w 1817"/>
              <a:gd name="T77" fmla="*/ 92788 h 2083"/>
              <a:gd name="T78" fmla="*/ 123802 w 1817"/>
              <a:gd name="T79" fmla="*/ 112604 h 2083"/>
              <a:gd name="T80" fmla="*/ 106851 w 1817"/>
              <a:gd name="T81" fmla="*/ 135086 h 2083"/>
              <a:gd name="T82" fmla="*/ 143420 w 1817"/>
              <a:gd name="T83" fmla="*/ 146327 h 2083"/>
              <a:gd name="T84" fmla="*/ 168752 w 1817"/>
              <a:gd name="T85" fmla="*/ 132228 h 2083"/>
              <a:gd name="T86" fmla="*/ 179989 w 1817"/>
              <a:gd name="T87" fmla="*/ 123845 h 2083"/>
              <a:gd name="T88" fmla="*/ 188560 w 1817"/>
              <a:gd name="T89" fmla="*/ 118129 h 2083"/>
              <a:gd name="T90" fmla="*/ 179989 w 1817"/>
              <a:gd name="T91" fmla="*/ 126703 h 2083"/>
              <a:gd name="T92" fmla="*/ 194084 w 1817"/>
              <a:gd name="T93" fmla="*/ 129370 h 2083"/>
              <a:gd name="T94" fmla="*/ 222273 w 1817"/>
              <a:gd name="T95" fmla="*/ 123845 h 2083"/>
              <a:gd name="T96" fmla="*/ 244748 w 1817"/>
              <a:gd name="T97" fmla="*/ 154711 h 2083"/>
              <a:gd name="T98" fmla="*/ 270079 w 1817"/>
              <a:gd name="T99" fmla="*/ 174526 h 2083"/>
              <a:gd name="T100" fmla="*/ 292554 w 1817"/>
              <a:gd name="T101" fmla="*/ 152043 h 2083"/>
              <a:gd name="T102" fmla="*/ 289697 w 1817"/>
              <a:gd name="T103" fmla="*/ 137944 h 2083"/>
              <a:gd name="T104" fmla="*/ 258842 w 1817"/>
              <a:gd name="T105" fmla="*/ 132228 h 2083"/>
              <a:gd name="T106" fmla="*/ 253128 w 1817"/>
              <a:gd name="T107" fmla="*/ 115461 h 2083"/>
              <a:gd name="T108" fmla="*/ 250462 w 1817"/>
              <a:gd name="T109" fmla="*/ 92788 h 2083"/>
              <a:gd name="T110" fmla="*/ 250462 w 1817"/>
              <a:gd name="T111" fmla="*/ 78880 h 2083"/>
              <a:gd name="T112" fmla="*/ 255985 w 1817"/>
              <a:gd name="T113" fmla="*/ 90121 h 2083"/>
              <a:gd name="T114" fmla="*/ 261699 w 1817"/>
              <a:gd name="T115" fmla="*/ 126703 h 2083"/>
              <a:gd name="T116" fmla="*/ 272936 w 1817"/>
              <a:gd name="T117" fmla="*/ 132228 h 2083"/>
              <a:gd name="T118" fmla="*/ 292554 w 1817"/>
              <a:gd name="T119" fmla="*/ 132228 h 2083"/>
              <a:gd name="T120" fmla="*/ 323600 w 1817"/>
              <a:gd name="T121" fmla="*/ 129370 h 2083"/>
              <a:gd name="T122" fmla="*/ 171609 w 1817"/>
              <a:gd name="T123" fmla="*/ 329427 h 208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1817" h="2083">
                <a:moveTo>
                  <a:pt x="1300" y="945"/>
                </a:moveTo>
                <a:cubicBezTo>
                  <a:pt x="1241" y="886"/>
                  <a:pt x="1241" y="886"/>
                  <a:pt x="1241" y="886"/>
                </a:cubicBezTo>
                <a:cubicBezTo>
                  <a:pt x="1093" y="768"/>
                  <a:pt x="1093" y="768"/>
                  <a:pt x="1093" y="768"/>
                </a:cubicBezTo>
                <a:cubicBezTo>
                  <a:pt x="872" y="768"/>
                  <a:pt x="872" y="768"/>
                  <a:pt x="872" y="768"/>
                </a:cubicBezTo>
                <a:cubicBezTo>
                  <a:pt x="753" y="798"/>
                  <a:pt x="753" y="798"/>
                  <a:pt x="753" y="798"/>
                </a:cubicBezTo>
                <a:cubicBezTo>
                  <a:pt x="709" y="842"/>
                  <a:pt x="709" y="842"/>
                  <a:pt x="709" y="842"/>
                </a:cubicBezTo>
                <a:cubicBezTo>
                  <a:pt x="606" y="945"/>
                  <a:pt x="606" y="945"/>
                  <a:pt x="606" y="945"/>
                </a:cubicBezTo>
                <a:cubicBezTo>
                  <a:pt x="606" y="990"/>
                  <a:pt x="606" y="990"/>
                  <a:pt x="606" y="990"/>
                </a:cubicBezTo>
                <a:cubicBezTo>
                  <a:pt x="709" y="1123"/>
                  <a:pt x="709" y="1123"/>
                  <a:pt x="709" y="1123"/>
                </a:cubicBezTo>
                <a:cubicBezTo>
                  <a:pt x="842" y="1138"/>
                  <a:pt x="842" y="1138"/>
                  <a:pt x="842" y="1138"/>
                </a:cubicBezTo>
                <a:cubicBezTo>
                  <a:pt x="916" y="1182"/>
                  <a:pt x="916" y="1182"/>
                  <a:pt x="916" y="1182"/>
                </a:cubicBezTo>
                <a:cubicBezTo>
                  <a:pt x="960" y="1256"/>
                  <a:pt x="960" y="1256"/>
                  <a:pt x="960" y="1256"/>
                </a:cubicBezTo>
                <a:cubicBezTo>
                  <a:pt x="990" y="1492"/>
                  <a:pt x="990" y="1492"/>
                  <a:pt x="990" y="1492"/>
                </a:cubicBezTo>
                <a:cubicBezTo>
                  <a:pt x="1049" y="1610"/>
                  <a:pt x="1049" y="1610"/>
                  <a:pt x="1049" y="1610"/>
                </a:cubicBezTo>
                <a:cubicBezTo>
                  <a:pt x="1196" y="1522"/>
                  <a:pt x="1196" y="1522"/>
                  <a:pt x="1196" y="1522"/>
                </a:cubicBezTo>
                <a:cubicBezTo>
                  <a:pt x="1300" y="1374"/>
                  <a:pt x="1300" y="1374"/>
                  <a:pt x="1300" y="1374"/>
                </a:cubicBezTo>
                <a:cubicBezTo>
                  <a:pt x="1344" y="1182"/>
                  <a:pt x="1344" y="1182"/>
                  <a:pt x="1344" y="1182"/>
                </a:cubicBezTo>
                <a:cubicBezTo>
                  <a:pt x="1418" y="1049"/>
                  <a:pt x="1418" y="1049"/>
                  <a:pt x="1418" y="1049"/>
                </a:cubicBezTo>
                <a:cubicBezTo>
                  <a:pt x="1344" y="960"/>
                  <a:pt x="1344" y="960"/>
                  <a:pt x="1344" y="960"/>
                </a:cubicBezTo>
                <a:lnTo>
                  <a:pt x="1300" y="945"/>
                </a:lnTo>
                <a:close/>
                <a:moveTo>
                  <a:pt x="1137" y="1921"/>
                </a:moveTo>
                <a:cubicBezTo>
                  <a:pt x="990" y="1921"/>
                  <a:pt x="990" y="1921"/>
                  <a:pt x="990" y="1921"/>
                </a:cubicBezTo>
                <a:cubicBezTo>
                  <a:pt x="990" y="1817"/>
                  <a:pt x="990" y="1817"/>
                  <a:pt x="990" y="1817"/>
                </a:cubicBezTo>
                <a:cubicBezTo>
                  <a:pt x="1448" y="1773"/>
                  <a:pt x="1817" y="1374"/>
                  <a:pt x="1817" y="916"/>
                </a:cubicBezTo>
                <a:cubicBezTo>
                  <a:pt x="1817" y="414"/>
                  <a:pt x="1403" y="0"/>
                  <a:pt x="901" y="0"/>
                </a:cubicBezTo>
                <a:cubicBezTo>
                  <a:pt x="414" y="0"/>
                  <a:pt x="0" y="414"/>
                  <a:pt x="0" y="916"/>
                </a:cubicBezTo>
                <a:cubicBezTo>
                  <a:pt x="0" y="1389"/>
                  <a:pt x="369" y="1773"/>
                  <a:pt x="827" y="1817"/>
                </a:cubicBezTo>
                <a:cubicBezTo>
                  <a:pt x="827" y="1921"/>
                  <a:pt x="827" y="1921"/>
                  <a:pt x="827" y="1921"/>
                </a:cubicBezTo>
                <a:cubicBezTo>
                  <a:pt x="694" y="1921"/>
                  <a:pt x="694" y="1921"/>
                  <a:pt x="694" y="1921"/>
                </a:cubicBezTo>
                <a:cubicBezTo>
                  <a:pt x="680" y="1921"/>
                  <a:pt x="665" y="1921"/>
                  <a:pt x="665" y="1935"/>
                </a:cubicBezTo>
                <a:cubicBezTo>
                  <a:pt x="251" y="1935"/>
                  <a:pt x="251" y="1935"/>
                  <a:pt x="251" y="1935"/>
                </a:cubicBezTo>
                <a:cubicBezTo>
                  <a:pt x="251" y="2068"/>
                  <a:pt x="251" y="2068"/>
                  <a:pt x="251" y="2068"/>
                </a:cubicBezTo>
                <a:cubicBezTo>
                  <a:pt x="665" y="2068"/>
                  <a:pt x="665" y="2068"/>
                  <a:pt x="665" y="2068"/>
                </a:cubicBezTo>
                <a:cubicBezTo>
                  <a:pt x="665" y="2083"/>
                  <a:pt x="680" y="2083"/>
                  <a:pt x="694" y="2083"/>
                </a:cubicBezTo>
                <a:cubicBezTo>
                  <a:pt x="1137" y="2083"/>
                  <a:pt x="1137" y="2083"/>
                  <a:pt x="1137" y="2083"/>
                </a:cubicBezTo>
                <a:cubicBezTo>
                  <a:pt x="1152" y="2083"/>
                  <a:pt x="1152" y="2083"/>
                  <a:pt x="1167" y="2068"/>
                </a:cubicBezTo>
                <a:cubicBezTo>
                  <a:pt x="1566" y="2068"/>
                  <a:pt x="1566" y="2068"/>
                  <a:pt x="1566" y="2068"/>
                </a:cubicBezTo>
                <a:cubicBezTo>
                  <a:pt x="1566" y="1935"/>
                  <a:pt x="1566" y="1935"/>
                  <a:pt x="1566" y="1935"/>
                </a:cubicBezTo>
                <a:cubicBezTo>
                  <a:pt x="1167" y="1935"/>
                  <a:pt x="1167" y="1935"/>
                  <a:pt x="1167" y="1935"/>
                </a:cubicBezTo>
                <a:cubicBezTo>
                  <a:pt x="1152" y="1921"/>
                  <a:pt x="1152" y="1921"/>
                  <a:pt x="1137" y="1921"/>
                </a:cubicBezTo>
                <a:close/>
                <a:moveTo>
                  <a:pt x="428" y="1566"/>
                </a:moveTo>
                <a:cubicBezTo>
                  <a:pt x="428" y="1566"/>
                  <a:pt x="428" y="1566"/>
                  <a:pt x="428" y="1566"/>
                </a:cubicBezTo>
                <a:cubicBezTo>
                  <a:pt x="473" y="1522"/>
                  <a:pt x="473" y="1522"/>
                  <a:pt x="473" y="1522"/>
                </a:cubicBezTo>
                <a:cubicBezTo>
                  <a:pt x="458" y="1418"/>
                  <a:pt x="458" y="1418"/>
                  <a:pt x="458" y="1418"/>
                </a:cubicBezTo>
                <a:cubicBezTo>
                  <a:pt x="502" y="1374"/>
                  <a:pt x="502" y="1374"/>
                  <a:pt x="502" y="1374"/>
                </a:cubicBezTo>
                <a:cubicBezTo>
                  <a:pt x="502" y="1300"/>
                  <a:pt x="502" y="1300"/>
                  <a:pt x="502" y="1300"/>
                </a:cubicBezTo>
                <a:cubicBezTo>
                  <a:pt x="443" y="1256"/>
                  <a:pt x="443" y="1256"/>
                  <a:pt x="443" y="1256"/>
                </a:cubicBezTo>
                <a:cubicBezTo>
                  <a:pt x="369" y="1211"/>
                  <a:pt x="369" y="1211"/>
                  <a:pt x="369" y="1211"/>
                </a:cubicBezTo>
                <a:cubicBezTo>
                  <a:pt x="310" y="1197"/>
                  <a:pt x="310" y="1197"/>
                  <a:pt x="310" y="1197"/>
                </a:cubicBezTo>
                <a:cubicBezTo>
                  <a:pt x="192" y="1152"/>
                  <a:pt x="192" y="1152"/>
                  <a:pt x="192" y="1152"/>
                </a:cubicBezTo>
                <a:cubicBezTo>
                  <a:pt x="177" y="1078"/>
                  <a:pt x="177" y="1078"/>
                  <a:pt x="177" y="1078"/>
                </a:cubicBezTo>
                <a:cubicBezTo>
                  <a:pt x="148" y="1049"/>
                  <a:pt x="148" y="1049"/>
                  <a:pt x="148" y="1049"/>
                </a:cubicBezTo>
                <a:cubicBezTo>
                  <a:pt x="104" y="960"/>
                  <a:pt x="104" y="960"/>
                  <a:pt x="104" y="960"/>
                </a:cubicBezTo>
                <a:cubicBezTo>
                  <a:pt x="89" y="945"/>
                  <a:pt x="89" y="945"/>
                  <a:pt x="89" y="945"/>
                </a:cubicBezTo>
                <a:cubicBezTo>
                  <a:pt x="89" y="931"/>
                  <a:pt x="89" y="916"/>
                  <a:pt x="89" y="916"/>
                </a:cubicBezTo>
                <a:cubicBezTo>
                  <a:pt x="89" y="798"/>
                  <a:pt x="104" y="694"/>
                  <a:pt x="148" y="606"/>
                </a:cubicBezTo>
                <a:cubicBezTo>
                  <a:pt x="133" y="635"/>
                  <a:pt x="133" y="635"/>
                  <a:pt x="133" y="635"/>
                </a:cubicBezTo>
                <a:cubicBezTo>
                  <a:pt x="222" y="591"/>
                  <a:pt x="222" y="591"/>
                  <a:pt x="222" y="591"/>
                </a:cubicBezTo>
                <a:cubicBezTo>
                  <a:pt x="296" y="546"/>
                  <a:pt x="296" y="546"/>
                  <a:pt x="296" y="546"/>
                </a:cubicBezTo>
                <a:cubicBezTo>
                  <a:pt x="325" y="473"/>
                  <a:pt x="325" y="473"/>
                  <a:pt x="325" y="473"/>
                </a:cubicBezTo>
                <a:cubicBezTo>
                  <a:pt x="384" y="369"/>
                  <a:pt x="384" y="369"/>
                  <a:pt x="384" y="369"/>
                </a:cubicBezTo>
                <a:cubicBezTo>
                  <a:pt x="340" y="325"/>
                  <a:pt x="340" y="325"/>
                  <a:pt x="340" y="325"/>
                </a:cubicBezTo>
                <a:cubicBezTo>
                  <a:pt x="310" y="354"/>
                  <a:pt x="310" y="354"/>
                  <a:pt x="310" y="354"/>
                </a:cubicBezTo>
                <a:cubicBezTo>
                  <a:pt x="458" y="192"/>
                  <a:pt x="680" y="88"/>
                  <a:pt x="901" y="88"/>
                </a:cubicBezTo>
                <a:cubicBezTo>
                  <a:pt x="931" y="88"/>
                  <a:pt x="960" y="88"/>
                  <a:pt x="975" y="88"/>
                </a:cubicBezTo>
                <a:cubicBezTo>
                  <a:pt x="945" y="133"/>
                  <a:pt x="945" y="133"/>
                  <a:pt x="945" y="133"/>
                </a:cubicBezTo>
                <a:cubicBezTo>
                  <a:pt x="945" y="207"/>
                  <a:pt x="945" y="207"/>
                  <a:pt x="945" y="207"/>
                </a:cubicBezTo>
                <a:cubicBezTo>
                  <a:pt x="901" y="221"/>
                  <a:pt x="901" y="221"/>
                  <a:pt x="901" y="221"/>
                </a:cubicBezTo>
                <a:cubicBezTo>
                  <a:pt x="827" y="236"/>
                  <a:pt x="827" y="236"/>
                  <a:pt x="827" y="236"/>
                </a:cubicBezTo>
                <a:cubicBezTo>
                  <a:pt x="739" y="340"/>
                  <a:pt x="739" y="340"/>
                  <a:pt x="739" y="340"/>
                </a:cubicBezTo>
                <a:cubicBezTo>
                  <a:pt x="768" y="369"/>
                  <a:pt x="768" y="369"/>
                  <a:pt x="768" y="369"/>
                </a:cubicBezTo>
                <a:cubicBezTo>
                  <a:pt x="783" y="399"/>
                  <a:pt x="783" y="399"/>
                  <a:pt x="783" y="399"/>
                </a:cubicBezTo>
                <a:cubicBezTo>
                  <a:pt x="709" y="428"/>
                  <a:pt x="709" y="428"/>
                  <a:pt x="709" y="428"/>
                </a:cubicBezTo>
                <a:cubicBezTo>
                  <a:pt x="680" y="443"/>
                  <a:pt x="680" y="443"/>
                  <a:pt x="680" y="443"/>
                </a:cubicBezTo>
                <a:cubicBezTo>
                  <a:pt x="680" y="384"/>
                  <a:pt x="680" y="384"/>
                  <a:pt x="680" y="384"/>
                </a:cubicBezTo>
                <a:cubicBezTo>
                  <a:pt x="620" y="399"/>
                  <a:pt x="620" y="399"/>
                  <a:pt x="620" y="399"/>
                </a:cubicBezTo>
                <a:cubicBezTo>
                  <a:pt x="576" y="487"/>
                  <a:pt x="576" y="487"/>
                  <a:pt x="576" y="487"/>
                </a:cubicBezTo>
                <a:cubicBezTo>
                  <a:pt x="635" y="487"/>
                  <a:pt x="635" y="487"/>
                  <a:pt x="635" y="487"/>
                </a:cubicBezTo>
                <a:cubicBezTo>
                  <a:pt x="665" y="487"/>
                  <a:pt x="665" y="487"/>
                  <a:pt x="665" y="487"/>
                </a:cubicBezTo>
                <a:cubicBezTo>
                  <a:pt x="650" y="591"/>
                  <a:pt x="650" y="591"/>
                  <a:pt x="650" y="591"/>
                </a:cubicBezTo>
                <a:cubicBezTo>
                  <a:pt x="576" y="591"/>
                  <a:pt x="576" y="591"/>
                  <a:pt x="576" y="591"/>
                </a:cubicBezTo>
                <a:cubicBezTo>
                  <a:pt x="561" y="709"/>
                  <a:pt x="561" y="709"/>
                  <a:pt x="561" y="709"/>
                </a:cubicBezTo>
                <a:cubicBezTo>
                  <a:pt x="606" y="753"/>
                  <a:pt x="606" y="753"/>
                  <a:pt x="606" y="753"/>
                </a:cubicBezTo>
                <a:cubicBezTo>
                  <a:pt x="753" y="768"/>
                  <a:pt x="753" y="768"/>
                  <a:pt x="753" y="768"/>
                </a:cubicBezTo>
                <a:cubicBezTo>
                  <a:pt x="798" y="694"/>
                  <a:pt x="798" y="694"/>
                  <a:pt x="798" y="694"/>
                </a:cubicBezTo>
                <a:cubicBezTo>
                  <a:pt x="886" y="694"/>
                  <a:pt x="886" y="694"/>
                  <a:pt x="886" y="694"/>
                </a:cubicBezTo>
                <a:cubicBezTo>
                  <a:pt x="901" y="650"/>
                  <a:pt x="901" y="650"/>
                  <a:pt x="901" y="650"/>
                </a:cubicBezTo>
                <a:cubicBezTo>
                  <a:pt x="945" y="650"/>
                  <a:pt x="945" y="650"/>
                  <a:pt x="945" y="650"/>
                </a:cubicBezTo>
                <a:cubicBezTo>
                  <a:pt x="960" y="606"/>
                  <a:pt x="960" y="606"/>
                  <a:pt x="960" y="606"/>
                </a:cubicBezTo>
                <a:cubicBezTo>
                  <a:pt x="990" y="620"/>
                  <a:pt x="990" y="620"/>
                  <a:pt x="990" y="620"/>
                </a:cubicBezTo>
                <a:cubicBezTo>
                  <a:pt x="990" y="650"/>
                  <a:pt x="990" y="650"/>
                  <a:pt x="990" y="650"/>
                </a:cubicBezTo>
                <a:cubicBezTo>
                  <a:pt x="945" y="665"/>
                  <a:pt x="945" y="665"/>
                  <a:pt x="945" y="665"/>
                </a:cubicBezTo>
                <a:cubicBezTo>
                  <a:pt x="990" y="709"/>
                  <a:pt x="990" y="709"/>
                  <a:pt x="990" y="709"/>
                </a:cubicBezTo>
                <a:cubicBezTo>
                  <a:pt x="1019" y="679"/>
                  <a:pt x="1019" y="679"/>
                  <a:pt x="1019" y="679"/>
                </a:cubicBezTo>
                <a:cubicBezTo>
                  <a:pt x="1064" y="650"/>
                  <a:pt x="1064" y="650"/>
                  <a:pt x="1064" y="650"/>
                </a:cubicBezTo>
                <a:cubicBezTo>
                  <a:pt x="1167" y="650"/>
                  <a:pt x="1167" y="650"/>
                  <a:pt x="1167" y="650"/>
                </a:cubicBezTo>
                <a:cubicBezTo>
                  <a:pt x="1182" y="768"/>
                  <a:pt x="1182" y="768"/>
                  <a:pt x="1182" y="768"/>
                </a:cubicBezTo>
                <a:cubicBezTo>
                  <a:pt x="1285" y="812"/>
                  <a:pt x="1285" y="812"/>
                  <a:pt x="1285" y="812"/>
                </a:cubicBezTo>
                <a:cubicBezTo>
                  <a:pt x="1359" y="886"/>
                  <a:pt x="1359" y="886"/>
                  <a:pt x="1359" y="886"/>
                </a:cubicBezTo>
                <a:cubicBezTo>
                  <a:pt x="1418" y="916"/>
                  <a:pt x="1418" y="916"/>
                  <a:pt x="1418" y="916"/>
                </a:cubicBezTo>
                <a:cubicBezTo>
                  <a:pt x="1507" y="857"/>
                  <a:pt x="1507" y="857"/>
                  <a:pt x="1507" y="857"/>
                </a:cubicBezTo>
                <a:cubicBezTo>
                  <a:pt x="1536" y="798"/>
                  <a:pt x="1536" y="798"/>
                  <a:pt x="1536" y="798"/>
                </a:cubicBezTo>
                <a:cubicBezTo>
                  <a:pt x="1580" y="768"/>
                  <a:pt x="1580" y="768"/>
                  <a:pt x="1580" y="768"/>
                </a:cubicBezTo>
                <a:cubicBezTo>
                  <a:pt x="1521" y="724"/>
                  <a:pt x="1521" y="724"/>
                  <a:pt x="1521" y="724"/>
                </a:cubicBezTo>
                <a:cubicBezTo>
                  <a:pt x="1403" y="724"/>
                  <a:pt x="1403" y="724"/>
                  <a:pt x="1403" y="724"/>
                </a:cubicBezTo>
                <a:cubicBezTo>
                  <a:pt x="1359" y="694"/>
                  <a:pt x="1359" y="694"/>
                  <a:pt x="1359" y="694"/>
                </a:cubicBezTo>
                <a:cubicBezTo>
                  <a:pt x="1329" y="650"/>
                  <a:pt x="1329" y="650"/>
                  <a:pt x="1329" y="650"/>
                </a:cubicBezTo>
                <a:cubicBezTo>
                  <a:pt x="1329" y="606"/>
                  <a:pt x="1329" y="606"/>
                  <a:pt x="1329" y="606"/>
                </a:cubicBezTo>
                <a:cubicBezTo>
                  <a:pt x="1329" y="561"/>
                  <a:pt x="1329" y="561"/>
                  <a:pt x="1329" y="561"/>
                </a:cubicBezTo>
                <a:cubicBezTo>
                  <a:pt x="1315" y="487"/>
                  <a:pt x="1315" y="487"/>
                  <a:pt x="1315" y="487"/>
                </a:cubicBezTo>
                <a:cubicBezTo>
                  <a:pt x="1270" y="428"/>
                  <a:pt x="1270" y="428"/>
                  <a:pt x="1270" y="428"/>
                </a:cubicBezTo>
                <a:cubicBezTo>
                  <a:pt x="1315" y="414"/>
                  <a:pt x="1315" y="414"/>
                  <a:pt x="1315" y="414"/>
                </a:cubicBezTo>
                <a:cubicBezTo>
                  <a:pt x="1329" y="458"/>
                  <a:pt x="1329" y="458"/>
                  <a:pt x="1329" y="458"/>
                </a:cubicBezTo>
                <a:cubicBezTo>
                  <a:pt x="1344" y="473"/>
                  <a:pt x="1344" y="473"/>
                  <a:pt x="1344" y="473"/>
                </a:cubicBezTo>
                <a:cubicBezTo>
                  <a:pt x="1374" y="532"/>
                  <a:pt x="1374" y="532"/>
                  <a:pt x="1374" y="532"/>
                </a:cubicBezTo>
                <a:cubicBezTo>
                  <a:pt x="1374" y="665"/>
                  <a:pt x="1374" y="665"/>
                  <a:pt x="1374" y="665"/>
                </a:cubicBezTo>
                <a:cubicBezTo>
                  <a:pt x="1403" y="665"/>
                  <a:pt x="1403" y="665"/>
                  <a:pt x="1403" y="665"/>
                </a:cubicBezTo>
                <a:cubicBezTo>
                  <a:pt x="1433" y="694"/>
                  <a:pt x="1433" y="694"/>
                  <a:pt x="1433" y="694"/>
                </a:cubicBezTo>
                <a:cubicBezTo>
                  <a:pt x="1477" y="709"/>
                  <a:pt x="1477" y="709"/>
                  <a:pt x="1477" y="709"/>
                </a:cubicBezTo>
                <a:cubicBezTo>
                  <a:pt x="1536" y="694"/>
                  <a:pt x="1536" y="694"/>
                  <a:pt x="1536" y="694"/>
                </a:cubicBezTo>
                <a:cubicBezTo>
                  <a:pt x="1699" y="694"/>
                  <a:pt x="1699" y="694"/>
                  <a:pt x="1699" y="694"/>
                </a:cubicBezTo>
                <a:cubicBezTo>
                  <a:pt x="1699" y="694"/>
                  <a:pt x="1699" y="694"/>
                  <a:pt x="1699" y="679"/>
                </a:cubicBezTo>
                <a:cubicBezTo>
                  <a:pt x="1713" y="753"/>
                  <a:pt x="1728" y="827"/>
                  <a:pt x="1728" y="916"/>
                </a:cubicBezTo>
                <a:cubicBezTo>
                  <a:pt x="1728" y="1359"/>
                  <a:pt x="1359" y="1729"/>
                  <a:pt x="901" y="1729"/>
                </a:cubicBezTo>
                <a:cubicBezTo>
                  <a:pt x="724" y="1729"/>
                  <a:pt x="561" y="1669"/>
                  <a:pt x="428" y="156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/>
          <a:lstStyle/>
          <a:p>
            <a:pPr algn="ctr"/>
            <a:endParaRPr lang="en-US" sz="2205">
              <a:solidFill>
                <a:srgbClr val="000000"/>
              </a:solidFill>
            </a:endParaRPr>
          </a:p>
        </p:txBody>
      </p:sp>
      <p:sp>
        <p:nvSpPr>
          <p:cNvPr id="33" name="Freeform 146">
            <a:extLst>
              <a:ext uri="{FF2B5EF4-FFF2-40B4-BE49-F238E27FC236}">
                <a16:creationId xmlns:a16="http://schemas.microsoft.com/office/drawing/2014/main" id="{7D6A3788-9E17-4E07-989E-0E5958BC1C59}"/>
              </a:ext>
            </a:extLst>
          </p:cNvPr>
          <p:cNvSpPr>
            <a:spLocks noChangeAspect="1" noEditPoints="1"/>
          </p:cNvSpPr>
          <p:nvPr/>
        </p:nvSpPr>
        <p:spPr bwMode="ltGray">
          <a:xfrm>
            <a:off x="7726823" y="3587394"/>
            <a:ext cx="705033" cy="707692"/>
          </a:xfrm>
          <a:custGeom>
            <a:avLst/>
            <a:gdLst>
              <a:gd name="T0" fmla="*/ 3768 w 4239"/>
              <a:gd name="T1" fmla="*/ 4710 h 5181"/>
              <a:gd name="T2" fmla="*/ 471 w 4239"/>
              <a:gd name="T3" fmla="*/ 4710 h 5181"/>
              <a:gd name="T4" fmla="*/ 471 w 4239"/>
              <a:gd name="T5" fmla="*/ 942 h 5181"/>
              <a:gd name="T6" fmla="*/ 942 w 4239"/>
              <a:gd name="T7" fmla="*/ 942 h 5181"/>
              <a:gd name="T8" fmla="*/ 942 w 4239"/>
              <a:gd name="T9" fmla="*/ 1648 h 5181"/>
              <a:gd name="T10" fmla="*/ 3297 w 4239"/>
              <a:gd name="T11" fmla="*/ 1648 h 5181"/>
              <a:gd name="T12" fmla="*/ 3297 w 4239"/>
              <a:gd name="T13" fmla="*/ 942 h 5181"/>
              <a:gd name="T14" fmla="*/ 3768 w 4239"/>
              <a:gd name="T15" fmla="*/ 942 h 5181"/>
              <a:gd name="T16" fmla="*/ 3768 w 4239"/>
              <a:gd name="T17" fmla="*/ 4710 h 5181"/>
              <a:gd name="T18" fmla="*/ 2119 w 4239"/>
              <a:gd name="T19" fmla="*/ 471 h 5181"/>
              <a:gd name="T20" fmla="*/ 2355 w 4239"/>
              <a:gd name="T21" fmla="*/ 706 h 5181"/>
              <a:gd name="T22" fmla="*/ 2119 w 4239"/>
              <a:gd name="T23" fmla="*/ 942 h 5181"/>
              <a:gd name="T24" fmla="*/ 1884 w 4239"/>
              <a:gd name="T25" fmla="*/ 706 h 5181"/>
              <a:gd name="T26" fmla="*/ 2119 w 4239"/>
              <a:gd name="T27" fmla="*/ 471 h 5181"/>
              <a:gd name="T28" fmla="*/ 3768 w 4239"/>
              <a:gd name="T29" fmla="*/ 471 h 5181"/>
              <a:gd name="T30" fmla="*/ 2779 w 4239"/>
              <a:gd name="T31" fmla="*/ 471 h 5181"/>
              <a:gd name="T32" fmla="*/ 2119 w 4239"/>
              <a:gd name="T33" fmla="*/ 0 h 5181"/>
              <a:gd name="T34" fmla="*/ 1460 w 4239"/>
              <a:gd name="T35" fmla="*/ 471 h 5181"/>
              <a:gd name="T36" fmla="*/ 471 w 4239"/>
              <a:gd name="T37" fmla="*/ 471 h 5181"/>
              <a:gd name="T38" fmla="*/ 0 w 4239"/>
              <a:gd name="T39" fmla="*/ 942 h 5181"/>
              <a:gd name="T40" fmla="*/ 0 w 4239"/>
              <a:gd name="T41" fmla="*/ 4710 h 5181"/>
              <a:gd name="T42" fmla="*/ 471 w 4239"/>
              <a:gd name="T43" fmla="*/ 5181 h 5181"/>
              <a:gd name="T44" fmla="*/ 3768 w 4239"/>
              <a:gd name="T45" fmla="*/ 5181 h 5181"/>
              <a:gd name="T46" fmla="*/ 4239 w 4239"/>
              <a:gd name="T47" fmla="*/ 4710 h 5181"/>
              <a:gd name="T48" fmla="*/ 4239 w 4239"/>
              <a:gd name="T49" fmla="*/ 942 h 5181"/>
              <a:gd name="T50" fmla="*/ 3768 w 4239"/>
              <a:gd name="T51" fmla="*/ 471 h 5181"/>
              <a:gd name="T52" fmla="*/ 1694 w 4239"/>
              <a:gd name="T53" fmla="*/ 2555 h 5181"/>
              <a:gd name="T54" fmla="*/ 3392 w 4239"/>
              <a:gd name="T55" fmla="*/ 2555 h 5181"/>
              <a:gd name="T56" fmla="*/ 3392 w 4239"/>
              <a:gd name="T57" fmla="*/ 2138 h 5181"/>
              <a:gd name="T58" fmla="*/ 1694 w 4239"/>
              <a:gd name="T59" fmla="*/ 2138 h 5181"/>
              <a:gd name="T60" fmla="*/ 1694 w 4239"/>
              <a:gd name="T61" fmla="*/ 2555 h 5181"/>
              <a:gd name="T62" fmla="*/ 1694 w 4239"/>
              <a:gd name="T63" fmla="*/ 4224 h 5181"/>
              <a:gd name="T64" fmla="*/ 3392 w 4239"/>
              <a:gd name="T65" fmla="*/ 4224 h 5181"/>
              <a:gd name="T66" fmla="*/ 3392 w 4239"/>
              <a:gd name="T67" fmla="*/ 3806 h 5181"/>
              <a:gd name="T68" fmla="*/ 1694 w 4239"/>
              <a:gd name="T69" fmla="*/ 3806 h 5181"/>
              <a:gd name="T70" fmla="*/ 1694 w 4239"/>
              <a:gd name="T71" fmla="*/ 4224 h 5181"/>
              <a:gd name="T72" fmla="*/ 1694 w 4239"/>
              <a:gd name="T73" fmla="*/ 3389 h 5181"/>
              <a:gd name="T74" fmla="*/ 3392 w 4239"/>
              <a:gd name="T75" fmla="*/ 3389 h 5181"/>
              <a:gd name="T76" fmla="*/ 3392 w 4239"/>
              <a:gd name="T77" fmla="*/ 2972 h 5181"/>
              <a:gd name="T78" fmla="*/ 1694 w 4239"/>
              <a:gd name="T79" fmla="*/ 2972 h 5181"/>
              <a:gd name="T80" fmla="*/ 1694 w 4239"/>
              <a:gd name="T81" fmla="*/ 3389 h 5181"/>
              <a:gd name="T82" fmla="*/ 860 w 4239"/>
              <a:gd name="T83" fmla="*/ 2555 h 5181"/>
              <a:gd name="T84" fmla="*/ 1277 w 4239"/>
              <a:gd name="T85" fmla="*/ 2555 h 5181"/>
              <a:gd name="T86" fmla="*/ 1277 w 4239"/>
              <a:gd name="T87" fmla="*/ 2138 h 5181"/>
              <a:gd name="T88" fmla="*/ 860 w 4239"/>
              <a:gd name="T89" fmla="*/ 2138 h 5181"/>
              <a:gd name="T90" fmla="*/ 860 w 4239"/>
              <a:gd name="T91" fmla="*/ 2555 h 5181"/>
              <a:gd name="T92" fmla="*/ 860 w 4239"/>
              <a:gd name="T93" fmla="*/ 4224 h 5181"/>
              <a:gd name="T94" fmla="*/ 1277 w 4239"/>
              <a:gd name="T95" fmla="*/ 4224 h 5181"/>
              <a:gd name="T96" fmla="*/ 1277 w 4239"/>
              <a:gd name="T97" fmla="*/ 3806 h 5181"/>
              <a:gd name="T98" fmla="*/ 860 w 4239"/>
              <a:gd name="T99" fmla="*/ 3806 h 5181"/>
              <a:gd name="T100" fmla="*/ 860 w 4239"/>
              <a:gd name="T101" fmla="*/ 4224 h 5181"/>
              <a:gd name="T102" fmla="*/ 860 w 4239"/>
              <a:gd name="T103" fmla="*/ 3389 h 5181"/>
              <a:gd name="T104" fmla="*/ 1277 w 4239"/>
              <a:gd name="T105" fmla="*/ 3389 h 5181"/>
              <a:gd name="T106" fmla="*/ 1277 w 4239"/>
              <a:gd name="T107" fmla="*/ 2972 h 5181"/>
              <a:gd name="T108" fmla="*/ 860 w 4239"/>
              <a:gd name="T109" fmla="*/ 2972 h 5181"/>
              <a:gd name="T110" fmla="*/ 860 w 4239"/>
              <a:gd name="T111" fmla="*/ 3389 h 51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239" h="5181">
                <a:moveTo>
                  <a:pt x="3768" y="4710"/>
                </a:moveTo>
                <a:cubicBezTo>
                  <a:pt x="471" y="4710"/>
                  <a:pt x="471" y="4710"/>
                  <a:pt x="471" y="4710"/>
                </a:cubicBezTo>
                <a:cubicBezTo>
                  <a:pt x="471" y="942"/>
                  <a:pt x="471" y="942"/>
                  <a:pt x="471" y="942"/>
                </a:cubicBezTo>
                <a:cubicBezTo>
                  <a:pt x="942" y="942"/>
                  <a:pt x="942" y="942"/>
                  <a:pt x="942" y="942"/>
                </a:cubicBezTo>
                <a:cubicBezTo>
                  <a:pt x="942" y="1648"/>
                  <a:pt x="942" y="1648"/>
                  <a:pt x="942" y="1648"/>
                </a:cubicBezTo>
                <a:cubicBezTo>
                  <a:pt x="3297" y="1648"/>
                  <a:pt x="3297" y="1648"/>
                  <a:pt x="3297" y="1648"/>
                </a:cubicBezTo>
                <a:cubicBezTo>
                  <a:pt x="3297" y="942"/>
                  <a:pt x="3297" y="942"/>
                  <a:pt x="3297" y="942"/>
                </a:cubicBezTo>
                <a:cubicBezTo>
                  <a:pt x="3768" y="942"/>
                  <a:pt x="3768" y="942"/>
                  <a:pt x="3768" y="942"/>
                </a:cubicBezTo>
                <a:lnTo>
                  <a:pt x="3768" y="4710"/>
                </a:lnTo>
                <a:close/>
                <a:moveTo>
                  <a:pt x="2119" y="471"/>
                </a:moveTo>
                <a:cubicBezTo>
                  <a:pt x="2261" y="471"/>
                  <a:pt x="2355" y="565"/>
                  <a:pt x="2355" y="706"/>
                </a:cubicBezTo>
                <a:cubicBezTo>
                  <a:pt x="2355" y="847"/>
                  <a:pt x="2261" y="942"/>
                  <a:pt x="2119" y="942"/>
                </a:cubicBezTo>
                <a:cubicBezTo>
                  <a:pt x="1978" y="942"/>
                  <a:pt x="1884" y="847"/>
                  <a:pt x="1884" y="706"/>
                </a:cubicBezTo>
                <a:cubicBezTo>
                  <a:pt x="1884" y="565"/>
                  <a:pt x="1978" y="471"/>
                  <a:pt x="2119" y="471"/>
                </a:cubicBezTo>
                <a:moveTo>
                  <a:pt x="3768" y="471"/>
                </a:moveTo>
                <a:cubicBezTo>
                  <a:pt x="2779" y="471"/>
                  <a:pt x="2779" y="471"/>
                  <a:pt x="2779" y="471"/>
                </a:cubicBezTo>
                <a:cubicBezTo>
                  <a:pt x="2684" y="188"/>
                  <a:pt x="2425" y="0"/>
                  <a:pt x="2119" y="0"/>
                </a:cubicBezTo>
                <a:cubicBezTo>
                  <a:pt x="1813" y="0"/>
                  <a:pt x="1554" y="188"/>
                  <a:pt x="1460" y="471"/>
                </a:cubicBezTo>
                <a:cubicBezTo>
                  <a:pt x="471" y="471"/>
                  <a:pt x="471" y="471"/>
                  <a:pt x="471" y="471"/>
                </a:cubicBezTo>
                <a:cubicBezTo>
                  <a:pt x="212" y="471"/>
                  <a:pt x="0" y="683"/>
                  <a:pt x="0" y="942"/>
                </a:cubicBezTo>
                <a:cubicBezTo>
                  <a:pt x="0" y="4710"/>
                  <a:pt x="0" y="4710"/>
                  <a:pt x="0" y="4710"/>
                </a:cubicBezTo>
                <a:cubicBezTo>
                  <a:pt x="0" y="4969"/>
                  <a:pt x="212" y="5181"/>
                  <a:pt x="471" y="5181"/>
                </a:cubicBezTo>
                <a:cubicBezTo>
                  <a:pt x="3768" y="5181"/>
                  <a:pt x="3768" y="5181"/>
                  <a:pt x="3768" y="5181"/>
                </a:cubicBezTo>
                <a:cubicBezTo>
                  <a:pt x="4027" y="5181"/>
                  <a:pt x="4239" y="4969"/>
                  <a:pt x="4239" y="4710"/>
                </a:cubicBezTo>
                <a:cubicBezTo>
                  <a:pt x="4239" y="942"/>
                  <a:pt x="4239" y="942"/>
                  <a:pt x="4239" y="942"/>
                </a:cubicBezTo>
                <a:cubicBezTo>
                  <a:pt x="4239" y="683"/>
                  <a:pt x="4027" y="471"/>
                  <a:pt x="3768" y="471"/>
                </a:cubicBezTo>
                <a:moveTo>
                  <a:pt x="1694" y="2555"/>
                </a:moveTo>
                <a:cubicBezTo>
                  <a:pt x="3392" y="2555"/>
                  <a:pt x="3392" y="2555"/>
                  <a:pt x="3392" y="2555"/>
                </a:cubicBezTo>
                <a:cubicBezTo>
                  <a:pt x="3392" y="2138"/>
                  <a:pt x="3392" y="2138"/>
                  <a:pt x="3392" y="2138"/>
                </a:cubicBezTo>
                <a:cubicBezTo>
                  <a:pt x="1694" y="2138"/>
                  <a:pt x="1694" y="2138"/>
                  <a:pt x="1694" y="2138"/>
                </a:cubicBezTo>
                <a:lnTo>
                  <a:pt x="1694" y="2555"/>
                </a:lnTo>
                <a:close/>
                <a:moveTo>
                  <a:pt x="1694" y="4224"/>
                </a:moveTo>
                <a:cubicBezTo>
                  <a:pt x="3392" y="4224"/>
                  <a:pt x="3392" y="4224"/>
                  <a:pt x="3392" y="4224"/>
                </a:cubicBezTo>
                <a:cubicBezTo>
                  <a:pt x="3392" y="3806"/>
                  <a:pt x="3392" y="3806"/>
                  <a:pt x="3392" y="3806"/>
                </a:cubicBezTo>
                <a:cubicBezTo>
                  <a:pt x="1694" y="3806"/>
                  <a:pt x="1694" y="3806"/>
                  <a:pt x="1694" y="3806"/>
                </a:cubicBezTo>
                <a:lnTo>
                  <a:pt x="1694" y="4224"/>
                </a:lnTo>
                <a:close/>
                <a:moveTo>
                  <a:pt x="1694" y="3389"/>
                </a:moveTo>
                <a:cubicBezTo>
                  <a:pt x="3392" y="3389"/>
                  <a:pt x="3392" y="3389"/>
                  <a:pt x="3392" y="3389"/>
                </a:cubicBezTo>
                <a:cubicBezTo>
                  <a:pt x="3392" y="2972"/>
                  <a:pt x="3392" y="2972"/>
                  <a:pt x="3392" y="2972"/>
                </a:cubicBezTo>
                <a:cubicBezTo>
                  <a:pt x="1694" y="2972"/>
                  <a:pt x="1694" y="2972"/>
                  <a:pt x="1694" y="2972"/>
                </a:cubicBezTo>
                <a:lnTo>
                  <a:pt x="1694" y="3389"/>
                </a:lnTo>
                <a:close/>
                <a:moveTo>
                  <a:pt x="860" y="2555"/>
                </a:moveTo>
                <a:cubicBezTo>
                  <a:pt x="1277" y="2555"/>
                  <a:pt x="1277" y="2555"/>
                  <a:pt x="1277" y="2555"/>
                </a:cubicBezTo>
                <a:cubicBezTo>
                  <a:pt x="1277" y="2138"/>
                  <a:pt x="1277" y="2138"/>
                  <a:pt x="1277" y="2138"/>
                </a:cubicBezTo>
                <a:cubicBezTo>
                  <a:pt x="860" y="2138"/>
                  <a:pt x="860" y="2138"/>
                  <a:pt x="860" y="2138"/>
                </a:cubicBezTo>
                <a:lnTo>
                  <a:pt x="860" y="2555"/>
                </a:lnTo>
                <a:close/>
                <a:moveTo>
                  <a:pt x="860" y="4224"/>
                </a:moveTo>
                <a:cubicBezTo>
                  <a:pt x="1277" y="4224"/>
                  <a:pt x="1277" y="4224"/>
                  <a:pt x="1277" y="4224"/>
                </a:cubicBezTo>
                <a:cubicBezTo>
                  <a:pt x="1277" y="3806"/>
                  <a:pt x="1277" y="3806"/>
                  <a:pt x="1277" y="3806"/>
                </a:cubicBezTo>
                <a:cubicBezTo>
                  <a:pt x="860" y="3806"/>
                  <a:pt x="860" y="3806"/>
                  <a:pt x="860" y="3806"/>
                </a:cubicBezTo>
                <a:lnTo>
                  <a:pt x="860" y="4224"/>
                </a:lnTo>
                <a:close/>
                <a:moveTo>
                  <a:pt x="860" y="3389"/>
                </a:moveTo>
                <a:cubicBezTo>
                  <a:pt x="1277" y="3389"/>
                  <a:pt x="1277" y="3389"/>
                  <a:pt x="1277" y="3389"/>
                </a:cubicBezTo>
                <a:cubicBezTo>
                  <a:pt x="1277" y="2972"/>
                  <a:pt x="1277" y="2972"/>
                  <a:pt x="1277" y="2972"/>
                </a:cubicBezTo>
                <a:cubicBezTo>
                  <a:pt x="860" y="2972"/>
                  <a:pt x="860" y="2972"/>
                  <a:pt x="860" y="2972"/>
                </a:cubicBezTo>
                <a:lnTo>
                  <a:pt x="860" y="3389"/>
                </a:lnTo>
                <a:close/>
              </a:path>
            </a:pathLst>
          </a:custGeom>
          <a:solidFill>
            <a:schemeClr val="tx1"/>
          </a:solidFill>
          <a:ln w="10120" cap="flat">
            <a:noFill/>
            <a:prstDash val="solid"/>
            <a:miter/>
          </a:ln>
          <a:extLst/>
        </p:spPr>
        <p:txBody>
          <a:bodyPr vert="horz" wrap="square" lIns="106926" tIns="53463" rIns="106926" bIns="53463" numCol="1" anchor="t" anchorCtr="0" compatLnSpc="1">
            <a:prstTxWarp prst="textNoShape">
              <a:avLst/>
            </a:prstTxWarp>
          </a:bodyPr>
          <a:lstStyle/>
          <a:p>
            <a:pPr defTabSz="1828635"/>
            <a:endParaRPr lang="en-US" sz="2338" dirty="0">
              <a:solidFill>
                <a:srgbClr val="281C2C"/>
              </a:solidFill>
            </a:endParaRPr>
          </a:p>
        </p:txBody>
      </p:sp>
      <p:pic>
        <p:nvPicPr>
          <p:cNvPr id="35" name="Grafikk 34" descr="Forstørrelsesglass">
            <a:extLst>
              <a:ext uri="{FF2B5EF4-FFF2-40B4-BE49-F238E27FC236}">
                <a16:creationId xmlns:a16="http://schemas.microsoft.com/office/drawing/2014/main" id="{0305D50A-9CC5-443D-A3A7-DB48A09AC1B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225788" y="3509197"/>
            <a:ext cx="914400" cy="914400"/>
          </a:xfrm>
          <a:prstGeom prst="rect">
            <a:avLst/>
          </a:prstGeom>
        </p:spPr>
      </p:pic>
      <p:sp>
        <p:nvSpPr>
          <p:cNvPr id="36" name="Freeform 4901">
            <a:extLst>
              <a:ext uri="{FF2B5EF4-FFF2-40B4-BE49-F238E27FC236}">
                <a16:creationId xmlns:a16="http://schemas.microsoft.com/office/drawing/2014/main" id="{5C4BE3D6-E906-45D6-A771-B1F8AABBCE74}"/>
              </a:ext>
            </a:extLst>
          </p:cNvPr>
          <p:cNvSpPr>
            <a:spLocks noEditPoints="1"/>
          </p:cNvSpPr>
          <p:nvPr/>
        </p:nvSpPr>
        <p:spPr bwMode="auto">
          <a:xfrm>
            <a:off x="15640547" y="3476472"/>
            <a:ext cx="657001" cy="815306"/>
          </a:xfrm>
          <a:custGeom>
            <a:avLst/>
            <a:gdLst>
              <a:gd name="T0" fmla="*/ 232 w 238"/>
              <a:gd name="T1" fmla="*/ 242 h 366"/>
              <a:gd name="T2" fmla="*/ 216 w 238"/>
              <a:gd name="T3" fmla="*/ 290 h 366"/>
              <a:gd name="T4" fmla="*/ 206 w 238"/>
              <a:gd name="T5" fmla="*/ 274 h 366"/>
              <a:gd name="T6" fmla="*/ 188 w 238"/>
              <a:gd name="T7" fmla="*/ 268 h 366"/>
              <a:gd name="T8" fmla="*/ 186 w 238"/>
              <a:gd name="T9" fmla="*/ 260 h 366"/>
              <a:gd name="T10" fmla="*/ 192 w 238"/>
              <a:gd name="T11" fmla="*/ 224 h 366"/>
              <a:gd name="T12" fmla="*/ 184 w 238"/>
              <a:gd name="T13" fmla="*/ 186 h 366"/>
              <a:gd name="T14" fmla="*/ 164 w 238"/>
              <a:gd name="T15" fmla="*/ 154 h 366"/>
              <a:gd name="T16" fmla="*/ 184 w 238"/>
              <a:gd name="T17" fmla="*/ 130 h 366"/>
              <a:gd name="T18" fmla="*/ 196 w 238"/>
              <a:gd name="T19" fmla="*/ 130 h 366"/>
              <a:gd name="T20" fmla="*/ 220 w 238"/>
              <a:gd name="T21" fmla="*/ 166 h 366"/>
              <a:gd name="T22" fmla="*/ 232 w 238"/>
              <a:gd name="T23" fmla="*/ 208 h 366"/>
              <a:gd name="T24" fmla="*/ 188 w 238"/>
              <a:gd name="T25" fmla="*/ 310 h 366"/>
              <a:gd name="T26" fmla="*/ 200 w 238"/>
              <a:gd name="T27" fmla="*/ 306 h 366"/>
              <a:gd name="T28" fmla="*/ 204 w 238"/>
              <a:gd name="T29" fmla="*/ 296 h 366"/>
              <a:gd name="T30" fmla="*/ 194 w 238"/>
              <a:gd name="T31" fmla="*/ 282 h 366"/>
              <a:gd name="T32" fmla="*/ 182 w 238"/>
              <a:gd name="T33" fmla="*/ 282 h 366"/>
              <a:gd name="T34" fmla="*/ 174 w 238"/>
              <a:gd name="T35" fmla="*/ 296 h 366"/>
              <a:gd name="T36" fmla="*/ 178 w 238"/>
              <a:gd name="T37" fmla="*/ 306 h 366"/>
              <a:gd name="T38" fmla="*/ 188 w 238"/>
              <a:gd name="T39" fmla="*/ 310 h 366"/>
              <a:gd name="T40" fmla="*/ 140 w 238"/>
              <a:gd name="T41" fmla="*/ 98 h 366"/>
              <a:gd name="T42" fmla="*/ 126 w 238"/>
              <a:gd name="T43" fmla="*/ 120 h 366"/>
              <a:gd name="T44" fmla="*/ 132 w 238"/>
              <a:gd name="T45" fmla="*/ 134 h 366"/>
              <a:gd name="T46" fmla="*/ 148 w 238"/>
              <a:gd name="T47" fmla="*/ 142 h 366"/>
              <a:gd name="T48" fmla="*/ 168 w 238"/>
              <a:gd name="T49" fmla="*/ 128 h 366"/>
              <a:gd name="T50" fmla="*/ 168 w 238"/>
              <a:gd name="T51" fmla="*/ 110 h 366"/>
              <a:gd name="T52" fmla="*/ 148 w 238"/>
              <a:gd name="T53" fmla="*/ 98 h 366"/>
              <a:gd name="T54" fmla="*/ 192 w 238"/>
              <a:gd name="T55" fmla="*/ 322 h 366"/>
              <a:gd name="T56" fmla="*/ 188 w 238"/>
              <a:gd name="T57" fmla="*/ 322 h 366"/>
              <a:gd name="T58" fmla="*/ 164 w 238"/>
              <a:gd name="T59" fmla="*/ 306 h 366"/>
              <a:gd name="T60" fmla="*/ 150 w 238"/>
              <a:gd name="T61" fmla="*/ 306 h 366"/>
              <a:gd name="T62" fmla="*/ 106 w 238"/>
              <a:gd name="T63" fmla="*/ 322 h 366"/>
              <a:gd name="T64" fmla="*/ 6 w 238"/>
              <a:gd name="T65" fmla="*/ 322 h 366"/>
              <a:gd name="T66" fmla="*/ 0 w 238"/>
              <a:gd name="T67" fmla="*/ 332 h 366"/>
              <a:gd name="T68" fmla="*/ 0 w 238"/>
              <a:gd name="T69" fmla="*/ 360 h 366"/>
              <a:gd name="T70" fmla="*/ 10 w 238"/>
              <a:gd name="T71" fmla="*/ 366 h 366"/>
              <a:gd name="T72" fmla="*/ 232 w 238"/>
              <a:gd name="T73" fmla="*/ 366 h 366"/>
              <a:gd name="T74" fmla="*/ 238 w 238"/>
              <a:gd name="T75" fmla="*/ 356 h 366"/>
              <a:gd name="T76" fmla="*/ 236 w 238"/>
              <a:gd name="T77" fmla="*/ 328 h 366"/>
              <a:gd name="T78" fmla="*/ 228 w 238"/>
              <a:gd name="T79" fmla="*/ 322 h 366"/>
              <a:gd name="T80" fmla="*/ 16 w 238"/>
              <a:gd name="T81" fmla="*/ 206 h 366"/>
              <a:gd name="T82" fmla="*/ 114 w 238"/>
              <a:gd name="T83" fmla="*/ 262 h 366"/>
              <a:gd name="T84" fmla="*/ 96 w 238"/>
              <a:gd name="T85" fmla="*/ 236 h 366"/>
              <a:gd name="T86" fmla="*/ 106 w 238"/>
              <a:gd name="T87" fmla="*/ 238 h 366"/>
              <a:gd name="T88" fmla="*/ 154 w 238"/>
              <a:gd name="T89" fmla="*/ 156 h 366"/>
              <a:gd name="T90" fmla="*/ 140 w 238"/>
              <a:gd name="T91" fmla="*/ 156 h 366"/>
              <a:gd name="T92" fmla="*/ 120 w 238"/>
              <a:gd name="T93" fmla="*/ 146 h 366"/>
              <a:gd name="T94" fmla="*/ 110 w 238"/>
              <a:gd name="T95" fmla="*/ 126 h 366"/>
              <a:gd name="T96" fmla="*/ 110 w 238"/>
              <a:gd name="T97" fmla="*/ 112 h 366"/>
              <a:gd name="T98" fmla="*/ 120 w 238"/>
              <a:gd name="T99" fmla="*/ 92 h 366"/>
              <a:gd name="T100" fmla="*/ 140 w 238"/>
              <a:gd name="T101" fmla="*/ 82 h 366"/>
              <a:gd name="T102" fmla="*/ 160 w 238"/>
              <a:gd name="T103" fmla="*/ 84 h 366"/>
              <a:gd name="T104" fmla="*/ 184 w 238"/>
              <a:gd name="T105" fmla="*/ 106 h 366"/>
              <a:gd name="T106" fmla="*/ 202 w 238"/>
              <a:gd name="T107" fmla="*/ 76 h 366"/>
              <a:gd name="T108" fmla="*/ 200 w 238"/>
              <a:gd name="T109" fmla="*/ 68 h 366"/>
              <a:gd name="T110" fmla="*/ 196 w 238"/>
              <a:gd name="T111" fmla="*/ 40 h 366"/>
              <a:gd name="T112" fmla="*/ 166 w 238"/>
              <a:gd name="T113" fmla="*/ 0 h 366"/>
              <a:gd name="T114" fmla="*/ 156 w 238"/>
              <a:gd name="T115" fmla="*/ 42 h 366"/>
              <a:gd name="T116" fmla="*/ 142 w 238"/>
              <a:gd name="T117" fmla="*/ 34 h 366"/>
              <a:gd name="T118" fmla="*/ 132 w 238"/>
              <a:gd name="T119" fmla="*/ 40 h 366"/>
              <a:gd name="T120" fmla="*/ 40 w 238"/>
              <a:gd name="T121" fmla="*/ 198 h 366"/>
              <a:gd name="T122" fmla="*/ 42 w 238"/>
              <a:gd name="T123" fmla="*/ 204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8" h="366">
                <a:moveTo>
                  <a:pt x="232" y="224"/>
                </a:moveTo>
                <a:lnTo>
                  <a:pt x="232" y="224"/>
                </a:lnTo>
                <a:lnTo>
                  <a:pt x="232" y="242"/>
                </a:lnTo>
                <a:lnTo>
                  <a:pt x="228" y="260"/>
                </a:lnTo>
                <a:lnTo>
                  <a:pt x="222" y="276"/>
                </a:lnTo>
                <a:lnTo>
                  <a:pt x="216" y="290"/>
                </a:lnTo>
                <a:lnTo>
                  <a:pt x="216" y="290"/>
                </a:lnTo>
                <a:lnTo>
                  <a:pt x="212" y="282"/>
                </a:lnTo>
                <a:lnTo>
                  <a:pt x="206" y="274"/>
                </a:lnTo>
                <a:lnTo>
                  <a:pt x="198" y="270"/>
                </a:lnTo>
                <a:lnTo>
                  <a:pt x="188" y="268"/>
                </a:lnTo>
                <a:lnTo>
                  <a:pt x="188" y="268"/>
                </a:lnTo>
                <a:lnTo>
                  <a:pt x="182" y="270"/>
                </a:lnTo>
                <a:lnTo>
                  <a:pt x="182" y="270"/>
                </a:lnTo>
                <a:lnTo>
                  <a:pt x="186" y="260"/>
                </a:lnTo>
                <a:lnTo>
                  <a:pt x="190" y="248"/>
                </a:lnTo>
                <a:lnTo>
                  <a:pt x="192" y="236"/>
                </a:lnTo>
                <a:lnTo>
                  <a:pt x="192" y="224"/>
                </a:lnTo>
                <a:lnTo>
                  <a:pt x="192" y="224"/>
                </a:lnTo>
                <a:lnTo>
                  <a:pt x="190" y="204"/>
                </a:lnTo>
                <a:lnTo>
                  <a:pt x="184" y="186"/>
                </a:lnTo>
                <a:lnTo>
                  <a:pt x="176" y="168"/>
                </a:lnTo>
                <a:lnTo>
                  <a:pt x="164" y="154"/>
                </a:lnTo>
                <a:lnTo>
                  <a:pt x="164" y="154"/>
                </a:lnTo>
                <a:lnTo>
                  <a:pt x="172" y="148"/>
                </a:lnTo>
                <a:lnTo>
                  <a:pt x="180" y="140"/>
                </a:lnTo>
                <a:lnTo>
                  <a:pt x="184" y="130"/>
                </a:lnTo>
                <a:lnTo>
                  <a:pt x="186" y="120"/>
                </a:lnTo>
                <a:lnTo>
                  <a:pt x="186" y="120"/>
                </a:lnTo>
                <a:lnTo>
                  <a:pt x="196" y="130"/>
                </a:lnTo>
                <a:lnTo>
                  <a:pt x="206" y="142"/>
                </a:lnTo>
                <a:lnTo>
                  <a:pt x="214" y="154"/>
                </a:lnTo>
                <a:lnTo>
                  <a:pt x="220" y="166"/>
                </a:lnTo>
                <a:lnTo>
                  <a:pt x="226" y="180"/>
                </a:lnTo>
                <a:lnTo>
                  <a:pt x="230" y="194"/>
                </a:lnTo>
                <a:lnTo>
                  <a:pt x="232" y="208"/>
                </a:lnTo>
                <a:lnTo>
                  <a:pt x="232" y="224"/>
                </a:lnTo>
                <a:lnTo>
                  <a:pt x="232" y="224"/>
                </a:lnTo>
                <a:close/>
                <a:moveTo>
                  <a:pt x="188" y="310"/>
                </a:moveTo>
                <a:lnTo>
                  <a:pt x="188" y="310"/>
                </a:lnTo>
                <a:lnTo>
                  <a:pt x="194" y="310"/>
                </a:lnTo>
                <a:lnTo>
                  <a:pt x="200" y="306"/>
                </a:lnTo>
                <a:lnTo>
                  <a:pt x="202" y="302"/>
                </a:lnTo>
                <a:lnTo>
                  <a:pt x="204" y="296"/>
                </a:lnTo>
                <a:lnTo>
                  <a:pt x="204" y="296"/>
                </a:lnTo>
                <a:lnTo>
                  <a:pt x="202" y="290"/>
                </a:lnTo>
                <a:lnTo>
                  <a:pt x="200" y="284"/>
                </a:lnTo>
                <a:lnTo>
                  <a:pt x="194" y="282"/>
                </a:lnTo>
                <a:lnTo>
                  <a:pt x="188" y="280"/>
                </a:lnTo>
                <a:lnTo>
                  <a:pt x="188" y="280"/>
                </a:lnTo>
                <a:lnTo>
                  <a:pt x="182" y="282"/>
                </a:lnTo>
                <a:lnTo>
                  <a:pt x="178" y="284"/>
                </a:lnTo>
                <a:lnTo>
                  <a:pt x="174" y="290"/>
                </a:lnTo>
                <a:lnTo>
                  <a:pt x="174" y="296"/>
                </a:lnTo>
                <a:lnTo>
                  <a:pt x="174" y="296"/>
                </a:lnTo>
                <a:lnTo>
                  <a:pt x="174" y="302"/>
                </a:lnTo>
                <a:lnTo>
                  <a:pt x="178" y="306"/>
                </a:lnTo>
                <a:lnTo>
                  <a:pt x="182" y="310"/>
                </a:lnTo>
                <a:lnTo>
                  <a:pt x="188" y="310"/>
                </a:lnTo>
                <a:lnTo>
                  <a:pt x="188" y="310"/>
                </a:lnTo>
                <a:close/>
                <a:moveTo>
                  <a:pt x="148" y="98"/>
                </a:moveTo>
                <a:lnTo>
                  <a:pt x="148" y="98"/>
                </a:lnTo>
                <a:lnTo>
                  <a:pt x="140" y="98"/>
                </a:lnTo>
                <a:lnTo>
                  <a:pt x="132" y="104"/>
                </a:lnTo>
                <a:lnTo>
                  <a:pt x="128" y="110"/>
                </a:lnTo>
                <a:lnTo>
                  <a:pt x="126" y="120"/>
                </a:lnTo>
                <a:lnTo>
                  <a:pt x="126" y="120"/>
                </a:lnTo>
                <a:lnTo>
                  <a:pt x="128" y="128"/>
                </a:lnTo>
                <a:lnTo>
                  <a:pt x="132" y="134"/>
                </a:lnTo>
                <a:lnTo>
                  <a:pt x="140" y="140"/>
                </a:lnTo>
                <a:lnTo>
                  <a:pt x="148" y="142"/>
                </a:lnTo>
                <a:lnTo>
                  <a:pt x="148" y="142"/>
                </a:lnTo>
                <a:lnTo>
                  <a:pt x="156" y="140"/>
                </a:lnTo>
                <a:lnTo>
                  <a:pt x="164" y="134"/>
                </a:lnTo>
                <a:lnTo>
                  <a:pt x="168" y="128"/>
                </a:lnTo>
                <a:lnTo>
                  <a:pt x="170" y="120"/>
                </a:lnTo>
                <a:lnTo>
                  <a:pt x="170" y="120"/>
                </a:lnTo>
                <a:lnTo>
                  <a:pt x="168" y="110"/>
                </a:lnTo>
                <a:lnTo>
                  <a:pt x="164" y="104"/>
                </a:lnTo>
                <a:lnTo>
                  <a:pt x="156" y="98"/>
                </a:lnTo>
                <a:lnTo>
                  <a:pt x="148" y="98"/>
                </a:lnTo>
                <a:lnTo>
                  <a:pt x="148" y="98"/>
                </a:lnTo>
                <a:close/>
                <a:moveTo>
                  <a:pt x="228" y="322"/>
                </a:moveTo>
                <a:lnTo>
                  <a:pt x="192" y="322"/>
                </a:lnTo>
                <a:lnTo>
                  <a:pt x="192" y="322"/>
                </a:lnTo>
                <a:lnTo>
                  <a:pt x="188" y="322"/>
                </a:lnTo>
                <a:lnTo>
                  <a:pt x="188" y="322"/>
                </a:lnTo>
                <a:lnTo>
                  <a:pt x="178" y="320"/>
                </a:lnTo>
                <a:lnTo>
                  <a:pt x="170" y="314"/>
                </a:lnTo>
                <a:lnTo>
                  <a:pt x="164" y="306"/>
                </a:lnTo>
                <a:lnTo>
                  <a:pt x="162" y="296"/>
                </a:lnTo>
                <a:lnTo>
                  <a:pt x="162" y="296"/>
                </a:lnTo>
                <a:lnTo>
                  <a:pt x="150" y="306"/>
                </a:lnTo>
                <a:lnTo>
                  <a:pt x="136" y="314"/>
                </a:lnTo>
                <a:lnTo>
                  <a:pt x="122" y="318"/>
                </a:lnTo>
                <a:lnTo>
                  <a:pt x="106" y="322"/>
                </a:lnTo>
                <a:lnTo>
                  <a:pt x="10" y="322"/>
                </a:lnTo>
                <a:lnTo>
                  <a:pt x="10" y="322"/>
                </a:lnTo>
                <a:lnTo>
                  <a:pt x="6" y="322"/>
                </a:lnTo>
                <a:lnTo>
                  <a:pt x="2" y="326"/>
                </a:lnTo>
                <a:lnTo>
                  <a:pt x="0" y="328"/>
                </a:lnTo>
                <a:lnTo>
                  <a:pt x="0" y="332"/>
                </a:lnTo>
                <a:lnTo>
                  <a:pt x="0" y="356"/>
                </a:lnTo>
                <a:lnTo>
                  <a:pt x="0" y="356"/>
                </a:lnTo>
                <a:lnTo>
                  <a:pt x="0" y="360"/>
                </a:lnTo>
                <a:lnTo>
                  <a:pt x="2" y="362"/>
                </a:lnTo>
                <a:lnTo>
                  <a:pt x="6" y="366"/>
                </a:lnTo>
                <a:lnTo>
                  <a:pt x="10" y="366"/>
                </a:lnTo>
                <a:lnTo>
                  <a:pt x="228" y="366"/>
                </a:lnTo>
                <a:lnTo>
                  <a:pt x="228" y="366"/>
                </a:lnTo>
                <a:lnTo>
                  <a:pt x="232" y="366"/>
                </a:lnTo>
                <a:lnTo>
                  <a:pt x="234" y="362"/>
                </a:lnTo>
                <a:lnTo>
                  <a:pt x="236" y="360"/>
                </a:lnTo>
                <a:lnTo>
                  <a:pt x="238" y="356"/>
                </a:lnTo>
                <a:lnTo>
                  <a:pt x="238" y="332"/>
                </a:lnTo>
                <a:lnTo>
                  <a:pt x="238" y="332"/>
                </a:lnTo>
                <a:lnTo>
                  <a:pt x="236" y="328"/>
                </a:lnTo>
                <a:lnTo>
                  <a:pt x="234" y="326"/>
                </a:lnTo>
                <a:lnTo>
                  <a:pt x="232" y="322"/>
                </a:lnTo>
                <a:lnTo>
                  <a:pt x="228" y="322"/>
                </a:lnTo>
                <a:lnTo>
                  <a:pt x="228" y="322"/>
                </a:lnTo>
                <a:close/>
                <a:moveTo>
                  <a:pt x="114" y="262"/>
                </a:moveTo>
                <a:lnTo>
                  <a:pt x="16" y="206"/>
                </a:lnTo>
                <a:lnTo>
                  <a:pt x="6" y="222"/>
                </a:lnTo>
                <a:lnTo>
                  <a:pt x="104" y="278"/>
                </a:lnTo>
                <a:lnTo>
                  <a:pt x="114" y="262"/>
                </a:lnTo>
                <a:close/>
                <a:moveTo>
                  <a:pt x="46" y="208"/>
                </a:moveTo>
                <a:lnTo>
                  <a:pt x="96" y="236"/>
                </a:lnTo>
                <a:lnTo>
                  <a:pt x="96" y="236"/>
                </a:lnTo>
                <a:lnTo>
                  <a:pt x="102" y="238"/>
                </a:lnTo>
                <a:lnTo>
                  <a:pt x="102" y="238"/>
                </a:lnTo>
                <a:lnTo>
                  <a:pt x="106" y="238"/>
                </a:lnTo>
                <a:lnTo>
                  <a:pt x="110" y="234"/>
                </a:lnTo>
                <a:lnTo>
                  <a:pt x="154" y="156"/>
                </a:lnTo>
                <a:lnTo>
                  <a:pt x="154" y="156"/>
                </a:lnTo>
                <a:lnTo>
                  <a:pt x="148" y="158"/>
                </a:lnTo>
                <a:lnTo>
                  <a:pt x="148" y="158"/>
                </a:lnTo>
                <a:lnTo>
                  <a:pt x="140" y="156"/>
                </a:lnTo>
                <a:lnTo>
                  <a:pt x="132" y="154"/>
                </a:lnTo>
                <a:lnTo>
                  <a:pt x="126" y="150"/>
                </a:lnTo>
                <a:lnTo>
                  <a:pt x="120" y="146"/>
                </a:lnTo>
                <a:lnTo>
                  <a:pt x="116" y="140"/>
                </a:lnTo>
                <a:lnTo>
                  <a:pt x="112" y="134"/>
                </a:lnTo>
                <a:lnTo>
                  <a:pt x="110" y="126"/>
                </a:lnTo>
                <a:lnTo>
                  <a:pt x="110" y="120"/>
                </a:lnTo>
                <a:lnTo>
                  <a:pt x="110" y="120"/>
                </a:lnTo>
                <a:lnTo>
                  <a:pt x="110" y="112"/>
                </a:lnTo>
                <a:lnTo>
                  <a:pt x="112" y="104"/>
                </a:lnTo>
                <a:lnTo>
                  <a:pt x="116" y="98"/>
                </a:lnTo>
                <a:lnTo>
                  <a:pt x="120" y="92"/>
                </a:lnTo>
                <a:lnTo>
                  <a:pt x="126" y="88"/>
                </a:lnTo>
                <a:lnTo>
                  <a:pt x="132" y="84"/>
                </a:lnTo>
                <a:lnTo>
                  <a:pt x="140" y="82"/>
                </a:lnTo>
                <a:lnTo>
                  <a:pt x="148" y="82"/>
                </a:lnTo>
                <a:lnTo>
                  <a:pt x="148" y="82"/>
                </a:lnTo>
                <a:lnTo>
                  <a:pt x="160" y="84"/>
                </a:lnTo>
                <a:lnTo>
                  <a:pt x="170" y="88"/>
                </a:lnTo>
                <a:lnTo>
                  <a:pt x="178" y="96"/>
                </a:lnTo>
                <a:lnTo>
                  <a:pt x="184" y="106"/>
                </a:lnTo>
                <a:lnTo>
                  <a:pt x="200" y="78"/>
                </a:lnTo>
                <a:lnTo>
                  <a:pt x="200" y="78"/>
                </a:lnTo>
                <a:lnTo>
                  <a:pt x="202" y="76"/>
                </a:lnTo>
                <a:lnTo>
                  <a:pt x="200" y="72"/>
                </a:lnTo>
                <a:lnTo>
                  <a:pt x="200" y="72"/>
                </a:lnTo>
                <a:lnTo>
                  <a:pt x="200" y="68"/>
                </a:lnTo>
                <a:lnTo>
                  <a:pt x="196" y="66"/>
                </a:lnTo>
                <a:lnTo>
                  <a:pt x="184" y="58"/>
                </a:lnTo>
                <a:lnTo>
                  <a:pt x="196" y="40"/>
                </a:lnTo>
                <a:lnTo>
                  <a:pt x="206" y="46"/>
                </a:lnTo>
                <a:lnTo>
                  <a:pt x="216" y="30"/>
                </a:lnTo>
                <a:lnTo>
                  <a:pt x="166" y="0"/>
                </a:lnTo>
                <a:lnTo>
                  <a:pt x="156" y="16"/>
                </a:lnTo>
                <a:lnTo>
                  <a:pt x="168" y="24"/>
                </a:lnTo>
                <a:lnTo>
                  <a:pt x="156" y="42"/>
                </a:lnTo>
                <a:lnTo>
                  <a:pt x="144" y="36"/>
                </a:lnTo>
                <a:lnTo>
                  <a:pt x="144" y="36"/>
                </a:lnTo>
                <a:lnTo>
                  <a:pt x="142" y="34"/>
                </a:lnTo>
                <a:lnTo>
                  <a:pt x="138" y="34"/>
                </a:lnTo>
                <a:lnTo>
                  <a:pt x="134" y="36"/>
                </a:lnTo>
                <a:lnTo>
                  <a:pt x="132" y="40"/>
                </a:lnTo>
                <a:lnTo>
                  <a:pt x="42" y="194"/>
                </a:lnTo>
                <a:lnTo>
                  <a:pt x="42" y="194"/>
                </a:lnTo>
                <a:lnTo>
                  <a:pt x="40" y="198"/>
                </a:lnTo>
                <a:lnTo>
                  <a:pt x="42" y="202"/>
                </a:lnTo>
                <a:lnTo>
                  <a:pt x="42" y="202"/>
                </a:lnTo>
                <a:lnTo>
                  <a:pt x="42" y="204"/>
                </a:lnTo>
                <a:lnTo>
                  <a:pt x="46" y="208"/>
                </a:lnTo>
                <a:lnTo>
                  <a:pt x="46" y="208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152380" tIns="76190" rIns="152380" bIns="76190" numCol="1" anchor="t" anchorCtr="0" compatLnSpc="1">
            <a:prstTxWarp prst="textNoShape">
              <a:avLst/>
            </a:prstTxWarp>
          </a:bodyPr>
          <a:lstStyle/>
          <a:p>
            <a:pPr defTabSz="1828635"/>
            <a:endParaRPr lang="en-GB" sz="6000" dirty="0">
              <a:solidFill>
                <a:prstClr val="white"/>
              </a:solidFill>
            </a:endParaRPr>
          </a:p>
        </p:txBody>
      </p:sp>
      <p:pic>
        <p:nvPicPr>
          <p:cNvPr id="38" name="Grafikk 37" descr="Atom">
            <a:extLst>
              <a:ext uri="{FF2B5EF4-FFF2-40B4-BE49-F238E27FC236}">
                <a16:creationId xmlns:a16="http://schemas.microsoft.com/office/drawing/2014/main" id="{054B7EDE-5EAE-4F01-859F-0BFC20A886F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8226296" y="3426925"/>
            <a:ext cx="914400" cy="914400"/>
          </a:xfrm>
          <a:prstGeom prst="rect">
            <a:avLst/>
          </a:prstGeom>
        </p:spPr>
      </p:pic>
      <p:pic>
        <p:nvPicPr>
          <p:cNvPr id="40" name="Grafikk 39" descr="Nettverk">
            <a:extLst>
              <a:ext uri="{FF2B5EF4-FFF2-40B4-BE49-F238E27FC236}">
                <a16:creationId xmlns:a16="http://schemas.microsoft.com/office/drawing/2014/main" id="{646FD71B-5FC4-41F3-A228-493FAA8329F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0880874" y="3462576"/>
            <a:ext cx="914400" cy="914400"/>
          </a:xfrm>
          <a:prstGeom prst="rect">
            <a:avLst/>
          </a:prstGeom>
        </p:spPr>
      </p:pic>
      <p:sp>
        <p:nvSpPr>
          <p:cNvPr id="41" name="Freeform 4842">
            <a:extLst>
              <a:ext uri="{FF2B5EF4-FFF2-40B4-BE49-F238E27FC236}">
                <a16:creationId xmlns:a16="http://schemas.microsoft.com/office/drawing/2014/main" id="{BCF4F994-57FF-414F-8F74-47D0498EFDE8}"/>
              </a:ext>
            </a:extLst>
          </p:cNvPr>
          <p:cNvSpPr>
            <a:spLocks noEditPoints="1"/>
          </p:cNvSpPr>
          <p:nvPr/>
        </p:nvSpPr>
        <p:spPr bwMode="auto">
          <a:xfrm>
            <a:off x="12925857" y="3587394"/>
            <a:ext cx="825614" cy="758007"/>
          </a:xfrm>
          <a:custGeom>
            <a:avLst/>
            <a:gdLst>
              <a:gd name="T0" fmla="*/ 52 w 308"/>
              <a:gd name="T1" fmla="*/ 4 h 292"/>
              <a:gd name="T2" fmla="*/ 244 w 308"/>
              <a:gd name="T3" fmla="*/ 0 h 292"/>
              <a:gd name="T4" fmla="*/ 308 w 308"/>
              <a:gd name="T5" fmla="*/ 68 h 292"/>
              <a:gd name="T6" fmla="*/ 304 w 308"/>
              <a:gd name="T7" fmla="*/ 266 h 292"/>
              <a:gd name="T8" fmla="*/ 248 w 308"/>
              <a:gd name="T9" fmla="*/ 292 h 292"/>
              <a:gd name="T10" fmla="*/ 16 w 308"/>
              <a:gd name="T11" fmla="*/ 292 h 292"/>
              <a:gd name="T12" fmla="*/ 4 w 308"/>
              <a:gd name="T13" fmla="*/ 266 h 292"/>
              <a:gd name="T14" fmla="*/ 0 w 308"/>
              <a:gd name="T15" fmla="*/ 68 h 292"/>
              <a:gd name="T16" fmla="*/ 16 w 308"/>
              <a:gd name="T17" fmla="*/ 52 h 292"/>
              <a:gd name="T18" fmla="*/ 304 w 308"/>
              <a:gd name="T19" fmla="*/ 56 h 292"/>
              <a:gd name="T20" fmla="*/ 166 w 308"/>
              <a:gd name="T21" fmla="*/ 162 h 292"/>
              <a:gd name="T22" fmla="*/ 154 w 308"/>
              <a:gd name="T23" fmla="*/ 124 h 292"/>
              <a:gd name="T24" fmla="*/ 114 w 308"/>
              <a:gd name="T25" fmla="*/ 98 h 292"/>
              <a:gd name="T26" fmla="*/ 74 w 308"/>
              <a:gd name="T27" fmla="*/ 100 h 292"/>
              <a:gd name="T28" fmla="*/ 40 w 308"/>
              <a:gd name="T29" fmla="*/ 136 h 292"/>
              <a:gd name="T30" fmla="*/ 36 w 308"/>
              <a:gd name="T31" fmla="*/ 174 h 292"/>
              <a:gd name="T32" fmla="*/ 64 w 308"/>
              <a:gd name="T33" fmla="*/ 216 h 292"/>
              <a:gd name="T34" fmla="*/ 100 w 308"/>
              <a:gd name="T35" fmla="*/ 228 h 292"/>
              <a:gd name="T36" fmla="*/ 146 w 308"/>
              <a:gd name="T37" fmla="*/ 208 h 292"/>
              <a:gd name="T38" fmla="*/ 166 w 308"/>
              <a:gd name="T39" fmla="*/ 162 h 292"/>
              <a:gd name="T40" fmla="*/ 268 w 308"/>
              <a:gd name="T41" fmla="*/ 110 h 292"/>
              <a:gd name="T42" fmla="*/ 244 w 308"/>
              <a:gd name="T43" fmla="*/ 96 h 292"/>
              <a:gd name="T44" fmla="*/ 218 w 308"/>
              <a:gd name="T45" fmla="*/ 120 h 292"/>
              <a:gd name="T46" fmla="*/ 226 w 308"/>
              <a:gd name="T47" fmla="*/ 140 h 292"/>
              <a:gd name="T48" fmla="*/ 232 w 308"/>
              <a:gd name="T49" fmla="*/ 222 h 292"/>
              <a:gd name="T50" fmla="*/ 244 w 308"/>
              <a:gd name="T51" fmla="*/ 230 h 292"/>
              <a:gd name="T52" fmla="*/ 256 w 308"/>
              <a:gd name="T53" fmla="*/ 218 h 292"/>
              <a:gd name="T54" fmla="*/ 266 w 308"/>
              <a:gd name="T55" fmla="*/ 134 h 292"/>
              <a:gd name="T56" fmla="*/ 142 w 308"/>
              <a:gd name="T57" fmla="*/ 168 h 292"/>
              <a:gd name="T58" fmla="*/ 140 w 308"/>
              <a:gd name="T59" fmla="*/ 192 h 292"/>
              <a:gd name="T60" fmla="*/ 124 w 308"/>
              <a:gd name="T61" fmla="*/ 186 h 292"/>
              <a:gd name="T62" fmla="*/ 130 w 308"/>
              <a:gd name="T63" fmla="*/ 202 h 292"/>
              <a:gd name="T64" fmla="*/ 108 w 308"/>
              <a:gd name="T65" fmla="*/ 204 h 292"/>
              <a:gd name="T66" fmla="*/ 100 w 308"/>
              <a:gd name="T67" fmla="*/ 196 h 292"/>
              <a:gd name="T68" fmla="*/ 92 w 308"/>
              <a:gd name="T69" fmla="*/ 212 h 292"/>
              <a:gd name="T70" fmla="*/ 76 w 308"/>
              <a:gd name="T71" fmla="*/ 196 h 292"/>
              <a:gd name="T72" fmla="*/ 70 w 308"/>
              <a:gd name="T73" fmla="*/ 184 h 292"/>
              <a:gd name="T74" fmla="*/ 54 w 308"/>
              <a:gd name="T75" fmla="*/ 180 h 292"/>
              <a:gd name="T76" fmla="*/ 64 w 308"/>
              <a:gd name="T77" fmla="*/ 166 h 292"/>
              <a:gd name="T78" fmla="*/ 58 w 308"/>
              <a:gd name="T79" fmla="*/ 154 h 292"/>
              <a:gd name="T80" fmla="*/ 60 w 308"/>
              <a:gd name="T81" fmla="*/ 132 h 292"/>
              <a:gd name="T82" fmla="*/ 70 w 308"/>
              <a:gd name="T83" fmla="*/ 140 h 292"/>
              <a:gd name="T84" fmla="*/ 76 w 308"/>
              <a:gd name="T85" fmla="*/ 126 h 292"/>
              <a:gd name="T86" fmla="*/ 92 w 308"/>
              <a:gd name="T87" fmla="*/ 112 h 292"/>
              <a:gd name="T88" fmla="*/ 100 w 308"/>
              <a:gd name="T89" fmla="*/ 128 h 292"/>
              <a:gd name="T90" fmla="*/ 108 w 308"/>
              <a:gd name="T91" fmla="*/ 112 h 292"/>
              <a:gd name="T92" fmla="*/ 124 w 308"/>
              <a:gd name="T93" fmla="*/ 126 h 292"/>
              <a:gd name="T94" fmla="*/ 124 w 308"/>
              <a:gd name="T95" fmla="*/ 138 h 292"/>
              <a:gd name="T96" fmla="*/ 140 w 308"/>
              <a:gd name="T97" fmla="*/ 130 h 292"/>
              <a:gd name="T98" fmla="*/ 142 w 308"/>
              <a:gd name="T99" fmla="*/ 154 h 292"/>
              <a:gd name="T100" fmla="*/ 134 w 308"/>
              <a:gd name="T101" fmla="*/ 162 h 292"/>
              <a:gd name="T102" fmla="*/ 120 w 308"/>
              <a:gd name="T103" fmla="*/ 162 h 292"/>
              <a:gd name="T104" fmla="*/ 108 w 308"/>
              <a:gd name="T105" fmla="*/ 142 h 292"/>
              <a:gd name="T106" fmla="*/ 86 w 308"/>
              <a:gd name="T107" fmla="*/ 146 h 292"/>
              <a:gd name="T108" fmla="*/ 82 w 308"/>
              <a:gd name="T109" fmla="*/ 170 h 292"/>
              <a:gd name="T110" fmla="*/ 100 w 308"/>
              <a:gd name="T111" fmla="*/ 182 h 292"/>
              <a:gd name="T112" fmla="*/ 120 w 308"/>
              <a:gd name="T113" fmla="*/ 16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8" h="292">
                <a:moveTo>
                  <a:pt x="290" y="32"/>
                </a:moveTo>
                <a:lnTo>
                  <a:pt x="18" y="32"/>
                </a:lnTo>
                <a:lnTo>
                  <a:pt x="52" y="4"/>
                </a:lnTo>
                <a:lnTo>
                  <a:pt x="52" y="4"/>
                </a:lnTo>
                <a:lnTo>
                  <a:pt x="58" y="0"/>
                </a:lnTo>
                <a:lnTo>
                  <a:pt x="64" y="0"/>
                </a:lnTo>
                <a:lnTo>
                  <a:pt x="244" y="0"/>
                </a:lnTo>
                <a:lnTo>
                  <a:pt x="244" y="0"/>
                </a:lnTo>
                <a:lnTo>
                  <a:pt x="250" y="0"/>
                </a:lnTo>
                <a:lnTo>
                  <a:pt x="256" y="4"/>
                </a:lnTo>
                <a:lnTo>
                  <a:pt x="290" y="32"/>
                </a:lnTo>
                <a:close/>
                <a:moveTo>
                  <a:pt x="308" y="68"/>
                </a:moveTo>
                <a:lnTo>
                  <a:pt x="308" y="256"/>
                </a:lnTo>
                <a:lnTo>
                  <a:pt x="308" y="256"/>
                </a:lnTo>
                <a:lnTo>
                  <a:pt x="308" y="262"/>
                </a:lnTo>
                <a:lnTo>
                  <a:pt x="304" y="266"/>
                </a:lnTo>
                <a:lnTo>
                  <a:pt x="298" y="270"/>
                </a:lnTo>
                <a:lnTo>
                  <a:pt x="292" y="272"/>
                </a:lnTo>
                <a:lnTo>
                  <a:pt x="292" y="292"/>
                </a:lnTo>
                <a:lnTo>
                  <a:pt x="248" y="292"/>
                </a:lnTo>
                <a:lnTo>
                  <a:pt x="248" y="272"/>
                </a:lnTo>
                <a:lnTo>
                  <a:pt x="60" y="272"/>
                </a:lnTo>
                <a:lnTo>
                  <a:pt x="60" y="292"/>
                </a:lnTo>
                <a:lnTo>
                  <a:pt x="16" y="292"/>
                </a:lnTo>
                <a:lnTo>
                  <a:pt x="16" y="272"/>
                </a:lnTo>
                <a:lnTo>
                  <a:pt x="16" y="272"/>
                </a:lnTo>
                <a:lnTo>
                  <a:pt x="10" y="270"/>
                </a:lnTo>
                <a:lnTo>
                  <a:pt x="4" y="266"/>
                </a:lnTo>
                <a:lnTo>
                  <a:pt x="0" y="262"/>
                </a:lnTo>
                <a:lnTo>
                  <a:pt x="0" y="256"/>
                </a:lnTo>
                <a:lnTo>
                  <a:pt x="0" y="68"/>
                </a:lnTo>
                <a:lnTo>
                  <a:pt x="0" y="68"/>
                </a:lnTo>
                <a:lnTo>
                  <a:pt x="0" y="62"/>
                </a:lnTo>
                <a:lnTo>
                  <a:pt x="4" y="56"/>
                </a:lnTo>
                <a:lnTo>
                  <a:pt x="10" y="52"/>
                </a:lnTo>
                <a:lnTo>
                  <a:pt x="16" y="52"/>
                </a:lnTo>
                <a:lnTo>
                  <a:pt x="292" y="52"/>
                </a:lnTo>
                <a:lnTo>
                  <a:pt x="292" y="52"/>
                </a:lnTo>
                <a:lnTo>
                  <a:pt x="298" y="52"/>
                </a:lnTo>
                <a:lnTo>
                  <a:pt x="304" y="56"/>
                </a:lnTo>
                <a:lnTo>
                  <a:pt x="308" y="62"/>
                </a:lnTo>
                <a:lnTo>
                  <a:pt x="308" y="68"/>
                </a:lnTo>
                <a:lnTo>
                  <a:pt x="308" y="68"/>
                </a:lnTo>
                <a:close/>
                <a:moveTo>
                  <a:pt x="166" y="162"/>
                </a:moveTo>
                <a:lnTo>
                  <a:pt x="166" y="162"/>
                </a:lnTo>
                <a:lnTo>
                  <a:pt x="164" y="148"/>
                </a:lnTo>
                <a:lnTo>
                  <a:pt x="160" y="136"/>
                </a:lnTo>
                <a:lnTo>
                  <a:pt x="154" y="124"/>
                </a:lnTo>
                <a:lnTo>
                  <a:pt x="146" y="114"/>
                </a:lnTo>
                <a:lnTo>
                  <a:pt x="136" y="106"/>
                </a:lnTo>
                <a:lnTo>
                  <a:pt x="126" y="100"/>
                </a:lnTo>
                <a:lnTo>
                  <a:pt x="114" y="98"/>
                </a:lnTo>
                <a:lnTo>
                  <a:pt x="100" y="96"/>
                </a:lnTo>
                <a:lnTo>
                  <a:pt x="100" y="96"/>
                </a:lnTo>
                <a:lnTo>
                  <a:pt x="86" y="98"/>
                </a:lnTo>
                <a:lnTo>
                  <a:pt x="74" y="100"/>
                </a:lnTo>
                <a:lnTo>
                  <a:pt x="64" y="106"/>
                </a:lnTo>
                <a:lnTo>
                  <a:pt x="54" y="114"/>
                </a:lnTo>
                <a:lnTo>
                  <a:pt x="46" y="124"/>
                </a:lnTo>
                <a:lnTo>
                  <a:pt x="40" y="136"/>
                </a:lnTo>
                <a:lnTo>
                  <a:pt x="36" y="148"/>
                </a:lnTo>
                <a:lnTo>
                  <a:pt x="34" y="162"/>
                </a:lnTo>
                <a:lnTo>
                  <a:pt x="34" y="162"/>
                </a:lnTo>
                <a:lnTo>
                  <a:pt x="36" y="174"/>
                </a:lnTo>
                <a:lnTo>
                  <a:pt x="40" y="186"/>
                </a:lnTo>
                <a:lnTo>
                  <a:pt x="46" y="198"/>
                </a:lnTo>
                <a:lnTo>
                  <a:pt x="54" y="208"/>
                </a:lnTo>
                <a:lnTo>
                  <a:pt x="64" y="216"/>
                </a:lnTo>
                <a:lnTo>
                  <a:pt x="74" y="222"/>
                </a:lnTo>
                <a:lnTo>
                  <a:pt x="86" y="226"/>
                </a:lnTo>
                <a:lnTo>
                  <a:pt x="100" y="228"/>
                </a:lnTo>
                <a:lnTo>
                  <a:pt x="100" y="228"/>
                </a:lnTo>
                <a:lnTo>
                  <a:pt x="114" y="226"/>
                </a:lnTo>
                <a:lnTo>
                  <a:pt x="126" y="222"/>
                </a:lnTo>
                <a:lnTo>
                  <a:pt x="136" y="216"/>
                </a:lnTo>
                <a:lnTo>
                  <a:pt x="146" y="208"/>
                </a:lnTo>
                <a:lnTo>
                  <a:pt x="154" y="198"/>
                </a:lnTo>
                <a:lnTo>
                  <a:pt x="160" y="186"/>
                </a:lnTo>
                <a:lnTo>
                  <a:pt x="164" y="174"/>
                </a:lnTo>
                <a:lnTo>
                  <a:pt x="166" y="162"/>
                </a:lnTo>
                <a:lnTo>
                  <a:pt x="166" y="162"/>
                </a:lnTo>
                <a:close/>
                <a:moveTo>
                  <a:pt x="270" y="120"/>
                </a:moveTo>
                <a:lnTo>
                  <a:pt x="270" y="120"/>
                </a:lnTo>
                <a:lnTo>
                  <a:pt x="268" y="110"/>
                </a:lnTo>
                <a:lnTo>
                  <a:pt x="262" y="102"/>
                </a:lnTo>
                <a:lnTo>
                  <a:pt x="254" y="98"/>
                </a:lnTo>
                <a:lnTo>
                  <a:pt x="244" y="96"/>
                </a:lnTo>
                <a:lnTo>
                  <a:pt x="244" y="96"/>
                </a:lnTo>
                <a:lnTo>
                  <a:pt x="234" y="98"/>
                </a:lnTo>
                <a:lnTo>
                  <a:pt x="226" y="102"/>
                </a:lnTo>
                <a:lnTo>
                  <a:pt x="220" y="110"/>
                </a:lnTo>
                <a:lnTo>
                  <a:pt x="218" y="120"/>
                </a:lnTo>
                <a:lnTo>
                  <a:pt x="218" y="120"/>
                </a:lnTo>
                <a:lnTo>
                  <a:pt x="220" y="128"/>
                </a:lnTo>
                <a:lnTo>
                  <a:pt x="222" y="134"/>
                </a:lnTo>
                <a:lnTo>
                  <a:pt x="226" y="140"/>
                </a:lnTo>
                <a:lnTo>
                  <a:pt x="232" y="144"/>
                </a:lnTo>
                <a:lnTo>
                  <a:pt x="232" y="218"/>
                </a:lnTo>
                <a:lnTo>
                  <a:pt x="232" y="218"/>
                </a:lnTo>
                <a:lnTo>
                  <a:pt x="232" y="222"/>
                </a:lnTo>
                <a:lnTo>
                  <a:pt x="236" y="226"/>
                </a:lnTo>
                <a:lnTo>
                  <a:pt x="240" y="228"/>
                </a:lnTo>
                <a:lnTo>
                  <a:pt x="244" y="230"/>
                </a:lnTo>
                <a:lnTo>
                  <a:pt x="244" y="230"/>
                </a:lnTo>
                <a:lnTo>
                  <a:pt x="248" y="228"/>
                </a:lnTo>
                <a:lnTo>
                  <a:pt x="252" y="226"/>
                </a:lnTo>
                <a:lnTo>
                  <a:pt x="256" y="222"/>
                </a:lnTo>
                <a:lnTo>
                  <a:pt x="256" y="218"/>
                </a:lnTo>
                <a:lnTo>
                  <a:pt x="256" y="144"/>
                </a:lnTo>
                <a:lnTo>
                  <a:pt x="256" y="144"/>
                </a:lnTo>
                <a:lnTo>
                  <a:pt x="262" y="140"/>
                </a:lnTo>
                <a:lnTo>
                  <a:pt x="266" y="134"/>
                </a:lnTo>
                <a:lnTo>
                  <a:pt x="268" y="128"/>
                </a:lnTo>
                <a:lnTo>
                  <a:pt x="270" y="120"/>
                </a:lnTo>
                <a:lnTo>
                  <a:pt x="270" y="120"/>
                </a:lnTo>
                <a:close/>
                <a:moveTo>
                  <a:pt x="142" y="168"/>
                </a:moveTo>
                <a:lnTo>
                  <a:pt x="150" y="168"/>
                </a:lnTo>
                <a:lnTo>
                  <a:pt x="150" y="168"/>
                </a:lnTo>
                <a:lnTo>
                  <a:pt x="146" y="180"/>
                </a:lnTo>
                <a:lnTo>
                  <a:pt x="140" y="192"/>
                </a:lnTo>
                <a:lnTo>
                  <a:pt x="134" y="186"/>
                </a:lnTo>
                <a:lnTo>
                  <a:pt x="134" y="186"/>
                </a:lnTo>
                <a:lnTo>
                  <a:pt x="130" y="184"/>
                </a:lnTo>
                <a:lnTo>
                  <a:pt x="124" y="186"/>
                </a:lnTo>
                <a:lnTo>
                  <a:pt x="124" y="186"/>
                </a:lnTo>
                <a:lnTo>
                  <a:pt x="122" y="190"/>
                </a:lnTo>
                <a:lnTo>
                  <a:pt x="124" y="196"/>
                </a:lnTo>
                <a:lnTo>
                  <a:pt x="130" y="202"/>
                </a:lnTo>
                <a:lnTo>
                  <a:pt x="130" y="202"/>
                </a:lnTo>
                <a:lnTo>
                  <a:pt x="120" y="208"/>
                </a:lnTo>
                <a:lnTo>
                  <a:pt x="108" y="212"/>
                </a:lnTo>
                <a:lnTo>
                  <a:pt x="108" y="204"/>
                </a:lnTo>
                <a:lnTo>
                  <a:pt x="108" y="204"/>
                </a:lnTo>
                <a:lnTo>
                  <a:pt x="106" y="198"/>
                </a:lnTo>
                <a:lnTo>
                  <a:pt x="100" y="196"/>
                </a:lnTo>
                <a:lnTo>
                  <a:pt x="100" y="196"/>
                </a:lnTo>
                <a:lnTo>
                  <a:pt x="94" y="198"/>
                </a:lnTo>
                <a:lnTo>
                  <a:pt x="92" y="204"/>
                </a:lnTo>
                <a:lnTo>
                  <a:pt x="92" y="212"/>
                </a:lnTo>
                <a:lnTo>
                  <a:pt x="92" y="212"/>
                </a:lnTo>
                <a:lnTo>
                  <a:pt x="80" y="208"/>
                </a:lnTo>
                <a:lnTo>
                  <a:pt x="70" y="202"/>
                </a:lnTo>
                <a:lnTo>
                  <a:pt x="76" y="196"/>
                </a:lnTo>
                <a:lnTo>
                  <a:pt x="76" y="196"/>
                </a:lnTo>
                <a:lnTo>
                  <a:pt x="78" y="190"/>
                </a:lnTo>
                <a:lnTo>
                  <a:pt x="76" y="186"/>
                </a:lnTo>
                <a:lnTo>
                  <a:pt x="76" y="186"/>
                </a:lnTo>
                <a:lnTo>
                  <a:pt x="70" y="184"/>
                </a:lnTo>
                <a:lnTo>
                  <a:pt x="66" y="186"/>
                </a:lnTo>
                <a:lnTo>
                  <a:pt x="60" y="192"/>
                </a:lnTo>
                <a:lnTo>
                  <a:pt x="60" y="192"/>
                </a:lnTo>
                <a:lnTo>
                  <a:pt x="54" y="180"/>
                </a:lnTo>
                <a:lnTo>
                  <a:pt x="50" y="168"/>
                </a:lnTo>
                <a:lnTo>
                  <a:pt x="58" y="168"/>
                </a:lnTo>
                <a:lnTo>
                  <a:pt x="58" y="168"/>
                </a:lnTo>
                <a:lnTo>
                  <a:pt x="64" y="166"/>
                </a:lnTo>
                <a:lnTo>
                  <a:pt x="66" y="162"/>
                </a:lnTo>
                <a:lnTo>
                  <a:pt x="66" y="162"/>
                </a:lnTo>
                <a:lnTo>
                  <a:pt x="64" y="156"/>
                </a:lnTo>
                <a:lnTo>
                  <a:pt x="58" y="154"/>
                </a:lnTo>
                <a:lnTo>
                  <a:pt x="50" y="154"/>
                </a:lnTo>
                <a:lnTo>
                  <a:pt x="50" y="154"/>
                </a:lnTo>
                <a:lnTo>
                  <a:pt x="54" y="142"/>
                </a:lnTo>
                <a:lnTo>
                  <a:pt x="60" y="132"/>
                </a:lnTo>
                <a:lnTo>
                  <a:pt x="66" y="138"/>
                </a:lnTo>
                <a:lnTo>
                  <a:pt x="66" y="138"/>
                </a:lnTo>
                <a:lnTo>
                  <a:pt x="70" y="140"/>
                </a:lnTo>
                <a:lnTo>
                  <a:pt x="70" y="140"/>
                </a:lnTo>
                <a:lnTo>
                  <a:pt x="76" y="138"/>
                </a:lnTo>
                <a:lnTo>
                  <a:pt x="76" y="138"/>
                </a:lnTo>
                <a:lnTo>
                  <a:pt x="78" y="132"/>
                </a:lnTo>
                <a:lnTo>
                  <a:pt x="76" y="126"/>
                </a:lnTo>
                <a:lnTo>
                  <a:pt x="70" y="120"/>
                </a:lnTo>
                <a:lnTo>
                  <a:pt x="70" y="120"/>
                </a:lnTo>
                <a:lnTo>
                  <a:pt x="80" y="114"/>
                </a:lnTo>
                <a:lnTo>
                  <a:pt x="92" y="112"/>
                </a:lnTo>
                <a:lnTo>
                  <a:pt x="92" y="120"/>
                </a:lnTo>
                <a:lnTo>
                  <a:pt x="92" y="120"/>
                </a:lnTo>
                <a:lnTo>
                  <a:pt x="94" y="124"/>
                </a:lnTo>
                <a:lnTo>
                  <a:pt x="100" y="128"/>
                </a:lnTo>
                <a:lnTo>
                  <a:pt x="100" y="128"/>
                </a:lnTo>
                <a:lnTo>
                  <a:pt x="106" y="124"/>
                </a:lnTo>
                <a:lnTo>
                  <a:pt x="108" y="120"/>
                </a:lnTo>
                <a:lnTo>
                  <a:pt x="108" y="112"/>
                </a:lnTo>
                <a:lnTo>
                  <a:pt x="108" y="112"/>
                </a:lnTo>
                <a:lnTo>
                  <a:pt x="120" y="114"/>
                </a:lnTo>
                <a:lnTo>
                  <a:pt x="130" y="120"/>
                </a:lnTo>
                <a:lnTo>
                  <a:pt x="124" y="126"/>
                </a:lnTo>
                <a:lnTo>
                  <a:pt x="124" y="126"/>
                </a:lnTo>
                <a:lnTo>
                  <a:pt x="122" y="132"/>
                </a:lnTo>
                <a:lnTo>
                  <a:pt x="124" y="138"/>
                </a:lnTo>
                <a:lnTo>
                  <a:pt x="124" y="138"/>
                </a:lnTo>
                <a:lnTo>
                  <a:pt x="130" y="140"/>
                </a:lnTo>
                <a:lnTo>
                  <a:pt x="130" y="140"/>
                </a:lnTo>
                <a:lnTo>
                  <a:pt x="134" y="138"/>
                </a:lnTo>
                <a:lnTo>
                  <a:pt x="140" y="130"/>
                </a:lnTo>
                <a:lnTo>
                  <a:pt x="140" y="130"/>
                </a:lnTo>
                <a:lnTo>
                  <a:pt x="146" y="142"/>
                </a:lnTo>
                <a:lnTo>
                  <a:pt x="150" y="154"/>
                </a:lnTo>
                <a:lnTo>
                  <a:pt x="142" y="154"/>
                </a:lnTo>
                <a:lnTo>
                  <a:pt x="142" y="154"/>
                </a:lnTo>
                <a:lnTo>
                  <a:pt x="136" y="156"/>
                </a:lnTo>
                <a:lnTo>
                  <a:pt x="134" y="162"/>
                </a:lnTo>
                <a:lnTo>
                  <a:pt x="134" y="162"/>
                </a:lnTo>
                <a:lnTo>
                  <a:pt x="136" y="166"/>
                </a:lnTo>
                <a:lnTo>
                  <a:pt x="142" y="168"/>
                </a:lnTo>
                <a:lnTo>
                  <a:pt x="142" y="168"/>
                </a:lnTo>
                <a:close/>
                <a:moveTo>
                  <a:pt x="120" y="162"/>
                </a:moveTo>
                <a:lnTo>
                  <a:pt x="120" y="162"/>
                </a:lnTo>
                <a:lnTo>
                  <a:pt x="118" y="154"/>
                </a:lnTo>
                <a:lnTo>
                  <a:pt x="114" y="146"/>
                </a:lnTo>
                <a:lnTo>
                  <a:pt x="108" y="142"/>
                </a:lnTo>
                <a:lnTo>
                  <a:pt x="100" y="140"/>
                </a:lnTo>
                <a:lnTo>
                  <a:pt x="100" y="140"/>
                </a:lnTo>
                <a:lnTo>
                  <a:pt x="92" y="142"/>
                </a:lnTo>
                <a:lnTo>
                  <a:pt x="86" y="146"/>
                </a:lnTo>
                <a:lnTo>
                  <a:pt x="82" y="154"/>
                </a:lnTo>
                <a:lnTo>
                  <a:pt x="80" y="162"/>
                </a:lnTo>
                <a:lnTo>
                  <a:pt x="80" y="162"/>
                </a:lnTo>
                <a:lnTo>
                  <a:pt x="82" y="170"/>
                </a:lnTo>
                <a:lnTo>
                  <a:pt x="86" y="176"/>
                </a:lnTo>
                <a:lnTo>
                  <a:pt x="92" y="180"/>
                </a:lnTo>
                <a:lnTo>
                  <a:pt x="100" y="182"/>
                </a:lnTo>
                <a:lnTo>
                  <a:pt x="100" y="182"/>
                </a:lnTo>
                <a:lnTo>
                  <a:pt x="108" y="180"/>
                </a:lnTo>
                <a:lnTo>
                  <a:pt x="114" y="176"/>
                </a:lnTo>
                <a:lnTo>
                  <a:pt x="118" y="170"/>
                </a:lnTo>
                <a:lnTo>
                  <a:pt x="120" y="162"/>
                </a:lnTo>
                <a:lnTo>
                  <a:pt x="120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57E0DA48-923E-4F81-AFCB-DC7097802580}"/>
              </a:ext>
            </a:extLst>
          </p:cNvPr>
          <p:cNvSpPr txBox="1"/>
          <p:nvPr/>
        </p:nvSpPr>
        <p:spPr>
          <a:xfrm>
            <a:off x="21787753" y="376547"/>
            <a:ext cx="2438241" cy="721682"/>
          </a:xfrm>
          <a:prstGeom prst="rect">
            <a:avLst/>
          </a:prstGeom>
          <a:noFill/>
        </p:spPr>
        <p:txBody>
          <a:bodyPr vert="horz" wrap="square" lIns="143991" tIns="143991" rIns="143991" bIns="143991" rtlCol="0">
            <a:spAutoFit/>
          </a:bodyPr>
          <a:lstStyle/>
          <a:p>
            <a:pPr algn="ctr">
              <a:spcAft>
                <a:spcPts val="2000"/>
              </a:spcAft>
            </a:pPr>
            <a:r>
              <a:rPr lang="nb-NO" sz="2800" b="1" dirty="0">
                <a:solidFill>
                  <a:srgbClr val="FF9999"/>
                </a:solidFill>
              </a:rPr>
              <a:t>UTKAST</a:t>
            </a:r>
          </a:p>
        </p:txBody>
      </p:sp>
    </p:spTree>
    <p:extLst>
      <p:ext uri="{BB962C8B-B14F-4D97-AF65-F5344CB8AC3E}">
        <p14:creationId xmlns:p14="http://schemas.microsoft.com/office/powerpoint/2010/main" val="39638198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Svært </a:t>
            </a:r>
            <a:r>
              <a:rPr lang="nb-NO" dirty="0"/>
              <a:t>lang utleveringstid for helsedata og sosioøkonomiske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de </a:t>
            </a:r>
            <a:fld id="{5751DFAA-887F-4071-8EAD-E8CA316FCF06}" type="slidenum">
              <a:rPr kumimoji="0" lang="nb-NO" sz="2000" b="0" i="0" u="none" strike="noStrike" kern="1200" cap="none" spc="0" normalizeH="0" baseline="0" noProof="0" smtClean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kstSylinder 6"/>
          <p:cNvSpPr txBox="1"/>
          <p:nvPr/>
        </p:nvSpPr>
        <p:spPr>
          <a:xfrm>
            <a:off x="1368602" y="3517539"/>
            <a:ext cx="6072104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2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 MN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jennomsnittlig utleveringstid koblede data</a:t>
            </a:r>
          </a:p>
        </p:txBody>
      </p:sp>
      <p:sp>
        <p:nvSpPr>
          <p:cNvPr id="8" name="TekstSylinder 10"/>
          <p:cNvSpPr txBox="1"/>
          <p:nvPr/>
        </p:nvSpPr>
        <p:spPr>
          <a:xfrm>
            <a:off x="1368602" y="5453353"/>
            <a:ext cx="6072103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2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MN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jennomsnittlig utleveringstid én datakilde</a:t>
            </a:r>
          </a:p>
        </p:txBody>
      </p:sp>
      <p:sp>
        <p:nvSpPr>
          <p:cNvPr id="9" name="TekstSylinder 11"/>
          <p:cNvSpPr txBox="1"/>
          <p:nvPr/>
        </p:nvSpPr>
        <p:spPr>
          <a:xfrm>
            <a:off x="1368603" y="7389167"/>
            <a:ext cx="6072102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2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8 MND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ksimal utleveringstid</a:t>
            </a:r>
          </a:p>
        </p:txBody>
      </p:sp>
      <p:sp>
        <p:nvSpPr>
          <p:cNvPr id="10" name="TekstSylinder 12"/>
          <p:cNvSpPr txBox="1"/>
          <p:nvPr/>
        </p:nvSpPr>
        <p:spPr>
          <a:xfrm>
            <a:off x="1368603" y="9324979"/>
            <a:ext cx="6072102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2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 UKER</a:t>
            </a:r>
          </a:p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ste utleveringstid</a:t>
            </a:r>
          </a:p>
        </p:txBody>
      </p:sp>
      <p:sp>
        <p:nvSpPr>
          <p:cNvPr id="11" name="Rectangle 5"/>
          <p:cNvSpPr/>
          <p:nvPr/>
        </p:nvSpPr>
        <p:spPr>
          <a:xfrm>
            <a:off x="1332603" y="2603702"/>
            <a:ext cx="6108102" cy="616324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økkeltall utleveringstid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Bil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63534" y="4065616"/>
            <a:ext cx="2086209" cy="5259363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3" name="Cloud Callout 2"/>
          <p:cNvSpPr/>
          <p:nvPr/>
        </p:nvSpPr>
        <p:spPr>
          <a:xfrm>
            <a:off x="18049462" y="6272503"/>
            <a:ext cx="4393096" cy="259850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sng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sesjon fra datatilsynet</a:t>
            </a:r>
          </a:p>
        </p:txBody>
      </p:sp>
      <p:sp>
        <p:nvSpPr>
          <p:cNvPr id="16" name="Cloud Callout 15"/>
          <p:cNvSpPr/>
          <p:nvPr/>
        </p:nvSpPr>
        <p:spPr>
          <a:xfrm>
            <a:off x="8209723" y="3037436"/>
            <a:ext cx="4393096" cy="259850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sk godkjenning</a:t>
            </a:r>
          </a:p>
        </p:txBody>
      </p:sp>
      <p:sp>
        <p:nvSpPr>
          <p:cNvPr id="17" name="Cloud Callout 16"/>
          <p:cNvSpPr/>
          <p:nvPr/>
        </p:nvSpPr>
        <p:spPr>
          <a:xfrm>
            <a:off x="17133458" y="2962595"/>
            <a:ext cx="4393096" cy="259850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ne datakilder</a:t>
            </a:r>
          </a:p>
        </p:txBody>
      </p:sp>
      <p:sp>
        <p:nvSpPr>
          <p:cNvPr id="18" name="Cloud Callout 17"/>
          <p:cNvSpPr/>
          <p:nvPr/>
        </p:nvSpPr>
        <p:spPr>
          <a:xfrm>
            <a:off x="8605571" y="7091654"/>
            <a:ext cx="4393096" cy="259850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knad til registre</a:t>
            </a:r>
          </a:p>
        </p:txBody>
      </p:sp>
      <p:sp>
        <p:nvSpPr>
          <p:cNvPr id="19" name="Cloud Callout 18"/>
          <p:cNvSpPr/>
          <p:nvPr/>
        </p:nvSpPr>
        <p:spPr>
          <a:xfrm>
            <a:off x="17635726" y="9803112"/>
            <a:ext cx="4393096" cy="259850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log med registre</a:t>
            </a:r>
          </a:p>
        </p:txBody>
      </p:sp>
      <p:sp>
        <p:nvSpPr>
          <p:cNvPr id="22" name="Cloud Callout 21"/>
          <p:cNvSpPr/>
          <p:nvPr/>
        </p:nvSpPr>
        <p:spPr>
          <a:xfrm>
            <a:off x="11856647" y="10316428"/>
            <a:ext cx="4393096" cy="2598506"/>
          </a:xfrm>
          <a:prstGeom prst="cloudCallou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ntetid på utlevering</a:t>
            </a:r>
          </a:p>
        </p:txBody>
      </p:sp>
    </p:spTree>
    <p:extLst>
      <p:ext uri="{BB962C8B-B14F-4D97-AF65-F5344CB8AC3E}">
        <p14:creationId xmlns:p14="http://schemas.microsoft.com/office/powerpoint/2010/main" val="17958473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2" name="Rett pilkobling 21">
            <a:extLst>
              <a:ext uri="{FF2B5EF4-FFF2-40B4-BE49-F238E27FC236}">
                <a16:creationId xmlns:a16="http://schemas.microsoft.com/office/drawing/2014/main" id="{50ECA749-D9CE-4F87-BB3B-50444FA76070}"/>
              </a:ext>
            </a:extLst>
          </p:cNvPr>
          <p:cNvCxnSpPr>
            <a:cxnSpLocks/>
            <a:endCxn id="279" idx="2"/>
          </p:cNvCxnSpPr>
          <p:nvPr/>
        </p:nvCxnSpPr>
        <p:spPr>
          <a:xfrm flipH="1" flipV="1">
            <a:off x="8169608" y="6937284"/>
            <a:ext cx="5407936" cy="410053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TextBox 4">
            <a:extLst>
              <a:ext uri="{FF2B5EF4-FFF2-40B4-BE49-F238E27FC236}">
                <a16:creationId xmlns:a16="http://schemas.microsoft.com/office/drawing/2014/main" id="{59161EB6-2342-479C-AD86-DABCA886503D}"/>
              </a:ext>
            </a:extLst>
          </p:cNvPr>
          <p:cNvSpPr txBox="1"/>
          <p:nvPr/>
        </p:nvSpPr>
        <p:spPr>
          <a:xfrm rot="21092637">
            <a:off x="5408487" y="4778655"/>
            <a:ext cx="4357974" cy="1533681"/>
          </a:xfrm>
          <a:prstGeom prst="rect">
            <a:avLst/>
          </a:prstGeom>
          <a:noFill/>
          <a:ln>
            <a:noFill/>
          </a:ln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2 MNOK i 2018</a:t>
            </a:r>
            <a:br>
              <a:rPr lang="nb-NO" sz="1400" b="1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til metadatautvikling</a:t>
            </a:r>
          </a:p>
        </p:txBody>
      </p:sp>
      <p:cxnSp>
        <p:nvCxnSpPr>
          <p:cNvPr id="296" name="Rett pilkobling 295">
            <a:extLst>
              <a:ext uri="{FF2B5EF4-FFF2-40B4-BE49-F238E27FC236}">
                <a16:creationId xmlns:a16="http://schemas.microsoft.com/office/drawing/2014/main" id="{9062E781-3C86-4991-A9D5-F75E30DB4F00}"/>
              </a:ext>
            </a:extLst>
          </p:cNvPr>
          <p:cNvCxnSpPr>
            <a:cxnSpLocks/>
          </p:cNvCxnSpPr>
          <p:nvPr/>
        </p:nvCxnSpPr>
        <p:spPr>
          <a:xfrm flipH="1" flipV="1">
            <a:off x="7577427" y="7513112"/>
            <a:ext cx="5592942" cy="3524709"/>
          </a:xfrm>
          <a:prstGeom prst="straightConnector1">
            <a:avLst/>
          </a:prstGeom>
          <a:ln w="3175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" name="Rektangel 1">
            <a:extLst>
              <a:ext uri="{FF2B5EF4-FFF2-40B4-BE49-F238E27FC236}">
                <a16:creationId xmlns:a16="http://schemas.microsoft.com/office/drawing/2014/main" id="{828DB0EB-3F26-4748-B375-E8C7EE94780B}"/>
              </a:ext>
            </a:extLst>
          </p:cNvPr>
          <p:cNvSpPr/>
          <p:nvPr/>
        </p:nvSpPr>
        <p:spPr>
          <a:xfrm flipV="1">
            <a:off x="55845" y="10126526"/>
            <a:ext cx="24273082" cy="2182180"/>
          </a:xfrm>
          <a:prstGeom prst="rect">
            <a:avLst/>
          </a:prstGeom>
          <a:solidFill>
            <a:srgbClr val="DEAFFE">
              <a:alpha val="3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7200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D0AE1D1A-E5E4-406E-A738-5B73C0C55D53}"/>
              </a:ext>
            </a:extLst>
          </p:cNvPr>
          <p:cNvSpPr/>
          <p:nvPr/>
        </p:nvSpPr>
        <p:spPr>
          <a:xfrm flipV="1">
            <a:off x="68180" y="1858875"/>
            <a:ext cx="24273082" cy="8207130"/>
          </a:xfrm>
          <a:prstGeom prst="rect">
            <a:avLst/>
          </a:prstGeom>
          <a:solidFill>
            <a:schemeClr val="accent6">
              <a:alpha val="18039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7200">
              <a:solidFill>
                <a:prstClr val="white"/>
              </a:solidFill>
              <a:latin typeface="Arial" panose="020B0604020202020204"/>
            </a:endParaRPr>
          </a:p>
        </p:txBody>
      </p:sp>
      <p:cxnSp>
        <p:nvCxnSpPr>
          <p:cNvPr id="209" name="Rett linje 208">
            <a:extLst>
              <a:ext uri="{FF2B5EF4-FFF2-40B4-BE49-F238E27FC236}">
                <a16:creationId xmlns:a16="http://schemas.microsoft.com/office/drawing/2014/main" id="{D991C7E8-BA92-4C1B-A3CA-F7C83569FEBF}"/>
              </a:ext>
            </a:extLst>
          </p:cNvPr>
          <p:cNvCxnSpPr>
            <a:cxnSpLocks/>
          </p:cNvCxnSpPr>
          <p:nvPr/>
        </p:nvCxnSpPr>
        <p:spPr>
          <a:xfrm flipV="1">
            <a:off x="2271432" y="3883641"/>
            <a:ext cx="0" cy="20097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Rett pilkobling 241">
            <a:extLst>
              <a:ext uri="{FF2B5EF4-FFF2-40B4-BE49-F238E27FC236}">
                <a16:creationId xmlns:a16="http://schemas.microsoft.com/office/drawing/2014/main" id="{FDC0AE96-E62C-4199-B502-48DEBE90A5D6}"/>
              </a:ext>
            </a:extLst>
          </p:cNvPr>
          <p:cNvCxnSpPr>
            <a:cxnSpLocks/>
          </p:cNvCxnSpPr>
          <p:nvPr/>
        </p:nvCxnSpPr>
        <p:spPr>
          <a:xfrm flipV="1">
            <a:off x="3241617" y="3935032"/>
            <a:ext cx="0" cy="1554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24" name="Rett linje 223">
            <a:extLst>
              <a:ext uri="{FF2B5EF4-FFF2-40B4-BE49-F238E27FC236}">
                <a16:creationId xmlns:a16="http://schemas.microsoft.com/office/drawing/2014/main" id="{76C45C01-97EC-4110-82A1-4E79566A0058}"/>
              </a:ext>
            </a:extLst>
          </p:cNvPr>
          <p:cNvCxnSpPr/>
          <p:nvPr/>
        </p:nvCxnSpPr>
        <p:spPr>
          <a:xfrm>
            <a:off x="21162218" y="3914495"/>
            <a:ext cx="0" cy="21978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Rett linje 165">
            <a:extLst>
              <a:ext uri="{FF2B5EF4-FFF2-40B4-BE49-F238E27FC236}">
                <a16:creationId xmlns:a16="http://schemas.microsoft.com/office/drawing/2014/main" id="{8E68C857-61BF-432A-9945-AF420123455D}"/>
              </a:ext>
            </a:extLst>
          </p:cNvPr>
          <p:cNvCxnSpPr>
            <a:cxnSpLocks/>
          </p:cNvCxnSpPr>
          <p:nvPr/>
        </p:nvCxnSpPr>
        <p:spPr>
          <a:xfrm>
            <a:off x="4904226" y="3840666"/>
            <a:ext cx="0" cy="1126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Rett linje 163">
            <a:extLst>
              <a:ext uri="{FF2B5EF4-FFF2-40B4-BE49-F238E27FC236}">
                <a16:creationId xmlns:a16="http://schemas.microsoft.com/office/drawing/2014/main" id="{6DC7A265-9C03-471C-B83C-614B2ED01E2C}"/>
              </a:ext>
            </a:extLst>
          </p:cNvPr>
          <p:cNvCxnSpPr>
            <a:cxnSpLocks/>
          </p:cNvCxnSpPr>
          <p:nvPr/>
        </p:nvCxnSpPr>
        <p:spPr>
          <a:xfrm>
            <a:off x="1859829" y="3707211"/>
            <a:ext cx="0" cy="1126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Rett linje 162">
            <a:extLst>
              <a:ext uri="{FF2B5EF4-FFF2-40B4-BE49-F238E27FC236}">
                <a16:creationId xmlns:a16="http://schemas.microsoft.com/office/drawing/2014/main" id="{E462B0F0-48DF-4FDD-98B0-423ACE3580F1}"/>
              </a:ext>
            </a:extLst>
          </p:cNvPr>
          <p:cNvCxnSpPr/>
          <p:nvPr/>
        </p:nvCxnSpPr>
        <p:spPr>
          <a:xfrm>
            <a:off x="21158566" y="3050584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Rett linje 155">
            <a:extLst>
              <a:ext uri="{FF2B5EF4-FFF2-40B4-BE49-F238E27FC236}">
                <a16:creationId xmlns:a16="http://schemas.microsoft.com/office/drawing/2014/main" id="{30741054-94C4-4D9D-B0E1-9F1538710B13}"/>
              </a:ext>
            </a:extLst>
          </p:cNvPr>
          <p:cNvCxnSpPr/>
          <p:nvPr/>
        </p:nvCxnSpPr>
        <p:spPr>
          <a:xfrm>
            <a:off x="2046427" y="3041799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Rett linje 156">
            <a:extLst>
              <a:ext uri="{FF2B5EF4-FFF2-40B4-BE49-F238E27FC236}">
                <a16:creationId xmlns:a16="http://schemas.microsoft.com/office/drawing/2014/main" id="{E45A7726-F562-4DF4-9C7C-1BE8BF808DB2}"/>
              </a:ext>
            </a:extLst>
          </p:cNvPr>
          <p:cNvCxnSpPr/>
          <p:nvPr/>
        </p:nvCxnSpPr>
        <p:spPr>
          <a:xfrm>
            <a:off x="4907548" y="3053002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BA3B6AE8-2A38-4016-9367-BF41852542EF}"/>
              </a:ext>
            </a:extLst>
          </p:cNvPr>
          <p:cNvCxnSpPr/>
          <p:nvPr/>
        </p:nvCxnSpPr>
        <p:spPr>
          <a:xfrm>
            <a:off x="6027199" y="2610849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Rounded Rectangle 552">
            <a:extLst>
              <a:ext uri="{FF2B5EF4-FFF2-40B4-BE49-F238E27FC236}">
                <a16:creationId xmlns:a16="http://schemas.microsoft.com/office/drawing/2014/main" id="{23A787DC-BFE8-412F-83F4-11F0C8DA0856}"/>
              </a:ext>
            </a:extLst>
          </p:cNvPr>
          <p:cNvSpPr/>
          <p:nvPr/>
        </p:nvSpPr>
        <p:spPr>
          <a:xfrm>
            <a:off x="4711530" y="2170012"/>
            <a:ext cx="2713797" cy="641392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else- og omsorgsdepartementet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9" name="Rett linje 98">
            <a:extLst>
              <a:ext uri="{FF2B5EF4-FFF2-40B4-BE49-F238E27FC236}">
                <a16:creationId xmlns:a16="http://schemas.microsoft.com/office/drawing/2014/main" id="{B21AC73A-4091-45C8-9F30-D5E158E974E0}"/>
              </a:ext>
            </a:extLst>
          </p:cNvPr>
          <p:cNvCxnSpPr>
            <a:cxnSpLocks/>
          </p:cNvCxnSpPr>
          <p:nvPr/>
        </p:nvCxnSpPr>
        <p:spPr>
          <a:xfrm>
            <a:off x="2046426" y="3041800"/>
            <a:ext cx="19112628" cy="8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ounded Rectangle 552">
            <a:extLst>
              <a:ext uri="{FF2B5EF4-FFF2-40B4-BE49-F238E27FC236}">
                <a16:creationId xmlns:a16="http://schemas.microsoft.com/office/drawing/2014/main" id="{DA8EBBA5-3DF9-400E-A1FD-A74663A6ADB0}"/>
              </a:ext>
            </a:extLst>
          </p:cNvPr>
          <p:cNvSpPr/>
          <p:nvPr/>
        </p:nvSpPr>
        <p:spPr>
          <a:xfrm>
            <a:off x="4382506" y="3438313"/>
            <a:ext cx="2092640" cy="462566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elsedirektoratet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" name="Rounded Rectangle 552">
            <a:extLst>
              <a:ext uri="{FF2B5EF4-FFF2-40B4-BE49-F238E27FC236}">
                <a16:creationId xmlns:a16="http://schemas.microsoft.com/office/drawing/2014/main" id="{0FC1781D-5615-4ADA-850D-5CAC53BA61E6}"/>
              </a:ext>
            </a:extLst>
          </p:cNvPr>
          <p:cNvSpPr/>
          <p:nvPr/>
        </p:nvSpPr>
        <p:spPr>
          <a:xfrm>
            <a:off x="19748356" y="3438314"/>
            <a:ext cx="2825948" cy="461712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Folkehelseinstituttet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0" name="Rounded Rectangle 552">
            <a:extLst>
              <a:ext uri="{FF2B5EF4-FFF2-40B4-BE49-F238E27FC236}">
                <a16:creationId xmlns:a16="http://schemas.microsoft.com/office/drawing/2014/main" id="{FDCDE926-A89A-4D87-BD76-8CA29BD4EF2E}"/>
              </a:ext>
            </a:extLst>
          </p:cNvPr>
          <p:cNvSpPr/>
          <p:nvPr/>
        </p:nvSpPr>
        <p:spPr>
          <a:xfrm>
            <a:off x="972498" y="3438313"/>
            <a:ext cx="2930227" cy="473701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Direktoratet for e-helse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5" name="Rounded Rectangle 731">
            <a:extLst>
              <a:ext uri="{FF2B5EF4-FFF2-40B4-BE49-F238E27FC236}">
                <a16:creationId xmlns:a16="http://schemas.microsoft.com/office/drawing/2014/main" id="{3BFFD78B-9B39-42F5-81C7-447D35EAA00A}"/>
              </a:ext>
            </a:extLst>
          </p:cNvPr>
          <p:cNvSpPr/>
          <p:nvPr/>
        </p:nvSpPr>
        <p:spPr>
          <a:xfrm>
            <a:off x="923995" y="4380945"/>
            <a:ext cx="1165346" cy="741528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endParaRPr lang="nb-NO" sz="18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0" name="Can 55">
            <a:extLst>
              <a:ext uri="{FF2B5EF4-FFF2-40B4-BE49-F238E27FC236}">
                <a16:creationId xmlns:a16="http://schemas.microsoft.com/office/drawing/2014/main" id="{6521E2C9-06BB-4BD5-8A0F-2E4EBC4FB1E0}"/>
              </a:ext>
            </a:extLst>
          </p:cNvPr>
          <p:cNvSpPr/>
          <p:nvPr/>
        </p:nvSpPr>
        <p:spPr>
          <a:xfrm>
            <a:off x="1013335" y="4470873"/>
            <a:ext cx="966847" cy="535091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0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Resept-</a:t>
            </a:r>
          </a:p>
          <a:p>
            <a:pPr algn="ctr" defTabSz="1827819">
              <a:defRPr/>
            </a:pPr>
            <a:r>
              <a:rPr lang="nb-NO" sz="10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formidleren</a:t>
            </a:r>
          </a:p>
        </p:txBody>
      </p:sp>
      <p:sp>
        <p:nvSpPr>
          <p:cNvPr id="154" name="Rounded Rectangle 731">
            <a:extLst>
              <a:ext uri="{FF2B5EF4-FFF2-40B4-BE49-F238E27FC236}">
                <a16:creationId xmlns:a16="http://schemas.microsoft.com/office/drawing/2014/main" id="{43662E4B-CE43-42FF-B72D-B43F8BBFEEBE}"/>
              </a:ext>
            </a:extLst>
          </p:cNvPr>
          <p:cNvSpPr/>
          <p:nvPr/>
        </p:nvSpPr>
        <p:spPr>
          <a:xfrm>
            <a:off x="19700757" y="5346390"/>
            <a:ext cx="2758540" cy="2856434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endParaRPr lang="nb-NO" sz="18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9" name="Can 55">
            <a:extLst>
              <a:ext uri="{FF2B5EF4-FFF2-40B4-BE49-F238E27FC236}">
                <a16:creationId xmlns:a16="http://schemas.microsoft.com/office/drawing/2014/main" id="{3CC81747-6A0F-46C6-8BDE-1E16A570C3C2}"/>
              </a:ext>
            </a:extLst>
          </p:cNvPr>
          <p:cNvSpPr/>
          <p:nvPr/>
        </p:nvSpPr>
        <p:spPr>
          <a:xfrm>
            <a:off x="19963573" y="558277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MFR</a:t>
            </a:r>
          </a:p>
        </p:txBody>
      </p:sp>
      <p:sp>
        <p:nvSpPr>
          <p:cNvPr id="172" name="Can 55">
            <a:extLst>
              <a:ext uri="{FF2B5EF4-FFF2-40B4-BE49-F238E27FC236}">
                <a16:creationId xmlns:a16="http://schemas.microsoft.com/office/drawing/2014/main" id="{5799D199-05C9-44C1-95DD-1A34DE1FD779}"/>
              </a:ext>
            </a:extLst>
          </p:cNvPr>
          <p:cNvSpPr/>
          <p:nvPr/>
        </p:nvSpPr>
        <p:spPr>
          <a:xfrm>
            <a:off x="21163567" y="558277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DÅR</a:t>
            </a:r>
          </a:p>
        </p:txBody>
      </p:sp>
      <p:sp>
        <p:nvSpPr>
          <p:cNvPr id="173" name="Can 55">
            <a:extLst>
              <a:ext uri="{FF2B5EF4-FFF2-40B4-BE49-F238E27FC236}">
                <a16:creationId xmlns:a16="http://schemas.microsoft.com/office/drawing/2014/main" id="{019D2451-53AE-49D2-AAC6-F3F7AAFD67B0}"/>
              </a:ext>
            </a:extLst>
          </p:cNvPr>
          <p:cNvSpPr/>
          <p:nvPr/>
        </p:nvSpPr>
        <p:spPr>
          <a:xfrm>
            <a:off x="20135000" y="603991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Abort</a:t>
            </a:r>
          </a:p>
        </p:txBody>
      </p:sp>
      <p:sp>
        <p:nvSpPr>
          <p:cNvPr id="174" name="Can 55">
            <a:extLst>
              <a:ext uri="{FF2B5EF4-FFF2-40B4-BE49-F238E27FC236}">
                <a16:creationId xmlns:a16="http://schemas.microsoft.com/office/drawing/2014/main" id="{B9E7044F-5B0F-44DD-AF14-9738C2011B0B}"/>
              </a:ext>
            </a:extLst>
          </p:cNvPr>
          <p:cNvSpPr/>
          <p:nvPr/>
        </p:nvSpPr>
        <p:spPr>
          <a:xfrm>
            <a:off x="21334993" y="603991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KR</a:t>
            </a:r>
          </a:p>
        </p:txBody>
      </p:sp>
      <p:sp>
        <p:nvSpPr>
          <p:cNvPr id="175" name="Can 55">
            <a:extLst>
              <a:ext uri="{FF2B5EF4-FFF2-40B4-BE49-F238E27FC236}">
                <a16:creationId xmlns:a16="http://schemas.microsoft.com/office/drawing/2014/main" id="{02F35F21-6262-4B96-82BC-A888449768DC}"/>
              </a:ext>
            </a:extLst>
          </p:cNvPr>
          <p:cNvSpPr/>
          <p:nvPr/>
        </p:nvSpPr>
        <p:spPr>
          <a:xfrm>
            <a:off x="19963573" y="649705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Resept</a:t>
            </a:r>
          </a:p>
        </p:txBody>
      </p:sp>
      <p:sp>
        <p:nvSpPr>
          <p:cNvPr id="176" name="Can 55">
            <a:extLst>
              <a:ext uri="{FF2B5EF4-FFF2-40B4-BE49-F238E27FC236}">
                <a16:creationId xmlns:a16="http://schemas.microsoft.com/office/drawing/2014/main" id="{BDCF29C3-547C-4A96-AE12-6360228625AD}"/>
              </a:ext>
            </a:extLst>
          </p:cNvPr>
          <p:cNvSpPr/>
          <p:nvPr/>
        </p:nvSpPr>
        <p:spPr>
          <a:xfrm>
            <a:off x="21163567" y="649705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 err="1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Sysvak</a:t>
            </a:r>
            <a:endParaRPr lang="nb-NO" sz="1200" dirty="0">
              <a:solidFill>
                <a:prstClr val="white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7" name="Can 55">
            <a:extLst>
              <a:ext uri="{FF2B5EF4-FFF2-40B4-BE49-F238E27FC236}">
                <a16:creationId xmlns:a16="http://schemas.microsoft.com/office/drawing/2014/main" id="{9EC2814D-E2FF-4A1D-8673-E75080586378}"/>
              </a:ext>
            </a:extLst>
          </p:cNvPr>
          <p:cNvSpPr/>
          <p:nvPr/>
        </p:nvSpPr>
        <p:spPr>
          <a:xfrm>
            <a:off x="20115953" y="695419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MSIS</a:t>
            </a:r>
          </a:p>
        </p:txBody>
      </p:sp>
      <p:sp>
        <p:nvSpPr>
          <p:cNvPr id="178" name="Can 55">
            <a:extLst>
              <a:ext uri="{FF2B5EF4-FFF2-40B4-BE49-F238E27FC236}">
                <a16:creationId xmlns:a16="http://schemas.microsoft.com/office/drawing/2014/main" id="{B8B53A31-BFEC-4594-B0E7-319489CA152C}"/>
              </a:ext>
            </a:extLst>
          </p:cNvPr>
          <p:cNvSpPr/>
          <p:nvPr/>
        </p:nvSpPr>
        <p:spPr>
          <a:xfrm>
            <a:off x="21315947" y="6954194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NOIS</a:t>
            </a:r>
          </a:p>
        </p:txBody>
      </p:sp>
      <p:sp>
        <p:nvSpPr>
          <p:cNvPr id="179" name="Can 55">
            <a:extLst>
              <a:ext uri="{FF2B5EF4-FFF2-40B4-BE49-F238E27FC236}">
                <a16:creationId xmlns:a16="http://schemas.microsoft.com/office/drawing/2014/main" id="{2C21A709-3A6B-4CE2-B09C-2746DE1721A8}"/>
              </a:ext>
            </a:extLst>
          </p:cNvPr>
          <p:cNvSpPr/>
          <p:nvPr/>
        </p:nvSpPr>
        <p:spPr>
          <a:xfrm>
            <a:off x="19963573" y="7392288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NORM</a:t>
            </a:r>
          </a:p>
        </p:txBody>
      </p:sp>
      <p:sp>
        <p:nvSpPr>
          <p:cNvPr id="180" name="Can 55">
            <a:extLst>
              <a:ext uri="{FF2B5EF4-FFF2-40B4-BE49-F238E27FC236}">
                <a16:creationId xmlns:a16="http://schemas.microsoft.com/office/drawing/2014/main" id="{3FDD5213-4A68-459D-AEB2-8917865B883F}"/>
              </a:ext>
            </a:extLst>
          </p:cNvPr>
          <p:cNvSpPr/>
          <p:nvPr/>
        </p:nvSpPr>
        <p:spPr>
          <a:xfrm>
            <a:off x="21163567" y="7392288"/>
            <a:ext cx="1005297" cy="529604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RAVN</a:t>
            </a:r>
          </a:p>
        </p:txBody>
      </p:sp>
      <p:sp>
        <p:nvSpPr>
          <p:cNvPr id="87" name="Title 8">
            <a:extLst>
              <a:ext uri="{FF2B5EF4-FFF2-40B4-BE49-F238E27FC236}">
                <a16:creationId xmlns:a16="http://schemas.microsoft.com/office/drawing/2014/main" id="{21B1EEB4-77B9-4210-B40C-A661B20BF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08" y="169867"/>
            <a:ext cx="23317146" cy="1673511"/>
          </a:xfrm>
        </p:spPr>
        <p:txBody>
          <a:bodyPr>
            <a:normAutofit/>
          </a:bodyPr>
          <a:lstStyle/>
          <a:p>
            <a:r>
              <a:rPr lang="nb-NO" sz="4800" dirty="0"/>
              <a:t>Organiseringen og finansieringskjedene til dagens registerfelt er </a:t>
            </a:r>
            <a:r>
              <a:rPr lang="nb-NO" sz="4800" dirty="0" smtClean="0"/>
              <a:t>komplekst!</a:t>
            </a:r>
            <a:endParaRPr lang="nb-NO" sz="4800" dirty="0">
              <a:latin typeface="+mn-lt"/>
            </a:endParaRPr>
          </a:p>
        </p:txBody>
      </p:sp>
      <p:sp>
        <p:nvSpPr>
          <p:cNvPr id="203" name="Rounded Rectangle 731">
            <a:extLst>
              <a:ext uri="{FF2B5EF4-FFF2-40B4-BE49-F238E27FC236}">
                <a16:creationId xmlns:a16="http://schemas.microsoft.com/office/drawing/2014/main" id="{FD3BE16C-8C62-44DB-9E2E-E5391F1A757C}"/>
              </a:ext>
            </a:extLst>
          </p:cNvPr>
          <p:cNvSpPr/>
          <p:nvPr/>
        </p:nvSpPr>
        <p:spPr>
          <a:xfrm>
            <a:off x="2593881" y="4344475"/>
            <a:ext cx="1408764" cy="350315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SH</a:t>
            </a:r>
          </a:p>
        </p:txBody>
      </p:sp>
      <p:sp>
        <p:nvSpPr>
          <p:cNvPr id="204" name="Rounded Rectangle 731">
            <a:extLst>
              <a:ext uri="{FF2B5EF4-FFF2-40B4-BE49-F238E27FC236}">
                <a16:creationId xmlns:a16="http://schemas.microsoft.com/office/drawing/2014/main" id="{42B0EBAC-1B99-4BAB-8038-83574063D7B6}"/>
              </a:ext>
            </a:extLst>
          </p:cNvPr>
          <p:cNvSpPr/>
          <p:nvPr/>
        </p:nvSpPr>
        <p:spPr>
          <a:xfrm>
            <a:off x="2577142" y="4840054"/>
            <a:ext cx="1408764" cy="350315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IT</a:t>
            </a:r>
          </a:p>
        </p:txBody>
      </p:sp>
      <p:sp>
        <p:nvSpPr>
          <p:cNvPr id="205" name="Rounded Rectangle 731">
            <a:extLst>
              <a:ext uri="{FF2B5EF4-FFF2-40B4-BE49-F238E27FC236}">
                <a16:creationId xmlns:a16="http://schemas.microsoft.com/office/drawing/2014/main" id="{7019933C-5C14-4FE1-88A6-1F0D820454E9}"/>
              </a:ext>
            </a:extLst>
          </p:cNvPr>
          <p:cNvSpPr/>
          <p:nvPr/>
        </p:nvSpPr>
        <p:spPr>
          <a:xfrm>
            <a:off x="2577142" y="5335636"/>
            <a:ext cx="1408764" cy="350315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FA</a:t>
            </a:r>
          </a:p>
        </p:txBody>
      </p:sp>
      <p:sp>
        <p:nvSpPr>
          <p:cNvPr id="208" name="Ellipse 207">
            <a:extLst>
              <a:ext uri="{FF2B5EF4-FFF2-40B4-BE49-F238E27FC236}">
                <a16:creationId xmlns:a16="http://schemas.microsoft.com/office/drawing/2014/main" id="{297F77C3-794B-4F75-8449-35DC772F2B0A}"/>
              </a:ext>
            </a:extLst>
          </p:cNvPr>
          <p:cNvSpPr/>
          <p:nvPr/>
        </p:nvSpPr>
        <p:spPr>
          <a:xfrm>
            <a:off x="839723" y="5623087"/>
            <a:ext cx="1703969" cy="88180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r>
              <a:rPr lang="nb-NO" sz="1200" dirty="0">
                <a:solidFill>
                  <a:srgbClr val="281C2C"/>
                </a:solidFill>
                <a:latin typeface="Arial" panose="020B0604020202020204"/>
              </a:rPr>
              <a:t>Helsedata-programmet</a:t>
            </a:r>
          </a:p>
        </p:txBody>
      </p:sp>
      <p:grpSp>
        <p:nvGrpSpPr>
          <p:cNvPr id="210" name="Gruppe 209">
            <a:extLst>
              <a:ext uri="{FF2B5EF4-FFF2-40B4-BE49-F238E27FC236}">
                <a16:creationId xmlns:a16="http://schemas.microsoft.com/office/drawing/2014/main" id="{BBAF7DA6-A2BB-475D-9DE2-49BE30F5EC7B}"/>
              </a:ext>
            </a:extLst>
          </p:cNvPr>
          <p:cNvGrpSpPr/>
          <p:nvPr/>
        </p:nvGrpSpPr>
        <p:grpSpPr>
          <a:xfrm>
            <a:off x="20638792" y="12379072"/>
            <a:ext cx="3574634" cy="1140513"/>
            <a:chOff x="20639337" y="12379431"/>
            <a:chExt cx="3574866" cy="1140587"/>
          </a:xfrm>
        </p:grpSpPr>
        <p:sp>
          <p:nvSpPr>
            <p:cNvPr id="211" name="Rektangel 1">
              <a:extLst>
                <a:ext uri="{FF2B5EF4-FFF2-40B4-BE49-F238E27FC236}">
                  <a16:creationId xmlns:a16="http://schemas.microsoft.com/office/drawing/2014/main" id="{9A86CF81-8463-4632-9FF4-F0C0843F77C1}"/>
                </a:ext>
              </a:extLst>
            </p:cNvPr>
            <p:cNvSpPr/>
            <p:nvPr/>
          </p:nvSpPr>
          <p:spPr>
            <a:xfrm>
              <a:off x="20639376" y="12904443"/>
              <a:ext cx="1925652" cy="3077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827819">
                <a:defRPr/>
              </a:pPr>
              <a:r>
                <a:rPr lang="nb-NO" sz="1400" dirty="0">
                  <a:solidFill>
                    <a:srgbClr val="281C2C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Sentrale helseregistre</a:t>
              </a:r>
            </a:p>
          </p:txBody>
        </p:sp>
        <p:sp>
          <p:nvSpPr>
            <p:cNvPr id="212" name="Rektangel 1">
              <a:extLst>
                <a:ext uri="{FF2B5EF4-FFF2-40B4-BE49-F238E27FC236}">
                  <a16:creationId xmlns:a16="http://schemas.microsoft.com/office/drawing/2014/main" id="{24D56FFF-EABE-4452-8787-FC862F39AC70}"/>
                </a:ext>
              </a:extLst>
            </p:cNvPr>
            <p:cNvSpPr/>
            <p:nvPr/>
          </p:nvSpPr>
          <p:spPr>
            <a:xfrm>
              <a:off x="20639337" y="13212221"/>
              <a:ext cx="3220963" cy="3077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827819">
                <a:defRPr/>
              </a:pPr>
              <a:r>
                <a:rPr lang="nb-NO" sz="1400" dirty="0">
                  <a:solidFill>
                    <a:srgbClr val="281C2C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Nasjonale medisinske kvalitetsregistre</a:t>
              </a:r>
            </a:p>
          </p:txBody>
        </p:sp>
        <p:sp>
          <p:nvSpPr>
            <p:cNvPr id="213" name="Can 55">
              <a:extLst>
                <a:ext uri="{FF2B5EF4-FFF2-40B4-BE49-F238E27FC236}">
                  <a16:creationId xmlns:a16="http://schemas.microsoft.com/office/drawing/2014/main" id="{979CBC57-942A-42D5-BF4D-A128103A18EE}"/>
                </a:ext>
              </a:extLst>
            </p:cNvPr>
            <p:cNvSpPr/>
            <p:nvPr/>
          </p:nvSpPr>
          <p:spPr>
            <a:xfrm>
              <a:off x="23838621" y="13212220"/>
              <a:ext cx="375582" cy="258819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endPara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4" name="Can 55">
              <a:extLst>
                <a:ext uri="{FF2B5EF4-FFF2-40B4-BE49-F238E27FC236}">
                  <a16:creationId xmlns:a16="http://schemas.microsoft.com/office/drawing/2014/main" id="{B15C4A3F-CB5D-4EA8-A28E-C8855962D2E0}"/>
                </a:ext>
              </a:extLst>
            </p:cNvPr>
            <p:cNvSpPr/>
            <p:nvPr/>
          </p:nvSpPr>
          <p:spPr>
            <a:xfrm>
              <a:off x="23838621" y="12864217"/>
              <a:ext cx="375582" cy="258819"/>
            </a:xfrm>
            <a:prstGeom prst="can">
              <a:avLst>
                <a:gd name="adj" fmla="val 19776"/>
              </a:avLst>
            </a:prstGeom>
            <a:solidFill>
              <a:schemeClr val="tx2">
                <a:lumMod val="5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endPara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5" name="Can 55">
              <a:extLst>
                <a:ext uri="{FF2B5EF4-FFF2-40B4-BE49-F238E27FC236}">
                  <a16:creationId xmlns:a16="http://schemas.microsoft.com/office/drawing/2014/main" id="{17B34C65-EC4E-4B53-8688-1E67D69C9DD8}"/>
                </a:ext>
              </a:extLst>
            </p:cNvPr>
            <p:cNvSpPr/>
            <p:nvPr/>
          </p:nvSpPr>
          <p:spPr>
            <a:xfrm>
              <a:off x="23838621" y="12516214"/>
              <a:ext cx="375582" cy="258819"/>
            </a:xfrm>
            <a:prstGeom prst="can">
              <a:avLst>
                <a:gd name="adj" fmla="val 19776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endParaRPr lang="nb-NO" sz="12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6" name="Rektangel 215">
              <a:extLst>
                <a:ext uri="{FF2B5EF4-FFF2-40B4-BE49-F238E27FC236}">
                  <a16:creationId xmlns:a16="http://schemas.microsoft.com/office/drawing/2014/main" id="{7A81379E-E4A1-44B9-8311-F9A6BB8D0C08}"/>
                </a:ext>
              </a:extLst>
            </p:cNvPr>
            <p:cNvSpPr/>
            <p:nvPr/>
          </p:nvSpPr>
          <p:spPr>
            <a:xfrm>
              <a:off x="20639383" y="12379431"/>
              <a:ext cx="1746104" cy="5232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1827819">
                <a:defRPr/>
              </a:pPr>
              <a:r>
                <a:rPr lang="nb-NO" sz="1400" dirty="0">
                  <a:solidFill>
                    <a:srgbClr val="281C2C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Befolkningsbaserte</a:t>
              </a:r>
              <a:br>
                <a:rPr lang="nb-NO" sz="1400" dirty="0">
                  <a:solidFill>
                    <a:srgbClr val="281C2C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nb-NO" sz="1400" dirty="0">
                  <a:solidFill>
                    <a:srgbClr val="281C2C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helseundersøkelser</a:t>
              </a:r>
            </a:p>
          </p:txBody>
        </p:sp>
      </p:grpSp>
      <p:sp>
        <p:nvSpPr>
          <p:cNvPr id="170" name="Rounded Rectangle 552">
            <a:extLst>
              <a:ext uri="{FF2B5EF4-FFF2-40B4-BE49-F238E27FC236}">
                <a16:creationId xmlns:a16="http://schemas.microsoft.com/office/drawing/2014/main" id="{9233B924-C570-4C14-8A34-78FF959E11EB}"/>
              </a:ext>
            </a:extLst>
          </p:cNvPr>
          <p:cNvSpPr/>
          <p:nvPr/>
        </p:nvSpPr>
        <p:spPr>
          <a:xfrm>
            <a:off x="9578492" y="11076824"/>
            <a:ext cx="2092640" cy="629881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Kreftforeningen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6" name="Rounded Rectangle 552">
            <a:extLst>
              <a:ext uri="{FF2B5EF4-FFF2-40B4-BE49-F238E27FC236}">
                <a16:creationId xmlns:a16="http://schemas.microsoft.com/office/drawing/2014/main" id="{33A0AFE6-970D-4C03-836A-44BA14408F11}"/>
              </a:ext>
            </a:extLst>
          </p:cNvPr>
          <p:cNvSpPr/>
          <p:nvPr/>
        </p:nvSpPr>
        <p:spPr>
          <a:xfrm>
            <a:off x="17477108" y="11073545"/>
            <a:ext cx="2092640" cy="629881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828187">
              <a:defRPr/>
            </a:pPr>
            <a:r>
              <a:rPr lang="nb-NO" sz="1600" dirty="0" err="1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DiFi</a:t>
            </a:r>
            <a:endParaRPr lang="nb-NO" sz="16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7" name="Rounded Rectangle 552">
            <a:extLst>
              <a:ext uri="{FF2B5EF4-FFF2-40B4-BE49-F238E27FC236}">
                <a16:creationId xmlns:a16="http://schemas.microsoft.com/office/drawing/2014/main" id="{47796875-9FEA-4F27-82A2-89CC0FADDB45}"/>
              </a:ext>
            </a:extLst>
          </p:cNvPr>
          <p:cNvSpPr/>
          <p:nvPr/>
        </p:nvSpPr>
        <p:spPr>
          <a:xfrm>
            <a:off x="3082219" y="11077046"/>
            <a:ext cx="2092640" cy="629881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Forskningsrådet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D6EA48D4-1A31-4A9D-9FBD-752484C813F2}"/>
              </a:ext>
            </a:extLst>
          </p:cNvPr>
          <p:cNvSpPr txBox="1"/>
          <p:nvPr/>
        </p:nvSpPr>
        <p:spPr>
          <a:xfrm>
            <a:off x="-371450" y="1381821"/>
            <a:ext cx="3950575" cy="2005605"/>
          </a:xfrm>
          <a:prstGeom prst="rect">
            <a:avLst/>
          </a:prstGeom>
          <a:noFill/>
        </p:spPr>
        <p:txBody>
          <a:bodyPr vert="horz" wrap="square" lIns="546064" tIns="546064" rIns="546064" bIns="546064" rtlCol="0">
            <a:spAutoFit/>
          </a:bodyPr>
          <a:lstStyle/>
          <a:p>
            <a:pPr marL="285736" indent="-285736" defTabSz="1828619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Øremerkede midler</a:t>
            </a:r>
          </a:p>
          <a:p>
            <a:pPr marL="285736" indent="-285736" defTabSz="1828619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Drift og utvikling</a:t>
            </a:r>
          </a:p>
          <a:p>
            <a:pPr defTabSz="1828619">
              <a:spcAft>
                <a:spcPts val="1000"/>
              </a:spcAft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20" name="TekstSylinder 219">
            <a:extLst>
              <a:ext uri="{FF2B5EF4-FFF2-40B4-BE49-F238E27FC236}">
                <a16:creationId xmlns:a16="http://schemas.microsoft.com/office/drawing/2014/main" id="{EBAC4396-B108-4ACF-80DD-8FF38AD2FD73}"/>
              </a:ext>
            </a:extLst>
          </p:cNvPr>
          <p:cNvSpPr txBox="1"/>
          <p:nvPr/>
        </p:nvSpPr>
        <p:spPr>
          <a:xfrm>
            <a:off x="-371450" y="9748686"/>
            <a:ext cx="3950575" cy="2436492"/>
          </a:xfrm>
          <a:prstGeom prst="rect">
            <a:avLst/>
          </a:prstGeom>
          <a:noFill/>
        </p:spPr>
        <p:txBody>
          <a:bodyPr vert="horz" wrap="square" lIns="546064" tIns="546064" rIns="546064" bIns="546064" rtlCol="0">
            <a:spAutoFit/>
          </a:bodyPr>
          <a:lstStyle/>
          <a:p>
            <a:pPr marL="285736" indent="-285736" defTabSz="1828619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Søknad om midler (prosjektfinansiering)</a:t>
            </a:r>
          </a:p>
          <a:p>
            <a:pPr marL="285736" indent="-285736" defTabSz="1828619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Støtte til forskningsprosjekter (eks. infrastruktur)</a:t>
            </a:r>
          </a:p>
          <a:p>
            <a:pPr defTabSz="1828619">
              <a:spcAft>
                <a:spcPts val="1000"/>
              </a:spcAft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 </a:t>
            </a:r>
          </a:p>
        </p:txBody>
      </p:sp>
      <p:cxnSp>
        <p:nvCxnSpPr>
          <p:cNvPr id="6" name="Rett pilkobling 5">
            <a:extLst>
              <a:ext uri="{FF2B5EF4-FFF2-40B4-BE49-F238E27FC236}">
                <a16:creationId xmlns:a16="http://schemas.microsoft.com/office/drawing/2014/main" id="{48A66D95-141C-43EE-B62F-E69B3664EDA2}"/>
              </a:ext>
            </a:extLst>
          </p:cNvPr>
          <p:cNvCxnSpPr>
            <a:cxnSpLocks/>
            <a:stCxn id="206" idx="0"/>
          </p:cNvCxnSpPr>
          <p:nvPr/>
        </p:nvCxnSpPr>
        <p:spPr>
          <a:xfrm flipV="1">
            <a:off x="18523428" y="8329558"/>
            <a:ext cx="1663652" cy="274398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1" name="Rett pilkobling 10">
            <a:extLst>
              <a:ext uri="{FF2B5EF4-FFF2-40B4-BE49-F238E27FC236}">
                <a16:creationId xmlns:a16="http://schemas.microsoft.com/office/drawing/2014/main" id="{3F4F1D4B-ECDD-4565-9D31-655AFD6BB157}"/>
              </a:ext>
            </a:extLst>
          </p:cNvPr>
          <p:cNvCxnSpPr>
            <a:cxnSpLocks/>
            <a:stCxn id="207" idx="0"/>
          </p:cNvCxnSpPr>
          <p:nvPr/>
        </p:nvCxnSpPr>
        <p:spPr>
          <a:xfrm flipH="1" flipV="1">
            <a:off x="2034835" y="6681191"/>
            <a:ext cx="2093704" cy="439585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0" name="Rett pilkobling 19">
            <a:extLst>
              <a:ext uri="{FF2B5EF4-FFF2-40B4-BE49-F238E27FC236}">
                <a16:creationId xmlns:a16="http://schemas.microsoft.com/office/drawing/2014/main" id="{84BFCF8C-75EB-4D7D-B5BF-2D226A8ABE37}"/>
              </a:ext>
            </a:extLst>
          </p:cNvPr>
          <p:cNvCxnSpPr>
            <a:cxnSpLocks/>
          </p:cNvCxnSpPr>
          <p:nvPr/>
        </p:nvCxnSpPr>
        <p:spPr>
          <a:xfrm flipH="1" flipV="1">
            <a:off x="7549056" y="7749690"/>
            <a:ext cx="3066184" cy="32881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44" name="Rett pilkobling 243">
            <a:extLst>
              <a:ext uri="{FF2B5EF4-FFF2-40B4-BE49-F238E27FC236}">
                <a16:creationId xmlns:a16="http://schemas.microsoft.com/office/drawing/2014/main" id="{8C073EAC-75A5-4B17-808C-5C5A9502C670}"/>
              </a:ext>
            </a:extLst>
          </p:cNvPr>
          <p:cNvCxnSpPr/>
          <p:nvPr/>
        </p:nvCxnSpPr>
        <p:spPr>
          <a:xfrm>
            <a:off x="5238239" y="3050334"/>
            <a:ext cx="0" cy="38581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22" name="Rett pilkobling 221">
            <a:extLst>
              <a:ext uri="{FF2B5EF4-FFF2-40B4-BE49-F238E27FC236}">
                <a16:creationId xmlns:a16="http://schemas.microsoft.com/office/drawing/2014/main" id="{CB415C20-A2F5-4230-A456-133563663E3C}"/>
              </a:ext>
            </a:extLst>
          </p:cNvPr>
          <p:cNvCxnSpPr>
            <a:cxnSpLocks/>
          </p:cNvCxnSpPr>
          <p:nvPr/>
        </p:nvCxnSpPr>
        <p:spPr>
          <a:xfrm>
            <a:off x="20792708" y="3068995"/>
            <a:ext cx="0" cy="337034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80" name="Rett pilkobling 279">
            <a:extLst>
              <a:ext uri="{FF2B5EF4-FFF2-40B4-BE49-F238E27FC236}">
                <a16:creationId xmlns:a16="http://schemas.microsoft.com/office/drawing/2014/main" id="{82081AF2-FBD0-407F-BBCF-C5C35DBEFF56}"/>
              </a:ext>
            </a:extLst>
          </p:cNvPr>
          <p:cNvCxnSpPr/>
          <p:nvPr/>
        </p:nvCxnSpPr>
        <p:spPr>
          <a:xfrm>
            <a:off x="20811367" y="3929253"/>
            <a:ext cx="0" cy="134793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82" name="Rett pilkobling 281">
            <a:extLst>
              <a:ext uri="{FF2B5EF4-FFF2-40B4-BE49-F238E27FC236}">
                <a16:creationId xmlns:a16="http://schemas.microsoft.com/office/drawing/2014/main" id="{21D5C20C-2134-43FB-A6CB-94CC3924A247}"/>
              </a:ext>
            </a:extLst>
          </p:cNvPr>
          <p:cNvCxnSpPr/>
          <p:nvPr/>
        </p:nvCxnSpPr>
        <p:spPr>
          <a:xfrm>
            <a:off x="5238239" y="3961375"/>
            <a:ext cx="0" cy="41520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51" name="Rett pilkobling 350">
            <a:extLst>
              <a:ext uri="{FF2B5EF4-FFF2-40B4-BE49-F238E27FC236}">
                <a16:creationId xmlns:a16="http://schemas.microsoft.com/office/drawing/2014/main" id="{6369C99E-D59B-4B24-955E-C0C1D86691E4}"/>
              </a:ext>
            </a:extLst>
          </p:cNvPr>
          <p:cNvCxnSpPr>
            <a:cxnSpLocks/>
          </p:cNvCxnSpPr>
          <p:nvPr/>
        </p:nvCxnSpPr>
        <p:spPr>
          <a:xfrm>
            <a:off x="2192235" y="3057164"/>
            <a:ext cx="0" cy="33020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026" name="Picture 2" descr="Image result for dollartegn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305" y="2224600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9770985" y="9720791"/>
            <a:ext cx="3267317" cy="1533681"/>
          </a:xfrm>
          <a:prstGeom prst="rect">
            <a:avLst/>
          </a:prstGeom>
          <a:noFill/>
          <a:ln>
            <a:noFill/>
          </a:ln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15 millioner kroner</a:t>
            </a:r>
            <a:br>
              <a:rPr lang="nb-NO" sz="1400" b="1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fordelt på tre prosjekter</a:t>
            </a:r>
          </a:p>
        </p:txBody>
      </p:sp>
      <p:pic>
        <p:nvPicPr>
          <p:cNvPr id="181" name="Picture 2" descr="Image result for dollartegn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845" y="10230497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6" name="TextBox 185"/>
          <p:cNvSpPr txBox="1"/>
          <p:nvPr/>
        </p:nvSpPr>
        <p:spPr>
          <a:xfrm>
            <a:off x="2617542" y="7456048"/>
            <a:ext cx="3267317" cy="1749124"/>
          </a:xfrm>
          <a:prstGeom prst="rect">
            <a:avLst/>
          </a:prstGeom>
          <a:noFill/>
          <a:ln>
            <a:noFill/>
          </a:ln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50 millioner kroner</a:t>
            </a:r>
            <a:br>
              <a:rPr lang="nb-NO" sz="1400" b="1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tilsammen 150 millioner kroner fordelt på 3 år</a:t>
            </a:r>
          </a:p>
        </p:txBody>
      </p:sp>
      <p:pic>
        <p:nvPicPr>
          <p:cNvPr id="188" name="Picture 2" descr="Image result for dollartegn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2271" y="8002304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" name="Picture 2" descr="Image result for dollartegn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4003" y="4038852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6" name="Picture 2" descr="Image result for dollartegn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823" y="3933187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2" descr="Image result for dollartegn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4944" y="10287002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Rett pilkobling 7">
            <a:extLst>
              <a:ext uri="{FF2B5EF4-FFF2-40B4-BE49-F238E27FC236}">
                <a16:creationId xmlns:a16="http://schemas.microsoft.com/office/drawing/2014/main" id="{29FA7B2D-A7B8-4BC8-8DFE-0E4DB877BD4A}"/>
              </a:ext>
            </a:extLst>
          </p:cNvPr>
          <p:cNvCxnSpPr/>
          <p:nvPr/>
        </p:nvCxnSpPr>
        <p:spPr>
          <a:xfrm>
            <a:off x="1688390" y="6531419"/>
            <a:ext cx="0" cy="2901627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D6D41843-E9B0-4F77-A907-5DB52554B94D}"/>
              </a:ext>
            </a:extLst>
          </p:cNvPr>
          <p:cNvCxnSpPr>
            <a:cxnSpLocks/>
          </p:cNvCxnSpPr>
          <p:nvPr/>
        </p:nvCxnSpPr>
        <p:spPr>
          <a:xfrm>
            <a:off x="1688391" y="9452096"/>
            <a:ext cx="16881899" cy="2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ett pilkobling 13">
            <a:extLst>
              <a:ext uri="{FF2B5EF4-FFF2-40B4-BE49-F238E27FC236}">
                <a16:creationId xmlns:a16="http://schemas.microsoft.com/office/drawing/2014/main" id="{8FCF10E5-CDA8-4CA9-AD3C-2641C9FB59C6}"/>
              </a:ext>
            </a:extLst>
          </p:cNvPr>
          <p:cNvCxnSpPr>
            <a:cxnSpLocks/>
          </p:cNvCxnSpPr>
          <p:nvPr/>
        </p:nvCxnSpPr>
        <p:spPr>
          <a:xfrm flipH="1" flipV="1">
            <a:off x="18538207" y="7494145"/>
            <a:ext cx="32082" cy="1957951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8" name="Picture 2" descr="Image result for dollartegn">
            <a:extLst>
              <a:ext uri="{FF2B5EF4-FFF2-40B4-BE49-F238E27FC236}">
                <a16:creationId xmlns:a16="http://schemas.microsoft.com/office/drawing/2014/main" id="{5EEBDC1B-E478-43CC-BC6E-48F2F73A9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6006" y="8878403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TextBox 4">
            <a:extLst>
              <a:ext uri="{FF2B5EF4-FFF2-40B4-BE49-F238E27FC236}">
                <a16:creationId xmlns:a16="http://schemas.microsoft.com/office/drawing/2014/main" id="{27203E4F-93F0-4A74-ABB9-D1E9013CDD2F}"/>
              </a:ext>
            </a:extLst>
          </p:cNvPr>
          <p:cNvSpPr txBox="1"/>
          <p:nvPr/>
        </p:nvSpPr>
        <p:spPr>
          <a:xfrm>
            <a:off x="14337965" y="8360071"/>
            <a:ext cx="4357974" cy="1533681"/>
          </a:xfrm>
          <a:prstGeom prst="rect">
            <a:avLst/>
          </a:prstGeom>
          <a:noFill/>
          <a:ln>
            <a:noFill/>
          </a:ln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450 000 kroner i 2018</a:t>
            </a:r>
            <a:br>
              <a:rPr lang="nb-NO" sz="1400" b="1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til å v</a:t>
            </a: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idereutvikle Resultatportalen</a:t>
            </a:r>
          </a:p>
        </p:txBody>
      </p:sp>
      <p:cxnSp>
        <p:nvCxnSpPr>
          <p:cNvPr id="16" name="Rett pilkobling 15">
            <a:extLst>
              <a:ext uri="{FF2B5EF4-FFF2-40B4-BE49-F238E27FC236}">
                <a16:creationId xmlns:a16="http://schemas.microsoft.com/office/drawing/2014/main" id="{FA813BEE-95F9-40CE-BAD4-924749269928}"/>
              </a:ext>
            </a:extLst>
          </p:cNvPr>
          <p:cNvCxnSpPr>
            <a:cxnSpLocks/>
          </p:cNvCxnSpPr>
          <p:nvPr/>
        </p:nvCxnSpPr>
        <p:spPr>
          <a:xfrm flipV="1">
            <a:off x="5151692" y="7775097"/>
            <a:ext cx="6118742" cy="329845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Box 185">
            <a:extLst>
              <a:ext uri="{FF2B5EF4-FFF2-40B4-BE49-F238E27FC236}">
                <a16:creationId xmlns:a16="http://schemas.microsoft.com/office/drawing/2014/main" id="{82CB7FD0-E3B7-4FF5-AD9B-BB528158952B}"/>
              </a:ext>
            </a:extLst>
          </p:cNvPr>
          <p:cNvSpPr txBox="1"/>
          <p:nvPr/>
        </p:nvSpPr>
        <p:spPr>
          <a:xfrm>
            <a:off x="11250180" y="7384584"/>
            <a:ext cx="3267317" cy="1964568"/>
          </a:xfrm>
          <a:prstGeom prst="rect">
            <a:avLst/>
          </a:prstGeom>
          <a:noFill/>
          <a:ln>
            <a:noFill/>
          </a:ln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HRR prosjektet</a:t>
            </a:r>
            <a:br>
              <a:rPr lang="nb-NO" sz="1400" b="1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Midler fordelt på 9 registre</a:t>
            </a:r>
            <a:br>
              <a:rPr lang="nb-NO" sz="1400" dirty="0">
                <a:solidFill>
                  <a:srgbClr val="281C2C"/>
                </a:solidFill>
                <a:latin typeface="Arial" panose="020B0604020202020204"/>
              </a:rPr>
            </a:b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Universitet i Bergen er ansvarlige for prosjektet</a:t>
            </a:r>
          </a:p>
        </p:txBody>
      </p:sp>
      <p:cxnSp>
        <p:nvCxnSpPr>
          <p:cNvPr id="19" name="Rett pilkobling 18">
            <a:extLst>
              <a:ext uri="{FF2B5EF4-FFF2-40B4-BE49-F238E27FC236}">
                <a16:creationId xmlns:a16="http://schemas.microsoft.com/office/drawing/2014/main" id="{CD5F90DC-FDFD-43D7-9ED0-53B945F7849B}"/>
              </a:ext>
            </a:extLst>
          </p:cNvPr>
          <p:cNvCxnSpPr>
            <a:cxnSpLocks/>
          </p:cNvCxnSpPr>
          <p:nvPr/>
        </p:nvCxnSpPr>
        <p:spPr>
          <a:xfrm flipH="1" flipV="1">
            <a:off x="5019703" y="7392287"/>
            <a:ext cx="1936934" cy="273423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pilkobling 21">
            <a:extLst>
              <a:ext uri="{FF2B5EF4-FFF2-40B4-BE49-F238E27FC236}">
                <a16:creationId xmlns:a16="http://schemas.microsoft.com/office/drawing/2014/main" id="{50ECA749-D9CE-4F87-BB3B-50444FA76070}"/>
              </a:ext>
            </a:extLst>
          </p:cNvPr>
          <p:cNvCxnSpPr>
            <a:cxnSpLocks/>
          </p:cNvCxnSpPr>
          <p:nvPr/>
        </p:nvCxnSpPr>
        <p:spPr>
          <a:xfrm>
            <a:off x="10615241" y="8141778"/>
            <a:ext cx="900480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Rett linje 201">
            <a:extLst>
              <a:ext uri="{FF2B5EF4-FFF2-40B4-BE49-F238E27FC236}">
                <a16:creationId xmlns:a16="http://schemas.microsoft.com/office/drawing/2014/main" id="{09C80953-6C7C-443B-97D0-CDCF9F4EAD24}"/>
              </a:ext>
            </a:extLst>
          </p:cNvPr>
          <p:cNvCxnSpPr>
            <a:cxnSpLocks/>
          </p:cNvCxnSpPr>
          <p:nvPr/>
        </p:nvCxnSpPr>
        <p:spPr>
          <a:xfrm>
            <a:off x="18640072" y="3599159"/>
            <a:ext cx="0" cy="22311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8">
            <a:extLst>
              <a:ext uri="{FF2B5EF4-FFF2-40B4-BE49-F238E27FC236}">
                <a16:creationId xmlns:a16="http://schemas.microsoft.com/office/drawing/2014/main" id="{2E2ACA88-E305-4FB2-ADF7-181CDD143128}"/>
              </a:ext>
            </a:extLst>
          </p:cNvPr>
          <p:cNvCxnSpPr>
            <a:cxnSpLocks/>
          </p:cNvCxnSpPr>
          <p:nvPr/>
        </p:nvCxnSpPr>
        <p:spPr>
          <a:xfrm flipH="1">
            <a:off x="16417147" y="5742088"/>
            <a:ext cx="452" cy="5676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8">
            <a:extLst>
              <a:ext uri="{FF2B5EF4-FFF2-40B4-BE49-F238E27FC236}">
                <a16:creationId xmlns:a16="http://schemas.microsoft.com/office/drawing/2014/main" id="{3C2B2DB7-BBF3-4EAD-BFF5-07DCB65AAA01}"/>
              </a:ext>
            </a:extLst>
          </p:cNvPr>
          <p:cNvCxnSpPr>
            <a:cxnSpLocks/>
          </p:cNvCxnSpPr>
          <p:nvPr/>
        </p:nvCxnSpPr>
        <p:spPr>
          <a:xfrm flipH="1">
            <a:off x="11757222" y="5734068"/>
            <a:ext cx="452" cy="5676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E0A140D2-6F34-4BF3-AA84-DBB1E8A2D5DD}"/>
              </a:ext>
            </a:extLst>
          </p:cNvPr>
          <p:cNvCxnSpPr>
            <a:cxnSpLocks/>
            <a:stCxn id="355" idx="4"/>
            <a:endCxn id="271" idx="1"/>
          </p:cNvCxnSpPr>
          <p:nvPr/>
        </p:nvCxnSpPr>
        <p:spPr>
          <a:xfrm flipH="1">
            <a:off x="14115255" y="5830312"/>
            <a:ext cx="452" cy="5676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Rett linje 235">
            <a:extLst>
              <a:ext uri="{FF2B5EF4-FFF2-40B4-BE49-F238E27FC236}">
                <a16:creationId xmlns:a16="http://schemas.microsoft.com/office/drawing/2014/main" id="{E9CDB40A-E040-4C7C-9F47-D4C0247B8E22}"/>
              </a:ext>
            </a:extLst>
          </p:cNvPr>
          <p:cNvCxnSpPr/>
          <p:nvPr/>
        </p:nvCxnSpPr>
        <p:spPr>
          <a:xfrm>
            <a:off x="9503315" y="3044982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Rett linje 240">
            <a:extLst>
              <a:ext uri="{FF2B5EF4-FFF2-40B4-BE49-F238E27FC236}">
                <a16:creationId xmlns:a16="http://schemas.microsoft.com/office/drawing/2014/main" id="{D1FF890F-ED8C-4CCF-B7EE-05579D5B58B8}"/>
              </a:ext>
            </a:extLst>
          </p:cNvPr>
          <p:cNvCxnSpPr/>
          <p:nvPr/>
        </p:nvCxnSpPr>
        <p:spPr>
          <a:xfrm>
            <a:off x="14099082" y="3069045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5" name="Rett linje 244">
            <a:extLst>
              <a:ext uri="{FF2B5EF4-FFF2-40B4-BE49-F238E27FC236}">
                <a16:creationId xmlns:a16="http://schemas.microsoft.com/office/drawing/2014/main" id="{F6C47A2C-94D3-4E80-B01A-2E5CA526C52D}"/>
              </a:ext>
            </a:extLst>
          </p:cNvPr>
          <p:cNvCxnSpPr/>
          <p:nvPr/>
        </p:nvCxnSpPr>
        <p:spPr>
          <a:xfrm>
            <a:off x="11749073" y="3061025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Rett linje 245">
            <a:extLst>
              <a:ext uri="{FF2B5EF4-FFF2-40B4-BE49-F238E27FC236}">
                <a16:creationId xmlns:a16="http://schemas.microsoft.com/office/drawing/2014/main" id="{0F2BD782-6500-42B6-B245-37EE3CE58E26}"/>
              </a:ext>
            </a:extLst>
          </p:cNvPr>
          <p:cNvCxnSpPr/>
          <p:nvPr/>
        </p:nvCxnSpPr>
        <p:spPr>
          <a:xfrm>
            <a:off x="16505249" y="3053006"/>
            <a:ext cx="0" cy="4394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Rett linje 246">
            <a:extLst>
              <a:ext uri="{FF2B5EF4-FFF2-40B4-BE49-F238E27FC236}">
                <a16:creationId xmlns:a16="http://schemas.microsoft.com/office/drawing/2014/main" id="{B4B49B2F-3412-44EC-895F-C6AA84B5497E}"/>
              </a:ext>
            </a:extLst>
          </p:cNvPr>
          <p:cNvCxnSpPr>
            <a:cxnSpLocks/>
          </p:cNvCxnSpPr>
          <p:nvPr/>
        </p:nvCxnSpPr>
        <p:spPr>
          <a:xfrm>
            <a:off x="9483064" y="3725554"/>
            <a:ext cx="0" cy="1670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Rett linje 247">
            <a:extLst>
              <a:ext uri="{FF2B5EF4-FFF2-40B4-BE49-F238E27FC236}">
                <a16:creationId xmlns:a16="http://schemas.microsoft.com/office/drawing/2014/main" id="{177E49BE-4AEB-4F7C-90BF-94F28DA84EAD}"/>
              </a:ext>
            </a:extLst>
          </p:cNvPr>
          <p:cNvCxnSpPr>
            <a:cxnSpLocks/>
          </p:cNvCxnSpPr>
          <p:nvPr/>
        </p:nvCxnSpPr>
        <p:spPr>
          <a:xfrm>
            <a:off x="16497636" y="3741945"/>
            <a:ext cx="0" cy="1670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Rett linje 248">
            <a:extLst>
              <a:ext uri="{FF2B5EF4-FFF2-40B4-BE49-F238E27FC236}">
                <a16:creationId xmlns:a16="http://schemas.microsoft.com/office/drawing/2014/main" id="{9AEB189E-D2F0-4508-969D-D29195314375}"/>
              </a:ext>
            </a:extLst>
          </p:cNvPr>
          <p:cNvCxnSpPr>
            <a:cxnSpLocks/>
          </p:cNvCxnSpPr>
          <p:nvPr/>
        </p:nvCxnSpPr>
        <p:spPr>
          <a:xfrm>
            <a:off x="14089950" y="3743705"/>
            <a:ext cx="0" cy="1670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Rett linje 249">
            <a:extLst>
              <a:ext uri="{FF2B5EF4-FFF2-40B4-BE49-F238E27FC236}">
                <a16:creationId xmlns:a16="http://schemas.microsoft.com/office/drawing/2014/main" id="{4F6588E7-C322-4309-8023-403C3F8E4AC6}"/>
              </a:ext>
            </a:extLst>
          </p:cNvPr>
          <p:cNvCxnSpPr>
            <a:cxnSpLocks/>
          </p:cNvCxnSpPr>
          <p:nvPr/>
        </p:nvCxnSpPr>
        <p:spPr>
          <a:xfrm>
            <a:off x="11744399" y="3743705"/>
            <a:ext cx="0" cy="1670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28">
            <a:extLst>
              <a:ext uri="{FF2B5EF4-FFF2-40B4-BE49-F238E27FC236}">
                <a16:creationId xmlns:a16="http://schemas.microsoft.com/office/drawing/2014/main" id="{5C3FF4D5-BC36-4EE7-9754-A84728EF2D44}"/>
              </a:ext>
            </a:extLst>
          </p:cNvPr>
          <p:cNvCxnSpPr>
            <a:cxnSpLocks/>
          </p:cNvCxnSpPr>
          <p:nvPr/>
        </p:nvCxnSpPr>
        <p:spPr>
          <a:xfrm>
            <a:off x="9429848" y="5668330"/>
            <a:ext cx="0" cy="650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Rett pilkobling 251">
            <a:extLst>
              <a:ext uri="{FF2B5EF4-FFF2-40B4-BE49-F238E27FC236}">
                <a16:creationId xmlns:a16="http://schemas.microsoft.com/office/drawing/2014/main" id="{706BFB2D-3D14-471E-8892-6510273C6E7B}"/>
              </a:ext>
            </a:extLst>
          </p:cNvPr>
          <p:cNvCxnSpPr>
            <a:cxnSpLocks/>
            <a:stCxn id="353" idx="4"/>
          </p:cNvCxnSpPr>
          <p:nvPr/>
        </p:nvCxnSpPr>
        <p:spPr>
          <a:xfrm>
            <a:off x="9495994" y="5830311"/>
            <a:ext cx="3442" cy="505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3" name="Rett pilkobling 252">
            <a:extLst>
              <a:ext uri="{FF2B5EF4-FFF2-40B4-BE49-F238E27FC236}">
                <a16:creationId xmlns:a16="http://schemas.microsoft.com/office/drawing/2014/main" id="{A899950D-C21D-4E87-9DF5-38D93B3A0270}"/>
              </a:ext>
            </a:extLst>
          </p:cNvPr>
          <p:cNvCxnSpPr>
            <a:cxnSpLocks/>
          </p:cNvCxnSpPr>
          <p:nvPr/>
        </p:nvCxnSpPr>
        <p:spPr>
          <a:xfrm>
            <a:off x="14242910" y="5835260"/>
            <a:ext cx="0" cy="335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4" name="Rett pilkobling 253">
            <a:extLst>
              <a:ext uri="{FF2B5EF4-FFF2-40B4-BE49-F238E27FC236}">
                <a16:creationId xmlns:a16="http://schemas.microsoft.com/office/drawing/2014/main" id="{902D7EA6-BD26-4856-B02E-CEAAEA014377}"/>
              </a:ext>
            </a:extLst>
          </p:cNvPr>
          <p:cNvCxnSpPr>
            <a:cxnSpLocks/>
          </p:cNvCxnSpPr>
          <p:nvPr/>
        </p:nvCxnSpPr>
        <p:spPr>
          <a:xfrm>
            <a:off x="16598035" y="5800810"/>
            <a:ext cx="0" cy="3777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5" name="Rett pilkobling 254">
            <a:extLst>
              <a:ext uri="{FF2B5EF4-FFF2-40B4-BE49-F238E27FC236}">
                <a16:creationId xmlns:a16="http://schemas.microsoft.com/office/drawing/2014/main" id="{8FCC92E6-53A7-4AFA-8F34-D72DF83AF1F9}"/>
              </a:ext>
            </a:extLst>
          </p:cNvPr>
          <p:cNvCxnSpPr>
            <a:cxnSpLocks/>
          </p:cNvCxnSpPr>
          <p:nvPr/>
        </p:nvCxnSpPr>
        <p:spPr>
          <a:xfrm>
            <a:off x="11966140" y="5799169"/>
            <a:ext cx="535855" cy="3804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6" name="Rett linje 255">
            <a:extLst>
              <a:ext uri="{FF2B5EF4-FFF2-40B4-BE49-F238E27FC236}">
                <a16:creationId xmlns:a16="http://schemas.microsoft.com/office/drawing/2014/main" id="{4B277D9B-368D-4E72-B89C-6018C76D2007}"/>
              </a:ext>
            </a:extLst>
          </p:cNvPr>
          <p:cNvCxnSpPr/>
          <p:nvPr/>
        </p:nvCxnSpPr>
        <p:spPr>
          <a:xfrm>
            <a:off x="16776703" y="3601056"/>
            <a:ext cx="18633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Rett pilkobling 256">
            <a:extLst>
              <a:ext uri="{FF2B5EF4-FFF2-40B4-BE49-F238E27FC236}">
                <a16:creationId xmlns:a16="http://schemas.microsoft.com/office/drawing/2014/main" id="{B22CCA70-9BE1-4EE2-B343-C92F59A7F32C}"/>
              </a:ext>
            </a:extLst>
          </p:cNvPr>
          <p:cNvCxnSpPr>
            <a:cxnSpLocks/>
          </p:cNvCxnSpPr>
          <p:nvPr/>
        </p:nvCxnSpPr>
        <p:spPr>
          <a:xfrm flipH="1">
            <a:off x="17095849" y="4827748"/>
            <a:ext cx="5405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8" name="Rett pilkobling 257">
            <a:extLst>
              <a:ext uri="{FF2B5EF4-FFF2-40B4-BE49-F238E27FC236}">
                <a16:creationId xmlns:a16="http://schemas.microsoft.com/office/drawing/2014/main" id="{6C3DEF84-7632-44B0-AECB-49C7E7F24B1A}"/>
              </a:ext>
            </a:extLst>
          </p:cNvPr>
          <p:cNvCxnSpPr>
            <a:cxnSpLocks/>
          </p:cNvCxnSpPr>
          <p:nvPr/>
        </p:nvCxnSpPr>
        <p:spPr>
          <a:xfrm>
            <a:off x="8272789" y="5043616"/>
            <a:ext cx="56809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59" name="Rett linje 258">
            <a:extLst>
              <a:ext uri="{FF2B5EF4-FFF2-40B4-BE49-F238E27FC236}">
                <a16:creationId xmlns:a16="http://schemas.microsoft.com/office/drawing/2014/main" id="{5BCF57BA-41A5-420B-8FDE-61DE9F0391C6}"/>
              </a:ext>
            </a:extLst>
          </p:cNvPr>
          <p:cNvCxnSpPr>
            <a:cxnSpLocks/>
          </p:cNvCxnSpPr>
          <p:nvPr/>
        </p:nvCxnSpPr>
        <p:spPr>
          <a:xfrm>
            <a:off x="8005888" y="4416219"/>
            <a:ext cx="0" cy="42918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60" name="Rounded Rectangle 552">
            <a:extLst>
              <a:ext uri="{FF2B5EF4-FFF2-40B4-BE49-F238E27FC236}">
                <a16:creationId xmlns:a16="http://schemas.microsoft.com/office/drawing/2014/main" id="{8216ED96-9749-4292-A9B1-1374AB38EFFF}"/>
              </a:ext>
            </a:extLst>
          </p:cNvPr>
          <p:cNvSpPr/>
          <p:nvPr/>
        </p:nvSpPr>
        <p:spPr>
          <a:xfrm>
            <a:off x="8949925" y="3438314"/>
            <a:ext cx="1142422" cy="399852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SØ RHF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1" name="Rounded Rectangle 552">
            <a:extLst>
              <a:ext uri="{FF2B5EF4-FFF2-40B4-BE49-F238E27FC236}">
                <a16:creationId xmlns:a16="http://schemas.microsoft.com/office/drawing/2014/main" id="{C3766D16-54B2-41FC-A71A-CDDDD501B0AB}"/>
              </a:ext>
            </a:extLst>
          </p:cNvPr>
          <p:cNvSpPr/>
          <p:nvPr/>
        </p:nvSpPr>
        <p:spPr>
          <a:xfrm>
            <a:off x="11285133" y="3438314"/>
            <a:ext cx="1068730" cy="414679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/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V RHF</a:t>
            </a:r>
          </a:p>
        </p:txBody>
      </p:sp>
      <p:sp>
        <p:nvSpPr>
          <p:cNvPr id="262" name="Rounded Rectangle 552">
            <a:extLst>
              <a:ext uri="{FF2B5EF4-FFF2-40B4-BE49-F238E27FC236}">
                <a16:creationId xmlns:a16="http://schemas.microsoft.com/office/drawing/2014/main" id="{1E787A85-FB1D-413B-ADD5-2B769383A3F5}"/>
              </a:ext>
            </a:extLst>
          </p:cNvPr>
          <p:cNvSpPr/>
          <p:nvPr/>
        </p:nvSpPr>
        <p:spPr>
          <a:xfrm>
            <a:off x="13620341" y="3438314"/>
            <a:ext cx="1068730" cy="414679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M RHF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3" name="Rounded Rectangle 552">
            <a:extLst>
              <a:ext uri="{FF2B5EF4-FFF2-40B4-BE49-F238E27FC236}">
                <a16:creationId xmlns:a16="http://schemas.microsoft.com/office/drawing/2014/main" id="{B731FF9E-1A86-427B-8836-B68968AF68F6}"/>
              </a:ext>
            </a:extLst>
          </p:cNvPr>
          <p:cNvSpPr/>
          <p:nvPr/>
        </p:nvSpPr>
        <p:spPr>
          <a:xfrm>
            <a:off x="15955549" y="3438313"/>
            <a:ext cx="1068730" cy="402354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N RHF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64" name="Group 21">
            <a:extLst>
              <a:ext uri="{FF2B5EF4-FFF2-40B4-BE49-F238E27FC236}">
                <a16:creationId xmlns:a16="http://schemas.microsoft.com/office/drawing/2014/main" id="{ED70B9C2-0D1A-449C-B127-C230E97357E2}"/>
              </a:ext>
            </a:extLst>
          </p:cNvPr>
          <p:cNvGrpSpPr/>
          <p:nvPr/>
        </p:nvGrpSpPr>
        <p:grpSpPr>
          <a:xfrm>
            <a:off x="12375254" y="6244956"/>
            <a:ext cx="971937" cy="719953"/>
            <a:chOff x="11176897" y="4828595"/>
            <a:chExt cx="1068820" cy="706186"/>
          </a:xfrm>
        </p:grpSpPr>
        <p:sp>
          <p:nvSpPr>
            <p:cNvPr id="265" name="Rounded Rectangle 731">
              <a:extLst>
                <a:ext uri="{FF2B5EF4-FFF2-40B4-BE49-F238E27FC236}">
                  <a16:creationId xmlns:a16="http://schemas.microsoft.com/office/drawing/2014/main" id="{53EC8D80-5D7D-42E9-837D-B538B44EBF79}"/>
                </a:ext>
              </a:extLst>
            </p:cNvPr>
            <p:cNvSpPr/>
            <p:nvPr/>
          </p:nvSpPr>
          <p:spPr>
            <a:xfrm>
              <a:off x="11176897" y="4828595"/>
              <a:ext cx="1068820" cy="706186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6" name="Can 55">
              <a:extLst>
                <a:ext uri="{FF2B5EF4-FFF2-40B4-BE49-F238E27FC236}">
                  <a16:creationId xmlns:a16="http://schemas.microsoft.com/office/drawing/2014/main" id="{92EF045D-1B72-4E25-AEDF-87CC1370BFF8}"/>
                </a:ext>
              </a:extLst>
            </p:cNvPr>
            <p:cNvSpPr/>
            <p:nvPr/>
          </p:nvSpPr>
          <p:spPr>
            <a:xfrm>
              <a:off x="11424489" y="4978688"/>
              <a:ext cx="573635" cy="364186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</a:p>
          </p:txBody>
        </p:sp>
      </p:grpSp>
      <p:cxnSp>
        <p:nvCxnSpPr>
          <p:cNvPr id="267" name="Straight Connector 26">
            <a:extLst>
              <a:ext uri="{FF2B5EF4-FFF2-40B4-BE49-F238E27FC236}">
                <a16:creationId xmlns:a16="http://schemas.microsoft.com/office/drawing/2014/main" id="{C24E8B1F-71DA-4787-B0D3-B93343A4A52D}"/>
              </a:ext>
            </a:extLst>
          </p:cNvPr>
          <p:cNvCxnSpPr/>
          <p:nvPr/>
        </p:nvCxnSpPr>
        <p:spPr>
          <a:xfrm>
            <a:off x="11761865" y="6050079"/>
            <a:ext cx="11685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8">
            <a:extLst>
              <a:ext uri="{FF2B5EF4-FFF2-40B4-BE49-F238E27FC236}">
                <a16:creationId xmlns:a16="http://schemas.microsoft.com/office/drawing/2014/main" id="{682E9D88-28D1-45BC-ABFE-04F34E226A75}"/>
              </a:ext>
            </a:extLst>
          </p:cNvPr>
          <p:cNvCxnSpPr/>
          <p:nvPr/>
        </p:nvCxnSpPr>
        <p:spPr>
          <a:xfrm>
            <a:off x="12927119" y="6036432"/>
            <a:ext cx="2" cy="1933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9" name="Group 137">
            <a:extLst>
              <a:ext uri="{FF2B5EF4-FFF2-40B4-BE49-F238E27FC236}">
                <a16:creationId xmlns:a16="http://schemas.microsoft.com/office/drawing/2014/main" id="{0C6B2C59-5490-4B45-AE44-B678F05901DA}"/>
              </a:ext>
            </a:extLst>
          </p:cNvPr>
          <p:cNvGrpSpPr/>
          <p:nvPr/>
        </p:nvGrpSpPr>
        <p:grpSpPr>
          <a:xfrm>
            <a:off x="13629286" y="6244956"/>
            <a:ext cx="971937" cy="719953"/>
            <a:chOff x="11176897" y="4828595"/>
            <a:chExt cx="1068820" cy="706186"/>
          </a:xfrm>
        </p:grpSpPr>
        <p:sp>
          <p:nvSpPr>
            <p:cNvPr id="270" name="Rounded Rectangle 731">
              <a:extLst>
                <a:ext uri="{FF2B5EF4-FFF2-40B4-BE49-F238E27FC236}">
                  <a16:creationId xmlns:a16="http://schemas.microsoft.com/office/drawing/2014/main" id="{4E475AEC-59AE-43D9-AF50-D27F233B3168}"/>
                </a:ext>
              </a:extLst>
            </p:cNvPr>
            <p:cNvSpPr/>
            <p:nvPr/>
          </p:nvSpPr>
          <p:spPr>
            <a:xfrm>
              <a:off x="11176897" y="4828595"/>
              <a:ext cx="1068820" cy="706186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1" name="Can 55">
              <a:extLst>
                <a:ext uri="{FF2B5EF4-FFF2-40B4-BE49-F238E27FC236}">
                  <a16:creationId xmlns:a16="http://schemas.microsoft.com/office/drawing/2014/main" id="{F02513E4-5789-4B12-BBAF-1DE50C71EE08}"/>
                </a:ext>
              </a:extLst>
            </p:cNvPr>
            <p:cNvSpPr/>
            <p:nvPr/>
          </p:nvSpPr>
          <p:spPr>
            <a:xfrm>
              <a:off x="11424489" y="4978688"/>
              <a:ext cx="573635" cy="364186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6</a:t>
              </a:r>
            </a:p>
          </p:txBody>
        </p:sp>
      </p:grpSp>
      <p:grpSp>
        <p:nvGrpSpPr>
          <p:cNvPr id="272" name="Group 141">
            <a:extLst>
              <a:ext uri="{FF2B5EF4-FFF2-40B4-BE49-F238E27FC236}">
                <a16:creationId xmlns:a16="http://schemas.microsoft.com/office/drawing/2014/main" id="{2D7264CF-223C-49D0-96C6-773B9057E227}"/>
              </a:ext>
            </a:extLst>
          </p:cNvPr>
          <p:cNvGrpSpPr/>
          <p:nvPr/>
        </p:nvGrpSpPr>
        <p:grpSpPr>
          <a:xfrm>
            <a:off x="15955529" y="6244956"/>
            <a:ext cx="971937" cy="719953"/>
            <a:chOff x="11176897" y="4828595"/>
            <a:chExt cx="1068820" cy="706186"/>
          </a:xfrm>
        </p:grpSpPr>
        <p:sp>
          <p:nvSpPr>
            <p:cNvPr id="273" name="Rounded Rectangle 731">
              <a:extLst>
                <a:ext uri="{FF2B5EF4-FFF2-40B4-BE49-F238E27FC236}">
                  <a16:creationId xmlns:a16="http://schemas.microsoft.com/office/drawing/2014/main" id="{1A2FE02C-11B8-47DF-B04A-F97E033138AA}"/>
                </a:ext>
              </a:extLst>
            </p:cNvPr>
            <p:cNvSpPr/>
            <p:nvPr/>
          </p:nvSpPr>
          <p:spPr>
            <a:xfrm>
              <a:off x="11176897" y="4828595"/>
              <a:ext cx="1068820" cy="706186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4" name="Can 55">
              <a:extLst>
                <a:ext uri="{FF2B5EF4-FFF2-40B4-BE49-F238E27FC236}">
                  <a16:creationId xmlns:a16="http://schemas.microsoft.com/office/drawing/2014/main" id="{CD78084A-638A-4B5C-B66B-34A79C23B0A9}"/>
                </a:ext>
              </a:extLst>
            </p:cNvPr>
            <p:cNvSpPr/>
            <p:nvPr/>
          </p:nvSpPr>
          <p:spPr>
            <a:xfrm>
              <a:off x="11424489" y="4978688"/>
              <a:ext cx="573635" cy="364186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6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7</a:t>
              </a:r>
            </a:p>
          </p:txBody>
        </p:sp>
      </p:grpSp>
      <p:sp>
        <p:nvSpPr>
          <p:cNvPr id="275" name="Rounded Rectangle 731">
            <a:extLst>
              <a:ext uri="{FF2B5EF4-FFF2-40B4-BE49-F238E27FC236}">
                <a16:creationId xmlns:a16="http://schemas.microsoft.com/office/drawing/2014/main" id="{253B3093-0945-4741-AC6E-94878E95A5A9}"/>
              </a:ext>
            </a:extLst>
          </p:cNvPr>
          <p:cNvSpPr/>
          <p:nvPr/>
        </p:nvSpPr>
        <p:spPr>
          <a:xfrm>
            <a:off x="8949925" y="4687120"/>
            <a:ext cx="8074354" cy="315467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RS</a:t>
            </a:r>
          </a:p>
        </p:txBody>
      </p:sp>
      <p:sp>
        <p:nvSpPr>
          <p:cNvPr id="276" name="Ellipse 275">
            <a:extLst>
              <a:ext uri="{FF2B5EF4-FFF2-40B4-BE49-F238E27FC236}">
                <a16:creationId xmlns:a16="http://schemas.microsoft.com/office/drawing/2014/main" id="{E9F66184-19D4-434D-8493-0041321B6711}"/>
              </a:ext>
            </a:extLst>
          </p:cNvPr>
          <p:cNvSpPr/>
          <p:nvPr/>
        </p:nvSpPr>
        <p:spPr>
          <a:xfrm>
            <a:off x="7541298" y="4622857"/>
            <a:ext cx="848547" cy="60154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2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278" name="Ellipse 277">
            <a:extLst>
              <a:ext uri="{FF2B5EF4-FFF2-40B4-BE49-F238E27FC236}">
                <a16:creationId xmlns:a16="http://schemas.microsoft.com/office/drawing/2014/main" id="{6A20D4B8-930F-4101-9ACA-E9BA2F8FA769}"/>
              </a:ext>
            </a:extLst>
          </p:cNvPr>
          <p:cNvSpPr/>
          <p:nvPr/>
        </p:nvSpPr>
        <p:spPr>
          <a:xfrm>
            <a:off x="7490029" y="3994723"/>
            <a:ext cx="1045002" cy="53723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6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284" name="Ellipse 283">
            <a:extLst>
              <a:ext uri="{FF2B5EF4-FFF2-40B4-BE49-F238E27FC236}">
                <a16:creationId xmlns:a16="http://schemas.microsoft.com/office/drawing/2014/main" id="{C495AC8F-8116-4DCD-9EF0-A7F71807E4C7}"/>
              </a:ext>
            </a:extLst>
          </p:cNvPr>
          <p:cNvSpPr/>
          <p:nvPr/>
        </p:nvSpPr>
        <p:spPr>
          <a:xfrm>
            <a:off x="17458277" y="4490290"/>
            <a:ext cx="1079930" cy="674916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2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286" name="Ellipse 285">
            <a:extLst>
              <a:ext uri="{FF2B5EF4-FFF2-40B4-BE49-F238E27FC236}">
                <a16:creationId xmlns:a16="http://schemas.microsoft.com/office/drawing/2014/main" id="{A2E05C4E-412F-4F6E-8D33-DE11CECACC64}"/>
              </a:ext>
            </a:extLst>
          </p:cNvPr>
          <p:cNvSpPr/>
          <p:nvPr/>
        </p:nvSpPr>
        <p:spPr>
          <a:xfrm>
            <a:off x="17767785" y="5784584"/>
            <a:ext cx="1607567" cy="158408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0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53" name="Ellipse 352">
            <a:extLst>
              <a:ext uri="{FF2B5EF4-FFF2-40B4-BE49-F238E27FC236}">
                <a16:creationId xmlns:a16="http://schemas.microsoft.com/office/drawing/2014/main" id="{1E9B660C-A8A1-4CF3-BCD0-88501CFF5EBD}"/>
              </a:ext>
            </a:extLst>
          </p:cNvPr>
          <p:cNvSpPr/>
          <p:nvPr/>
        </p:nvSpPr>
        <p:spPr>
          <a:xfrm>
            <a:off x="8957828" y="5244892"/>
            <a:ext cx="1076330" cy="58542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2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54" name="Ellipse 353">
            <a:extLst>
              <a:ext uri="{FF2B5EF4-FFF2-40B4-BE49-F238E27FC236}">
                <a16:creationId xmlns:a16="http://schemas.microsoft.com/office/drawing/2014/main" id="{48450991-B488-4C04-A1ED-77F25CF6BBEC}"/>
              </a:ext>
            </a:extLst>
          </p:cNvPr>
          <p:cNvSpPr/>
          <p:nvPr/>
        </p:nvSpPr>
        <p:spPr>
          <a:xfrm>
            <a:off x="11267686" y="5244892"/>
            <a:ext cx="1076330" cy="58542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2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55" name="Ellipse 354">
            <a:extLst>
              <a:ext uri="{FF2B5EF4-FFF2-40B4-BE49-F238E27FC236}">
                <a16:creationId xmlns:a16="http://schemas.microsoft.com/office/drawing/2014/main" id="{C818A99F-A883-4CDA-B4F3-5F01F383962D}"/>
              </a:ext>
            </a:extLst>
          </p:cNvPr>
          <p:cNvSpPr/>
          <p:nvPr/>
        </p:nvSpPr>
        <p:spPr>
          <a:xfrm>
            <a:off x="13577542" y="5244892"/>
            <a:ext cx="1076330" cy="58542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2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56" name="Ellipse 355">
            <a:extLst>
              <a:ext uri="{FF2B5EF4-FFF2-40B4-BE49-F238E27FC236}">
                <a16:creationId xmlns:a16="http://schemas.microsoft.com/office/drawing/2014/main" id="{90E9B9E8-AA5C-4A01-B116-11979D0EF16B}"/>
              </a:ext>
            </a:extLst>
          </p:cNvPr>
          <p:cNvSpPr/>
          <p:nvPr/>
        </p:nvSpPr>
        <p:spPr>
          <a:xfrm>
            <a:off x="15887397" y="5244892"/>
            <a:ext cx="1076330" cy="585420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619"/>
            <a:endParaRPr lang="nb-NO" sz="1200" dirty="0">
              <a:solidFill>
                <a:srgbClr val="281C2C"/>
              </a:solidFill>
              <a:latin typeface="Arial" panose="020B0604020202020204"/>
            </a:endParaRPr>
          </a:p>
        </p:txBody>
      </p:sp>
      <p:sp>
        <p:nvSpPr>
          <p:cNvPr id="357" name="Høyre klammeparentes 356">
            <a:extLst>
              <a:ext uri="{FF2B5EF4-FFF2-40B4-BE49-F238E27FC236}">
                <a16:creationId xmlns:a16="http://schemas.microsoft.com/office/drawing/2014/main" id="{7E2F7C01-7B21-42F3-9691-B343BDC93EF2}"/>
              </a:ext>
            </a:extLst>
          </p:cNvPr>
          <p:cNvSpPr/>
          <p:nvPr/>
        </p:nvSpPr>
        <p:spPr>
          <a:xfrm>
            <a:off x="17111618" y="5301973"/>
            <a:ext cx="464474" cy="2682377"/>
          </a:xfrm>
          <a:prstGeom prst="rightBrac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828619"/>
            <a:endParaRPr lang="nb-NO" sz="7200">
              <a:solidFill>
                <a:srgbClr val="281C2C"/>
              </a:solidFill>
              <a:latin typeface="Arial" panose="020B0604020202020204"/>
            </a:endParaRPr>
          </a:p>
        </p:txBody>
      </p:sp>
      <p:cxnSp>
        <p:nvCxnSpPr>
          <p:cNvPr id="358" name="Rett pilkobling 357">
            <a:extLst>
              <a:ext uri="{FF2B5EF4-FFF2-40B4-BE49-F238E27FC236}">
                <a16:creationId xmlns:a16="http://schemas.microsoft.com/office/drawing/2014/main" id="{CBDF6A09-7CBB-4505-A080-68A19A6F30BA}"/>
              </a:ext>
            </a:extLst>
          </p:cNvPr>
          <p:cNvCxnSpPr>
            <a:cxnSpLocks/>
          </p:cNvCxnSpPr>
          <p:nvPr/>
        </p:nvCxnSpPr>
        <p:spPr>
          <a:xfrm>
            <a:off x="11682869" y="5814271"/>
            <a:ext cx="0" cy="2735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59" name="Rett linje 358">
            <a:extLst>
              <a:ext uri="{FF2B5EF4-FFF2-40B4-BE49-F238E27FC236}">
                <a16:creationId xmlns:a16="http://schemas.microsoft.com/office/drawing/2014/main" id="{91EDDFC6-D1A8-4C1C-8AB3-91EF22A3F17E}"/>
              </a:ext>
            </a:extLst>
          </p:cNvPr>
          <p:cNvCxnSpPr/>
          <p:nvPr/>
        </p:nvCxnSpPr>
        <p:spPr>
          <a:xfrm>
            <a:off x="11772239" y="6539513"/>
            <a:ext cx="0" cy="559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Rounded Rectangle 731">
            <a:extLst>
              <a:ext uri="{FF2B5EF4-FFF2-40B4-BE49-F238E27FC236}">
                <a16:creationId xmlns:a16="http://schemas.microsoft.com/office/drawing/2014/main" id="{B0A0FD2E-52F3-465C-95DC-9543C9954077}"/>
              </a:ext>
            </a:extLst>
          </p:cNvPr>
          <p:cNvSpPr/>
          <p:nvPr/>
        </p:nvSpPr>
        <p:spPr>
          <a:xfrm>
            <a:off x="11194855" y="6965817"/>
            <a:ext cx="971937" cy="719953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endParaRPr lang="nb-NO" sz="18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4" name="Rounded Rectangle 552">
            <a:extLst>
              <a:ext uri="{FF2B5EF4-FFF2-40B4-BE49-F238E27FC236}">
                <a16:creationId xmlns:a16="http://schemas.microsoft.com/office/drawing/2014/main" id="{FE75F10F-B7CE-42C9-AAD4-3D0168D5DBB9}"/>
              </a:ext>
            </a:extLst>
          </p:cNvPr>
          <p:cNvSpPr/>
          <p:nvPr/>
        </p:nvSpPr>
        <p:spPr>
          <a:xfrm>
            <a:off x="11184096" y="6233215"/>
            <a:ext cx="1079512" cy="498206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4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Helse Bergen HF</a:t>
            </a:r>
            <a:endParaRPr lang="nb-NO" sz="11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5" name="Can 55">
            <a:extLst>
              <a:ext uri="{FF2B5EF4-FFF2-40B4-BE49-F238E27FC236}">
                <a16:creationId xmlns:a16="http://schemas.microsoft.com/office/drawing/2014/main" id="{9D63F81D-24C3-4AC6-80D4-5642A631D4EA}"/>
              </a:ext>
            </a:extLst>
          </p:cNvPr>
          <p:cNvSpPr/>
          <p:nvPr/>
        </p:nvSpPr>
        <p:spPr>
          <a:xfrm>
            <a:off x="11404191" y="7099313"/>
            <a:ext cx="573599" cy="364162"/>
          </a:xfrm>
          <a:prstGeom prst="can">
            <a:avLst>
              <a:gd name="adj" fmla="val 19776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6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sp>
        <p:nvSpPr>
          <p:cNvPr id="391" name="Rounded Rectangle 731">
            <a:extLst>
              <a:ext uri="{FF2B5EF4-FFF2-40B4-BE49-F238E27FC236}">
                <a16:creationId xmlns:a16="http://schemas.microsoft.com/office/drawing/2014/main" id="{ED8432C2-0DB4-405B-84D3-2C20715396D7}"/>
              </a:ext>
            </a:extLst>
          </p:cNvPr>
          <p:cNvSpPr/>
          <p:nvPr/>
        </p:nvSpPr>
        <p:spPr>
          <a:xfrm>
            <a:off x="8936226" y="4134761"/>
            <a:ext cx="8074354" cy="316025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-møtet</a:t>
            </a:r>
          </a:p>
        </p:txBody>
      </p:sp>
      <p:cxnSp>
        <p:nvCxnSpPr>
          <p:cNvPr id="392" name="Rett pilkobling 391">
            <a:extLst>
              <a:ext uri="{FF2B5EF4-FFF2-40B4-BE49-F238E27FC236}">
                <a16:creationId xmlns:a16="http://schemas.microsoft.com/office/drawing/2014/main" id="{7815189C-7FB9-4427-81B9-43AF125ABBC3}"/>
              </a:ext>
            </a:extLst>
          </p:cNvPr>
          <p:cNvCxnSpPr>
            <a:cxnSpLocks/>
          </p:cNvCxnSpPr>
          <p:nvPr/>
        </p:nvCxnSpPr>
        <p:spPr>
          <a:xfrm>
            <a:off x="12940765" y="4424107"/>
            <a:ext cx="0" cy="2556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94" name="Rett pilkobling 393">
            <a:extLst>
              <a:ext uri="{FF2B5EF4-FFF2-40B4-BE49-F238E27FC236}">
                <a16:creationId xmlns:a16="http://schemas.microsoft.com/office/drawing/2014/main" id="{BD869AB3-03F8-4E06-971C-E9FCF8B9C594}"/>
              </a:ext>
            </a:extLst>
          </p:cNvPr>
          <p:cNvCxnSpPr>
            <a:cxnSpLocks/>
            <a:stCxn id="276" idx="6"/>
          </p:cNvCxnSpPr>
          <p:nvPr/>
        </p:nvCxnSpPr>
        <p:spPr>
          <a:xfrm>
            <a:off x="8389844" y="4923628"/>
            <a:ext cx="469609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95" name="TextBox 188">
            <a:extLst>
              <a:ext uri="{FF2B5EF4-FFF2-40B4-BE49-F238E27FC236}">
                <a16:creationId xmlns:a16="http://schemas.microsoft.com/office/drawing/2014/main" id="{11CC91E0-9AE6-49BB-A22A-37E3350C57DC}"/>
              </a:ext>
            </a:extLst>
          </p:cNvPr>
          <p:cNvSpPr txBox="1"/>
          <p:nvPr/>
        </p:nvSpPr>
        <p:spPr>
          <a:xfrm>
            <a:off x="6157562" y="4248522"/>
            <a:ext cx="1962278" cy="1318237"/>
          </a:xfrm>
          <a:prstGeom prst="rect">
            <a:avLst/>
          </a:prstGeom>
          <a:noFill/>
          <a:ln>
            <a:noFill/>
          </a:ln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b="1" dirty="0">
                <a:solidFill>
                  <a:srgbClr val="281C2C"/>
                </a:solidFill>
                <a:latin typeface="Arial" panose="020B0604020202020204"/>
              </a:rPr>
              <a:t>6,5 MNOK</a:t>
            </a:r>
            <a:endParaRPr lang="nb-NO" sz="1400" dirty="0">
              <a:solidFill>
                <a:srgbClr val="281C2C"/>
              </a:solidFill>
              <a:latin typeface="Arial" panose="020B0604020202020204"/>
            </a:endParaRPr>
          </a:p>
        </p:txBody>
      </p:sp>
      <p:pic>
        <p:nvPicPr>
          <p:cNvPr id="396" name="Picture 2" descr="Image result for dollartegn">
            <a:extLst>
              <a:ext uri="{FF2B5EF4-FFF2-40B4-BE49-F238E27FC236}">
                <a16:creationId xmlns:a16="http://schemas.microsoft.com/office/drawing/2014/main" id="{5A286BDE-5E9D-465F-847C-BEAF350FC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8302" y="4644511"/>
            <a:ext cx="270690" cy="51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8" name="Rett pilkobling 397">
            <a:extLst>
              <a:ext uri="{FF2B5EF4-FFF2-40B4-BE49-F238E27FC236}">
                <a16:creationId xmlns:a16="http://schemas.microsoft.com/office/drawing/2014/main" id="{51B94623-AB1B-4C3E-84F3-ED4E12AB2988}"/>
              </a:ext>
            </a:extLst>
          </p:cNvPr>
          <p:cNvCxnSpPr/>
          <p:nvPr/>
        </p:nvCxnSpPr>
        <p:spPr>
          <a:xfrm>
            <a:off x="9585784" y="3822926"/>
            <a:ext cx="0" cy="38581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399" name="Rett pilkobling 398">
            <a:extLst>
              <a:ext uri="{FF2B5EF4-FFF2-40B4-BE49-F238E27FC236}">
                <a16:creationId xmlns:a16="http://schemas.microsoft.com/office/drawing/2014/main" id="{3D45C148-C6A9-4EE3-B3E2-FF10B241F160}"/>
              </a:ext>
            </a:extLst>
          </p:cNvPr>
          <p:cNvCxnSpPr/>
          <p:nvPr/>
        </p:nvCxnSpPr>
        <p:spPr>
          <a:xfrm>
            <a:off x="11851580" y="3827993"/>
            <a:ext cx="0" cy="38581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00" name="Rett pilkobling 399">
            <a:extLst>
              <a:ext uri="{FF2B5EF4-FFF2-40B4-BE49-F238E27FC236}">
                <a16:creationId xmlns:a16="http://schemas.microsoft.com/office/drawing/2014/main" id="{882069E2-0852-4428-A566-3547841C5618}"/>
              </a:ext>
            </a:extLst>
          </p:cNvPr>
          <p:cNvCxnSpPr/>
          <p:nvPr/>
        </p:nvCxnSpPr>
        <p:spPr>
          <a:xfrm>
            <a:off x="14197583" y="3833061"/>
            <a:ext cx="0" cy="38581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01" name="Rett pilkobling 400">
            <a:extLst>
              <a:ext uri="{FF2B5EF4-FFF2-40B4-BE49-F238E27FC236}">
                <a16:creationId xmlns:a16="http://schemas.microsoft.com/office/drawing/2014/main" id="{AEA6FE3B-D938-4BC2-B0B9-9C31B0929A6E}"/>
              </a:ext>
            </a:extLst>
          </p:cNvPr>
          <p:cNvCxnSpPr/>
          <p:nvPr/>
        </p:nvCxnSpPr>
        <p:spPr>
          <a:xfrm>
            <a:off x="16639830" y="3822088"/>
            <a:ext cx="0" cy="385819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91" name="TekstSylinder 190">
            <a:extLst>
              <a:ext uri="{FF2B5EF4-FFF2-40B4-BE49-F238E27FC236}">
                <a16:creationId xmlns:a16="http://schemas.microsoft.com/office/drawing/2014/main" id="{34732162-15DC-4C9B-8926-26BE90D66F84}"/>
              </a:ext>
            </a:extLst>
          </p:cNvPr>
          <p:cNvSpPr txBox="1"/>
          <p:nvPr/>
        </p:nvSpPr>
        <p:spPr>
          <a:xfrm>
            <a:off x="14521687" y="11910569"/>
            <a:ext cx="6328358" cy="2092808"/>
          </a:xfrm>
          <a:prstGeom prst="rect">
            <a:avLst/>
          </a:prstGeom>
          <a:noFill/>
        </p:spPr>
        <p:txBody>
          <a:bodyPr vert="horz" wrap="square" lIns="546064" tIns="546064" rIns="546064" bIns="546064" rtlCol="0">
            <a:spAutoFit/>
          </a:bodyPr>
          <a:lstStyle/>
          <a:p>
            <a:pPr defTabSz="1828619">
              <a:spcAft>
                <a:spcPts val="1000"/>
              </a:spcAft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** Figuren viser eksempler på prosjekter som støttes. Det finnes også andre prosjekter som ikke er tegnet opp her som får bevilget midler fra sentrale aktører</a:t>
            </a:r>
          </a:p>
          <a:p>
            <a:pPr defTabSz="1828619">
              <a:spcAft>
                <a:spcPts val="1000"/>
              </a:spcAft>
            </a:pPr>
            <a:r>
              <a:rPr lang="nb-NO" sz="1400" dirty="0">
                <a:solidFill>
                  <a:srgbClr val="281C2C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17" name="Can 55">
            <a:extLst>
              <a:ext uri="{FF2B5EF4-FFF2-40B4-BE49-F238E27FC236}">
                <a16:creationId xmlns:a16="http://schemas.microsoft.com/office/drawing/2014/main" id="{2CD100AC-1E19-4B88-A647-50192373261E}"/>
              </a:ext>
            </a:extLst>
          </p:cNvPr>
          <p:cNvSpPr/>
          <p:nvPr/>
        </p:nvSpPr>
        <p:spPr>
          <a:xfrm>
            <a:off x="7984304" y="5936261"/>
            <a:ext cx="439127" cy="320305"/>
          </a:xfrm>
          <a:prstGeom prst="can">
            <a:avLst>
              <a:gd name="adj" fmla="val 19776"/>
            </a:avLst>
          </a:prstGeom>
          <a:solidFill>
            <a:schemeClr val="tx2">
              <a:lumMod val="5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52326" tIns="76163" rIns="152326" bIns="76163" rtlCol="0" anchor="ctr"/>
          <a:lstStyle/>
          <a:p>
            <a:pPr algn="ctr" defTabSz="1827819">
              <a:defRPr/>
            </a:pPr>
            <a:r>
              <a:rPr lang="nb-NO" sz="16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cxnSp>
        <p:nvCxnSpPr>
          <p:cNvPr id="219" name="Straight Connector 146">
            <a:extLst>
              <a:ext uri="{FF2B5EF4-FFF2-40B4-BE49-F238E27FC236}">
                <a16:creationId xmlns:a16="http://schemas.microsoft.com/office/drawing/2014/main" id="{B1813DDA-85F6-43D6-8761-23AF5AFEE54B}"/>
              </a:ext>
            </a:extLst>
          </p:cNvPr>
          <p:cNvCxnSpPr/>
          <p:nvPr/>
        </p:nvCxnSpPr>
        <p:spPr>
          <a:xfrm>
            <a:off x="9299380" y="6333156"/>
            <a:ext cx="0" cy="155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Rett linje 220">
            <a:extLst>
              <a:ext uri="{FF2B5EF4-FFF2-40B4-BE49-F238E27FC236}">
                <a16:creationId xmlns:a16="http://schemas.microsoft.com/office/drawing/2014/main" id="{36F87285-234C-4FB4-9053-345AE380D6BF}"/>
              </a:ext>
            </a:extLst>
          </p:cNvPr>
          <p:cNvCxnSpPr/>
          <p:nvPr/>
        </p:nvCxnSpPr>
        <p:spPr>
          <a:xfrm>
            <a:off x="8165482" y="6929263"/>
            <a:ext cx="0" cy="18073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Rett linje 225">
            <a:extLst>
              <a:ext uri="{FF2B5EF4-FFF2-40B4-BE49-F238E27FC236}">
                <a16:creationId xmlns:a16="http://schemas.microsoft.com/office/drawing/2014/main" id="{3208A357-63EF-45DE-8887-0E3A936E48EB}"/>
              </a:ext>
            </a:extLst>
          </p:cNvPr>
          <p:cNvCxnSpPr/>
          <p:nvPr/>
        </p:nvCxnSpPr>
        <p:spPr>
          <a:xfrm>
            <a:off x="9248258" y="6929263"/>
            <a:ext cx="0" cy="18073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Rett linje 226">
            <a:extLst>
              <a:ext uri="{FF2B5EF4-FFF2-40B4-BE49-F238E27FC236}">
                <a16:creationId xmlns:a16="http://schemas.microsoft.com/office/drawing/2014/main" id="{0A3D9CCA-C876-4AFB-A9BD-D5FCAF497C93}"/>
              </a:ext>
            </a:extLst>
          </p:cNvPr>
          <p:cNvCxnSpPr/>
          <p:nvPr/>
        </p:nvCxnSpPr>
        <p:spPr>
          <a:xfrm>
            <a:off x="10331033" y="6929263"/>
            <a:ext cx="0" cy="18073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0" name="Rett linje 229">
            <a:extLst>
              <a:ext uri="{FF2B5EF4-FFF2-40B4-BE49-F238E27FC236}">
                <a16:creationId xmlns:a16="http://schemas.microsoft.com/office/drawing/2014/main" id="{F2D73419-40C0-4445-8E86-27EFD82C2FFB}"/>
              </a:ext>
            </a:extLst>
          </p:cNvPr>
          <p:cNvCxnSpPr>
            <a:cxnSpLocks/>
            <a:endCxn id="237" idx="3"/>
          </p:cNvCxnSpPr>
          <p:nvPr/>
        </p:nvCxnSpPr>
        <p:spPr>
          <a:xfrm>
            <a:off x="6831871" y="7074793"/>
            <a:ext cx="32714" cy="18369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1" name="Gruppe 230">
            <a:extLst>
              <a:ext uri="{FF2B5EF4-FFF2-40B4-BE49-F238E27FC236}">
                <a16:creationId xmlns:a16="http://schemas.microsoft.com/office/drawing/2014/main" id="{1D6D314F-4527-4403-A89F-3239669E6333}"/>
              </a:ext>
            </a:extLst>
          </p:cNvPr>
          <p:cNvGrpSpPr/>
          <p:nvPr/>
        </p:nvGrpSpPr>
        <p:grpSpPr>
          <a:xfrm>
            <a:off x="6269450" y="7231112"/>
            <a:ext cx="1176067" cy="615164"/>
            <a:chOff x="7515374" y="10068018"/>
            <a:chExt cx="1176143" cy="615203"/>
          </a:xfrm>
        </p:grpSpPr>
        <p:sp>
          <p:nvSpPr>
            <p:cNvPr id="232" name="Rounded Rectangle 731">
              <a:extLst>
                <a:ext uri="{FF2B5EF4-FFF2-40B4-BE49-F238E27FC236}">
                  <a16:creationId xmlns:a16="http://schemas.microsoft.com/office/drawing/2014/main" id="{9AFFC158-7893-4A23-AF81-E2727EDD038C}"/>
                </a:ext>
              </a:extLst>
            </p:cNvPr>
            <p:cNvSpPr/>
            <p:nvPr/>
          </p:nvSpPr>
          <p:spPr>
            <a:xfrm>
              <a:off x="7515374" y="10068018"/>
              <a:ext cx="1176143" cy="615203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3" name="Can 55">
              <a:extLst>
                <a:ext uri="{FF2B5EF4-FFF2-40B4-BE49-F238E27FC236}">
                  <a16:creationId xmlns:a16="http://schemas.microsoft.com/office/drawing/2014/main" id="{59229948-478B-466A-9985-354CEDD579A9}"/>
                </a:ext>
              </a:extLst>
            </p:cNvPr>
            <p:cNvSpPr/>
            <p:nvPr/>
          </p:nvSpPr>
          <p:spPr>
            <a:xfrm>
              <a:off x="7587053" y="10157350"/>
              <a:ext cx="1013644" cy="417035"/>
            </a:xfrm>
            <a:prstGeom prst="can">
              <a:avLst>
                <a:gd name="adj" fmla="val 19776"/>
              </a:avLst>
            </a:prstGeom>
            <a:solidFill>
              <a:schemeClr val="tx2">
                <a:lumMod val="5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2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Kreft-registeret</a:t>
              </a:r>
            </a:p>
          </p:txBody>
        </p:sp>
      </p:grpSp>
      <p:grpSp>
        <p:nvGrpSpPr>
          <p:cNvPr id="234" name="Gruppe 233">
            <a:extLst>
              <a:ext uri="{FF2B5EF4-FFF2-40B4-BE49-F238E27FC236}">
                <a16:creationId xmlns:a16="http://schemas.microsoft.com/office/drawing/2014/main" id="{594AD423-2118-4EBF-9CDF-0B54DFB714EF}"/>
              </a:ext>
            </a:extLst>
          </p:cNvPr>
          <p:cNvGrpSpPr/>
          <p:nvPr/>
        </p:nvGrpSpPr>
        <p:grpSpPr>
          <a:xfrm>
            <a:off x="6355365" y="8331364"/>
            <a:ext cx="1018444" cy="766170"/>
            <a:chOff x="8027436" y="9995523"/>
            <a:chExt cx="1018510" cy="766219"/>
          </a:xfrm>
        </p:grpSpPr>
        <p:sp>
          <p:nvSpPr>
            <p:cNvPr id="235" name="Rounded Rectangle 731">
              <a:extLst>
                <a:ext uri="{FF2B5EF4-FFF2-40B4-BE49-F238E27FC236}">
                  <a16:creationId xmlns:a16="http://schemas.microsoft.com/office/drawing/2014/main" id="{77C4A0C6-7679-4259-9019-4CB6B6CD47EB}"/>
                </a:ext>
              </a:extLst>
            </p:cNvPr>
            <p:cNvSpPr/>
            <p:nvPr/>
          </p:nvSpPr>
          <p:spPr>
            <a:xfrm>
              <a:off x="8027436" y="9995523"/>
              <a:ext cx="1018510" cy="766219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7" name="Can 55">
              <a:extLst>
                <a:ext uri="{FF2B5EF4-FFF2-40B4-BE49-F238E27FC236}">
                  <a16:creationId xmlns:a16="http://schemas.microsoft.com/office/drawing/2014/main" id="{B2788FDC-E90C-4424-82AA-B354722228F9}"/>
                </a:ext>
              </a:extLst>
            </p:cNvPr>
            <p:cNvSpPr/>
            <p:nvPr/>
          </p:nvSpPr>
          <p:spPr>
            <a:xfrm>
              <a:off x="8206305" y="10181362"/>
              <a:ext cx="660772" cy="394540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8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8</a:t>
              </a:r>
              <a:endParaRPr lang="nb-NO" sz="16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38" name="Rounded Rectangle 552">
            <a:extLst>
              <a:ext uri="{FF2B5EF4-FFF2-40B4-BE49-F238E27FC236}">
                <a16:creationId xmlns:a16="http://schemas.microsoft.com/office/drawing/2014/main" id="{4B8237E8-2021-4793-9D81-B0298AAD9930}"/>
              </a:ext>
            </a:extLst>
          </p:cNvPr>
          <p:cNvSpPr/>
          <p:nvPr/>
        </p:nvSpPr>
        <p:spPr>
          <a:xfrm>
            <a:off x="6292546" y="7935603"/>
            <a:ext cx="1136990" cy="315725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KRG/OUS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40" name="Gruppe 239">
            <a:extLst>
              <a:ext uri="{FF2B5EF4-FFF2-40B4-BE49-F238E27FC236}">
                <a16:creationId xmlns:a16="http://schemas.microsoft.com/office/drawing/2014/main" id="{6C86E8E1-EDDE-4253-A546-DEDA3A963E58}"/>
              </a:ext>
            </a:extLst>
          </p:cNvPr>
          <p:cNvGrpSpPr/>
          <p:nvPr/>
        </p:nvGrpSpPr>
        <p:grpSpPr>
          <a:xfrm>
            <a:off x="7537499" y="8332875"/>
            <a:ext cx="1013578" cy="763152"/>
            <a:chOff x="9342453" y="9979371"/>
            <a:chExt cx="1013644" cy="763201"/>
          </a:xfrm>
        </p:grpSpPr>
        <p:sp>
          <p:nvSpPr>
            <p:cNvPr id="243" name="Rounded Rectangle 731">
              <a:extLst>
                <a:ext uri="{FF2B5EF4-FFF2-40B4-BE49-F238E27FC236}">
                  <a16:creationId xmlns:a16="http://schemas.microsoft.com/office/drawing/2014/main" id="{65B705A3-BFCB-44CA-9BB6-F5E0E3E79B03}"/>
                </a:ext>
              </a:extLst>
            </p:cNvPr>
            <p:cNvSpPr/>
            <p:nvPr/>
          </p:nvSpPr>
          <p:spPr>
            <a:xfrm>
              <a:off x="9342453" y="9979371"/>
              <a:ext cx="1013644" cy="763201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7" name="Can 55">
              <a:extLst>
                <a:ext uri="{FF2B5EF4-FFF2-40B4-BE49-F238E27FC236}">
                  <a16:creationId xmlns:a16="http://schemas.microsoft.com/office/drawing/2014/main" id="{825D52B7-BCAA-4796-8E98-7BC0EA89F772}"/>
                </a:ext>
              </a:extLst>
            </p:cNvPr>
            <p:cNvSpPr/>
            <p:nvPr/>
          </p:nvSpPr>
          <p:spPr>
            <a:xfrm>
              <a:off x="9556884" y="10169064"/>
              <a:ext cx="584782" cy="383814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8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11</a:t>
              </a:r>
              <a:endParaRPr lang="nb-NO" sz="16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79" name="Rounded Rectangle 552">
            <a:extLst>
              <a:ext uri="{FF2B5EF4-FFF2-40B4-BE49-F238E27FC236}">
                <a16:creationId xmlns:a16="http://schemas.microsoft.com/office/drawing/2014/main" id="{E41D2AA0-2F0E-4AE7-B94B-5D5E7EEA0A4E}"/>
              </a:ext>
            </a:extLst>
          </p:cNvPr>
          <p:cNvSpPr/>
          <p:nvPr/>
        </p:nvSpPr>
        <p:spPr>
          <a:xfrm>
            <a:off x="7663240" y="6503151"/>
            <a:ext cx="1012736" cy="434132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OUS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81" name="Gruppe 280">
            <a:extLst>
              <a:ext uri="{FF2B5EF4-FFF2-40B4-BE49-F238E27FC236}">
                <a16:creationId xmlns:a16="http://schemas.microsoft.com/office/drawing/2014/main" id="{EDB3CBB6-AFEE-4422-BA7A-3368233590F9}"/>
              </a:ext>
            </a:extLst>
          </p:cNvPr>
          <p:cNvGrpSpPr/>
          <p:nvPr/>
        </p:nvGrpSpPr>
        <p:grpSpPr>
          <a:xfrm>
            <a:off x="8714771" y="8332875"/>
            <a:ext cx="1009108" cy="763152"/>
            <a:chOff x="10623921" y="9962117"/>
            <a:chExt cx="1009173" cy="763201"/>
          </a:xfrm>
        </p:grpSpPr>
        <p:sp>
          <p:nvSpPr>
            <p:cNvPr id="283" name="Rounded Rectangle 731">
              <a:extLst>
                <a:ext uri="{FF2B5EF4-FFF2-40B4-BE49-F238E27FC236}">
                  <a16:creationId xmlns:a16="http://schemas.microsoft.com/office/drawing/2014/main" id="{A0AB49F7-DEF5-48CF-87C3-28E2C1CD3CCB}"/>
                </a:ext>
              </a:extLst>
            </p:cNvPr>
            <p:cNvSpPr/>
            <p:nvPr/>
          </p:nvSpPr>
          <p:spPr>
            <a:xfrm>
              <a:off x="10623921" y="9962117"/>
              <a:ext cx="1009173" cy="763201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5" name="Can 55">
              <a:extLst>
                <a:ext uri="{FF2B5EF4-FFF2-40B4-BE49-F238E27FC236}">
                  <a16:creationId xmlns:a16="http://schemas.microsoft.com/office/drawing/2014/main" id="{B29E11A0-76BD-4789-87A0-D11415319033}"/>
                </a:ext>
              </a:extLst>
            </p:cNvPr>
            <p:cNvSpPr/>
            <p:nvPr/>
          </p:nvSpPr>
          <p:spPr>
            <a:xfrm>
              <a:off x="10841690" y="10161624"/>
              <a:ext cx="573635" cy="364186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8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nb-NO" sz="16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87" name="Rounded Rectangle 552">
            <a:extLst>
              <a:ext uri="{FF2B5EF4-FFF2-40B4-BE49-F238E27FC236}">
                <a16:creationId xmlns:a16="http://schemas.microsoft.com/office/drawing/2014/main" id="{F2D537C4-7D8D-4A82-91B7-EDC11BEA0371}"/>
              </a:ext>
            </a:extLst>
          </p:cNvPr>
          <p:cNvSpPr/>
          <p:nvPr/>
        </p:nvSpPr>
        <p:spPr>
          <a:xfrm>
            <a:off x="8773949" y="6503151"/>
            <a:ext cx="995499" cy="434492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2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Sykehuset Telemark</a:t>
            </a:r>
            <a:endParaRPr lang="nb-NO" sz="105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88" name="Gruppe 287">
            <a:extLst>
              <a:ext uri="{FF2B5EF4-FFF2-40B4-BE49-F238E27FC236}">
                <a16:creationId xmlns:a16="http://schemas.microsoft.com/office/drawing/2014/main" id="{4B7F8088-D8C8-4F58-BBA7-D3C5164B8ACF}"/>
              </a:ext>
            </a:extLst>
          </p:cNvPr>
          <p:cNvGrpSpPr/>
          <p:nvPr/>
        </p:nvGrpSpPr>
        <p:grpSpPr>
          <a:xfrm>
            <a:off x="9887571" y="8321277"/>
            <a:ext cx="1032775" cy="786345"/>
            <a:chOff x="9723951" y="11578284"/>
            <a:chExt cx="1032842" cy="786396"/>
          </a:xfrm>
        </p:grpSpPr>
        <p:sp>
          <p:nvSpPr>
            <p:cNvPr id="289" name="Rounded Rectangle 731">
              <a:extLst>
                <a:ext uri="{FF2B5EF4-FFF2-40B4-BE49-F238E27FC236}">
                  <a16:creationId xmlns:a16="http://schemas.microsoft.com/office/drawing/2014/main" id="{2B632763-C6F4-43F7-9F72-F75650F52A70}"/>
                </a:ext>
              </a:extLst>
            </p:cNvPr>
            <p:cNvSpPr/>
            <p:nvPr/>
          </p:nvSpPr>
          <p:spPr>
            <a:xfrm>
              <a:off x="9723951" y="11578284"/>
              <a:ext cx="1032842" cy="786396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0" name="Can 55">
              <a:extLst>
                <a:ext uri="{FF2B5EF4-FFF2-40B4-BE49-F238E27FC236}">
                  <a16:creationId xmlns:a16="http://schemas.microsoft.com/office/drawing/2014/main" id="{7989C212-F479-438E-89F2-2B34B5B06818}"/>
                </a:ext>
              </a:extLst>
            </p:cNvPr>
            <p:cNvSpPr/>
            <p:nvPr/>
          </p:nvSpPr>
          <p:spPr>
            <a:xfrm>
              <a:off x="9932065" y="11793912"/>
              <a:ext cx="616614" cy="355141"/>
            </a:xfrm>
            <a:prstGeom prst="can">
              <a:avLst>
                <a:gd name="adj" fmla="val 19776"/>
              </a:avLst>
            </a:prstGeom>
            <a:solidFill>
              <a:schemeClr val="accent5">
                <a:lumMod val="75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8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endParaRPr lang="nb-NO" sz="1600" dirty="0">
                <a:solidFill>
                  <a:prstClr val="white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91" name="Rounded Rectangle 552">
            <a:extLst>
              <a:ext uri="{FF2B5EF4-FFF2-40B4-BE49-F238E27FC236}">
                <a16:creationId xmlns:a16="http://schemas.microsoft.com/office/drawing/2014/main" id="{ACFF80FB-E0B9-4658-BBD9-8D4766749A30}"/>
              </a:ext>
            </a:extLst>
          </p:cNvPr>
          <p:cNvSpPr/>
          <p:nvPr/>
        </p:nvSpPr>
        <p:spPr>
          <a:xfrm>
            <a:off x="9867772" y="6503151"/>
            <a:ext cx="1072376" cy="459538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t"/>
          <a:lstStyle/>
          <a:p>
            <a:pPr algn="ctr" defTabSz="1828187">
              <a:defRPr/>
            </a:pPr>
            <a:r>
              <a:rPr lang="nb-NO" sz="12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Sykehuset Vestfold</a:t>
            </a:r>
            <a:endParaRPr lang="nb-NO" sz="105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92" name="Straight Connector 145">
            <a:extLst>
              <a:ext uri="{FF2B5EF4-FFF2-40B4-BE49-F238E27FC236}">
                <a16:creationId xmlns:a16="http://schemas.microsoft.com/office/drawing/2014/main" id="{5533F721-B6FD-440D-86BB-4E9E904DE01B}"/>
              </a:ext>
            </a:extLst>
          </p:cNvPr>
          <p:cNvCxnSpPr/>
          <p:nvPr/>
        </p:nvCxnSpPr>
        <p:spPr>
          <a:xfrm>
            <a:off x="8181523" y="6332524"/>
            <a:ext cx="0" cy="155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147">
            <a:extLst>
              <a:ext uri="{FF2B5EF4-FFF2-40B4-BE49-F238E27FC236}">
                <a16:creationId xmlns:a16="http://schemas.microsoft.com/office/drawing/2014/main" id="{F4F04E21-448E-4786-AB44-082C141E385B}"/>
              </a:ext>
            </a:extLst>
          </p:cNvPr>
          <p:cNvCxnSpPr/>
          <p:nvPr/>
        </p:nvCxnSpPr>
        <p:spPr>
          <a:xfrm>
            <a:off x="10438746" y="6335752"/>
            <a:ext cx="0" cy="155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Rett linje 293">
            <a:extLst>
              <a:ext uri="{FF2B5EF4-FFF2-40B4-BE49-F238E27FC236}">
                <a16:creationId xmlns:a16="http://schemas.microsoft.com/office/drawing/2014/main" id="{5D98C27B-BFC4-44BF-9952-E1C0ADCDFD36}"/>
              </a:ext>
            </a:extLst>
          </p:cNvPr>
          <p:cNvCxnSpPr/>
          <p:nvPr/>
        </p:nvCxnSpPr>
        <p:spPr>
          <a:xfrm>
            <a:off x="6831871" y="7074792"/>
            <a:ext cx="13202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Rett linje 294">
            <a:extLst>
              <a:ext uri="{FF2B5EF4-FFF2-40B4-BE49-F238E27FC236}">
                <a16:creationId xmlns:a16="http://schemas.microsoft.com/office/drawing/2014/main" id="{922DE41F-AA4C-4268-B43D-D1048AC691EB}"/>
              </a:ext>
            </a:extLst>
          </p:cNvPr>
          <p:cNvCxnSpPr/>
          <p:nvPr/>
        </p:nvCxnSpPr>
        <p:spPr>
          <a:xfrm>
            <a:off x="8174992" y="6327093"/>
            <a:ext cx="226674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Rounded Rectangle 552">
            <a:extLst>
              <a:ext uri="{FF2B5EF4-FFF2-40B4-BE49-F238E27FC236}">
                <a16:creationId xmlns:a16="http://schemas.microsoft.com/office/drawing/2014/main" id="{D698EB23-5AA7-465E-9A6A-7153BC7C5634}"/>
              </a:ext>
            </a:extLst>
          </p:cNvPr>
          <p:cNvSpPr/>
          <p:nvPr/>
        </p:nvSpPr>
        <p:spPr>
          <a:xfrm>
            <a:off x="12082326" y="11073545"/>
            <a:ext cx="2957965" cy="629881"/>
          </a:xfrm>
          <a:prstGeom prst="roundRect">
            <a:avLst>
              <a:gd name="adj" fmla="val 3293"/>
            </a:avLst>
          </a:prstGeom>
          <a:solidFill>
            <a:schemeClr val="bg1">
              <a:lumMod val="95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7" rIns="91412" bIns="45707" rtlCol="0" anchor="ctr"/>
          <a:lstStyle/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Næringsliv</a:t>
            </a:r>
          </a:p>
          <a:p>
            <a:pPr algn="ctr" defTabSz="1828187">
              <a:defRPr/>
            </a:pPr>
            <a:r>
              <a:rPr lang="nb-NO" sz="16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rPr>
              <a:t>(Pharma, internasjonale m.m.)</a:t>
            </a:r>
            <a:endParaRPr lang="nb-NO" sz="1200" dirty="0">
              <a:solidFill>
                <a:prstClr val="black"/>
              </a:solidFill>
              <a:latin typeface="Arial" panose="020B0604020202020204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00" name="Rett pilkobling 299">
            <a:extLst>
              <a:ext uri="{FF2B5EF4-FFF2-40B4-BE49-F238E27FC236}">
                <a16:creationId xmlns:a16="http://schemas.microsoft.com/office/drawing/2014/main" id="{51A982AF-6955-46A0-AD0C-C8072A4D7342}"/>
              </a:ext>
            </a:extLst>
          </p:cNvPr>
          <p:cNvCxnSpPr>
            <a:cxnSpLocks/>
          </p:cNvCxnSpPr>
          <p:nvPr/>
        </p:nvCxnSpPr>
        <p:spPr>
          <a:xfrm flipV="1">
            <a:off x="2474023" y="5244891"/>
            <a:ext cx="5103404" cy="819095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Rett pilkobling 297">
            <a:extLst>
              <a:ext uri="{FF2B5EF4-FFF2-40B4-BE49-F238E27FC236}">
                <a16:creationId xmlns:a16="http://schemas.microsoft.com/office/drawing/2014/main" id="{00D67EFE-4CD1-41AA-A9AB-10DE23D42567}"/>
              </a:ext>
            </a:extLst>
          </p:cNvPr>
          <p:cNvCxnSpPr>
            <a:cxnSpLocks/>
          </p:cNvCxnSpPr>
          <p:nvPr/>
        </p:nvCxnSpPr>
        <p:spPr>
          <a:xfrm flipV="1">
            <a:off x="4125842" y="7730559"/>
            <a:ext cx="2083490" cy="333867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Gruppe 238">
            <a:extLst>
              <a:ext uri="{FF2B5EF4-FFF2-40B4-BE49-F238E27FC236}">
                <a16:creationId xmlns:a16="http://schemas.microsoft.com/office/drawing/2014/main" id="{D9DA6D65-989E-4096-A014-C8B82B866DA0}"/>
              </a:ext>
            </a:extLst>
          </p:cNvPr>
          <p:cNvGrpSpPr/>
          <p:nvPr/>
        </p:nvGrpSpPr>
        <p:grpSpPr>
          <a:xfrm>
            <a:off x="4252295" y="4506315"/>
            <a:ext cx="1299987" cy="2774135"/>
            <a:chOff x="2988839" y="4312198"/>
            <a:chExt cx="1300071" cy="2774315"/>
          </a:xfrm>
        </p:grpSpPr>
        <p:sp>
          <p:nvSpPr>
            <p:cNvPr id="599" name="Rounded Rectangle 731">
              <a:extLst>
                <a:ext uri="{FF2B5EF4-FFF2-40B4-BE49-F238E27FC236}">
                  <a16:creationId xmlns:a16="http://schemas.microsoft.com/office/drawing/2014/main" id="{A08D7646-6CAF-4A13-9835-3F2908E1E8FA}"/>
                </a:ext>
              </a:extLst>
            </p:cNvPr>
            <p:cNvSpPr/>
            <p:nvPr/>
          </p:nvSpPr>
          <p:spPr>
            <a:xfrm>
              <a:off x="2988839" y="4312198"/>
              <a:ext cx="1300071" cy="2774315"/>
            </a:xfrm>
            <a:prstGeom prst="roundRect">
              <a:avLst>
                <a:gd name="adj" fmla="val 3293"/>
              </a:avLst>
            </a:prstGeom>
            <a:solidFill>
              <a:schemeClr val="bg1">
                <a:lumMod val="95000"/>
              </a:schemeClr>
            </a:solidFill>
            <a:ln w="28575">
              <a:solidFill>
                <a:schemeClr val="accent4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t"/>
            <a:lstStyle/>
            <a:p>
              <a:pPr algn="ctr" defTabSz="1828187">
                <a:defRPr/>
              </a:pPr>
              <a:endParaRPr lang="nb-NO" sz="1800" dirty="0">
                <a:solidFill>
                  <a:prstClr val="black"/>
                </a:solidFill>
                <a:latin typeface="Arial" panose="020B0604020202020204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2" name="Can 55"/>
            <p:cNvSpPr/>
            <p:nvPr/>
          </p:nvSpPr>
          <p:spPr>
            <a:xfrm>
              <a:off x="3091177" y="4485397"/>
              <a:ext cx="1079810" cy="718905"/>
            </a:xfrm>
            <a:prstGeom prst="can">
              <a:avLst>
                <a:gd name="adj" fmla="val 19776"/>
              </a:avLst>
            </a:prstGeom>
            <a:solidFill>
              <a:schemeClr val="tx2">
                <a:lumMod val="5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2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NPR</a:t>
              </a:r>
            </a:p>
          </p:txBody>
        </p:sp>
        <p:sp>
          <p:nvSpPr>
            <p:cNvPr id="167" name="Can 55">
              <a:extLst>
                <a:ext uri="{FF2B5EF4-FFF2-40B4-BE49-F238E27FC236}">
                  <a16:creationId xmlns:a16="http://schemas.microsoft.com/office/drawing/2014/main" id="{8B0C80D8-48EE-4A93-ACD2-0F19C1871A29}"/>
                </a:ext>
              </a:extLst>
            </p:cNvPr>
            <p:cNvSpPr/>
            <p:nvPr/>
          </p:nvSpPr>
          <p:spPr>
            <a:xfrm>
              <a:off x="3092701" y="5343437"/>
              <a:ext cx="1079810" cy="718905"/>
            </a:xfrm>
            <a:prstGeom prst="can">
              <a:avLst>
                <a:gd name="adj" fmla="val 19776"/>
              </a:avLst>
            </a:prstGeom>
            <a:solidFill>
              <a:schemeClr val="tx2">
                <a:lumMod val="5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2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IPLOS</a:t>
              </a:r>
            </a:p>
          </p:txBody>
        </p:sp>
        <p:sp>
          <p:nvSpPr>
            <p:cNvPr id="168" name="Can 55">
              <a:extLst>
                <a:ext uri="{FF2B5EF4-FFF2-40B4-BE49-F238E27FC236}">
                  <a16:creationId xmlns:a16="http://schemas.microsoft.com/office/drawing/2014/main" id="{F8233830-7D01-4672-A65B-2E1F121F89DC}"/>
                </a:ext>
              </a:extLst>
            </p:cNvPr>
            <p:cNvSpPr/>
            <p:nvPr/>
          </p:nvSpPr>
          <p:spPr>
            <a:xfrm>
              <a:off x="3091177" y="6183037"/>
              <a:ext cx="1079810" cy="718905"/>
            </a:xfrm>
            <a:prstGeom prst="can">
              <a:avLst>
                <a:gd name="adj" fmla="val 19776"/>
              </a:avLst>
            </a:prstGeom>
            <a:solidFill>
              <a:schemeClr val="tx2">
                <a:lumMod val="50000"/>
              </a:schemeClr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152326" tIns="76163" rIns="152326" bIns="76163" rtlCol="0" anchor="ctr"/>
            <a:lstStyle/>
            <a:p>
              <a:pPr algn="ctr" defTabSz="1827819">
                <a:defRPr/>
              </a:pPr>
              <a:r>
                <a:rPr lang="nb-NO" sz="1200" dirty="0">
                  <a:solidFill>
                    <a:prstClr val="white"/>
                  </a:solidFill>
                  <a:latin typeface="Arial" panose="020B0604020202020204"/>
                  <a:ea typeface="Verdana" panose="020B0604030504040204" pitchFamily="34" charset="0"/>
                  <a:cs typeface="Verdana" panose="020B0604030504040204" pitchFamily="34" charset="0"/>
                </a:rPr>
                <a:t>KPR</a:t>
              </a:r>
            </a:p>
          </p:txBody>
        </p:sp>
      </p:grp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F19DB3D-CD28-45B9-B744-C2B12A87B94B}"/>
              </a:ext>
            </a:extLst>
          </p:cNvPr>
          <p:cNvSpPr txBox="1"/>
          <p:nvPr/>
        </p:nvSpPr>
        <p:spPr>
          <a:xfrm>
            <a:off x="17584596" y="4545381"/>
            <a:ext cx="100226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Ekspert-gruppen</a:t>
            </a:r>
          </a:p>
        </p:txBody>
      </p:sp>
      <p:sp>
        <p:nvSpPr>
          <p:cNvPr id="182" name="TekstSylinder 181">
            <a:extLst>
              <a:ext uri="{FF2B5EF4-FFF2-40B4-BE49-F238E27FC236}">
                <a16:creationId xmlns:a16="http://schemas.microsoft.com/office/drawing/2014/main" id="{9DF87900-47A3-4AA9-93A8-B02BD7CAE878}"/>
              </a:ext>
            </a:extLst>
          </p:cNvPr>
          <p:cNvSpPr txBox="1"/>
          <p:nvPr/>
        </p:nvSpPr>
        <p:spPr>
          <a:xfrm>
            <a:off x="16050002" y="5243987"/>
            <a:ext cx="100226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Service-miljø N</a:t>
            </a:r>
          </a:p>
        </p:txBody>
      </p:sp>
      <p:sp>
        <p:nvSpPr>
          <p:cNvPr id="183" name="TekstSylinder 182">
            <a:extLst>
              <a:ext uri="{FF2B5EF4-FFF2-40B4-BE49-F238E27FC236}">
                <a16:creationId xmlns:a16="http://schemas.microsoft.com/office/drawing/2014/main" id="{ECD71743-1CA5-495B-A08E-B62BBA8C8009}"/>
              </a:ext>
            </a:extLst>
          </p:cNvPr>
          <p:cNvSpPr txBox="1"/>
          <p:nvPr/>
        </p:nvSpPr>
        <p:spPr>
          <a:xfrm>
            <a:off x="13733162" y="5243987"/>
            <a:ext cx="100226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Service-miljø MN</a:t>
            </a:r>
          </a:p>
        </p:txBody>
      </p:sp>
      <p:sp>
        <p:nvSpPr>
          <p:cNvPr id="184" name="TekstSylinder 183">
            <a:extLst>
              <a:ext uri="{FF2B5EF4-FFF2-40B4-BE49-F238E27FC236}">
                <a16:creationId xmlns:a16="http://schemas.microsoft.com/office/drawing/2014/main" id="{CD0498BC-5B7F-4A94-A127-108B9C282E43}"/>
              </a:ext>
            </a:extLst>
          </p:cNvPr>
          <p:cNvSpPr txBox="1"/>
          <p:nvPr/>
        </p:nvSpPr>
        <p:spPr>
          <a:xfrm>
            <a:off x="11383083" y="5243987"/>
            <a:ext cx="100226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Service-miljø V</a:t>
            </a:r>
          </a:p>
        </p:txBody>
      </p:sp>
      <p:sp>
        <p:nvSpPr>
          <p:cNvPr id="185" name="TekstSylinder 184">
            <a:extLst>
              <a:ext uri="{FF2B5EF4-FFF2-40B4-BE49-F238E27FC236}">
                <a16:creationId xmlns:a16="http://schemas.microsoft.com/office/drawing/2014/main" id="{FFB09DDE-6AD8-4DA4-A127-C96A476B0459}"/>
              </a:ext>
            </a:extLst>
          </p:cNvPr>
          <p:cNvSpPr txBox="1"/>
          <p:nvPr/>
        </p:nvSpPr>
        <p:spPr>
          <a:xfrm>
            <a:off x="9082659" y="5243987"/>
            <a:ext cx="100226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Service-miljø SØ</a:t>
            </a:r>
          </a:p>
        </p:txBody>
      </p:sp>
      <p:sp>
        <p:nvSpPr>
          <p:cNvPr id="187" name="TekstSylinder 186">
            <a:extLst>
              <a:ext uri="{FF2B5EF4-FFF2-40B4-BE49-F238E27FC236}">
                <a16:creationId xmlns:a16="http://schemas.microsoft.com/office/drawing/2014/main" id="{DC4865EB-E32D-4B68-876D-3DFA6BC04D63}"/>
              </a:ext>
            </a:extLst>
          </p:cNvPr>
          <p:cNvSpPr txBox="1"/>
          <p:nvPr/>
        </p:nvSpPr>
        <p:spPr>
          <a:xfrm>
            <a:off x="18125513" y="5756916"/>
            <a:ext cx="1193652" cy="1653501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SKDE – Nasjonalt servicemiljø for medisinske kvalitets-registre</a:t>
            </a:r>
          </a:p>
        </p:txBody>
      </p:sp>
      <p:sp>
        <p:nvSpPr>
          <p:cNvPr id="189" name="TekstSylinder 188">
            <a:extLst>
              <a:ext uri="{FF2B5EF4-FFF2-40B4-BE49-F238E27FC236}">
                <a16:creationId xmlns:a16="http://schemas.microsoft.com/office/drawing/2014/main" id="{CF9D368B-EBD7-49C0-AC1E-3C156317A28F}"/>
              </a:ext>
            </a:extLst>
          </p:cNvPr>
          <p:cNvSpPr txBox="1"/>
          <p:nvPr/>
        </p:nvSpPr>
        <p:spPr>
          <a:xfrm>
            <a:off x="7669639" y="3972480"/>
            <a:ext cx="100226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Nasjonal IKT</a:t>
            </a:r>
          </a:p>
        </p:txBody>
      </p:sp>
      <p:sp>
        <p:nvSpPr>
          <p:cNvPr id="190" name="TekstSylinder 189">
            <a:extLst>
              <a:ext uri="{FF2B5EF4-FFF2-40B4-BE49-F238E27FC236}">
                <a16:creationId xmlns:a16="http://schemas.microsoft.com/office/drawing/2014/main" id="{3B91E0AC-0097-4594-A20F-AC0DBD27966B}"/>
              </a:ext>
            </a:extLst>
          </p:cNvPr>
          <p:cNvSpPr txBox="1"/>
          <p:nvPr/>
        </p:nvSpPr>
        <p:spPr>
          <a:xfrm>
            <a:off x="7669639" y="4651952"/>
            <a:ext cx="721559" cy="576283"/>
          </a:xfrm>
          <a:prstGeom prst="rect">
            <a:avLst/>
          </a:prstGeom>
          <a:noFill/>
        </p:spPr>
        <p:txBody>
          <a:bodyPr vert="horz" wrap="square" lIns="71995" tIns="71995" rIns="71995" bIns="71995" rtlCol="0">
            <a:spAutoFit/>
          </a:bodyPr>
          <a:lstStyle/>
          <a:p>
            <a:pPr>
              <a:spcAft>
                <a:spcPts val="2000"/>
              </a:spcAft>
            </a:pPr>
            <a:r>
              <a:rPr lang="nb-NO" sz="1400" dirty="0"/>
              <a:t>FMK-NIKT</a:t>
            </a:r>
          </a:p>
        </p:txBody>
      </p:sp>
    </p:spTree>
    <p:extLst>
      <p:ext uri="{BB962C8B-B14F-4D97-AF65-F5344CB8AC3E}">
        <p14:creationId xmlns:p14="http://schemas.microsoft.com/office/powerpoint/2010/main" val="20527936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2FC8138-A884-4AED-BF06-7A54CF124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178" y="404926"/>
            <a:ext cx="21566696" cy="1673620"/>
          </a:xfrm>
        </p:spPr>
        <p:txBody>
          <a:bodyPr/>
          <a:lstStyle/>
          <a:p>
            <a:r>
              <a:rPr lang="nb-NO" dirty="0" smtClean="0"/>
              <a:t>HDP utreder </a:t>
            </a:r>
            <a:r>
              <a:rPr lang="nb-NO" dirty="0"/>
              <a:t>fire alternative modeller for tilgangsforvalter og forvaltningsorganisasjon for Helseanalyseplattforme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08B55B73-E1B5-4844-966E-D524F7BA28E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de </a:t>
            </a:r>
            <a:fld id="{5751DFAA-887F-4071-8EAD-E8CA316FCF06}" type="slidenum">
              <a:rPr kumimoji="0" lang="nb-NO" sz="2000" b="0" i="0" u="none" strike="noStrike" kern="1200" cap="none" spc="0" normalizeH="0" baseline="0" noProof="0" smtClean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701A97F2-43A8-4430-B932-66FE7F9432DF}"/>
              </a:ext>
            </a:extLst>
          </p:cNvPr>
          <p:cNvSpPr/>
          <p:nvPr/>
        </p:nvSpPr>
        <p:spPr>
          <a:xfrm>
            <a:off x="1051717" y="2514663"/>
            <a:ext cx="900000" cy="900000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nb-NO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val 4">
            <a:extLst>
              <a:ext uri="{FF2B5EF4-FFF2-40B4-BE49-F238E27FC236}">
                <a16:creationId xmlns:a16="http://schemas.microsoft.com/office/drawing/2014/main" id="{ADFF53CC-099D-45F5-96F2-BFBBE3D6687D}"/>
              </a:ext>
            </a:extLst>
          </p:cNvPr>
          <p:cNvSpPr/>
          <p:nvPr/>
        </p:nvSpPr>
        <p:spPr>
          <a:xfrm>
            <a:off x="12981629" y="2514663"/>
            <a:ext cx="900000" cy="900000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8" name="Oval 4">
            <a:extLst>
              <a:ext uri="{FF2B5EF4-FFF2-40B4-BE49-F238E27FC236}">
                <a16:creationId xmlns:a16="http://schemas.microsoft.com/office/drawing/2014/main" id="{01863C14-25D0-47ED-9FD0-1614D4C89FA4}"/>
              </a:ext>
            </a:extLst>
          </p:cNvPr>
          <p:cNvSpPr/>
          <p:nvPr/>
        </p:nvSpPr>
        <p:spPr>
          <a:xfrm>
            <a:off x="1051717" y="7744484"/>
            <a:ext cx="900000" cy="900000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nb-NO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Oval 4">
            <a:extLst>
              <a:ext uri="{FF2B5EF4-FFF2-40B4-BE49-F238E27FC236}">
                <a16:creationId xmlns:a16="http://schemas.microsoft.com/office/drawing/2014/main" id="{8A7FC9D1-325E-4413-A6AC-A9D826EB317D}"/>
              </a:ext>
            </a:extLst>
          </p:cNvPr>
          <p:cNvSpPr/>
          <p:nvPr/>
        </p:nvSpPr>
        <p:spPr>
          <a:xfrm>
            <a:off x="12981629" y="7744484"/>
            <a:ext cx="900000" cy="900000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35BE85C-6F4D-4178-8D81-6386F54FD5D9}"/>
              </a:ext>
            </a:extLst>
          </p:cNvPr>
          <p:cNvSpPr/>
          <p:nvPr/>
        </p:nvSpPr>
        <p:spPr>
          <a:xfrm>
            <a:off x="3083300" y="8031173"/>
            <a:ext cx="65984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Y organisasjon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FB0FC1C3-9B73-451E-B6BA-52FE8062A880}"/>
              </a:ext>
            </a:extLst>
          </p:cNvPr>
          <p:cNvSpPr/>
          <p:nvPr/>
        </p:nvSpPr>
        <p:spPr>
          <a:xfrm>
            <a:off x="1986221" y="2770815"/>
            <a:ext cx="99685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ktoratet for e-helse og eksisterende registerforvalter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54E76E5B-382B-4602-AD41-8A4F8A845A12}"/>
              </a:ext>
            </a:extLst>
          </p:cNvPr>
          <p:cNvSpPr/>
          <p:nvPr/>
        </p:nvSpPr>
        <p:spPr>
          <a:xfrm>
            <a:off x="14607983" y="8049353"/>
            <a:ext cx="83364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isterende registerforvalter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9D87954A-A085-482B-84D4-862C55DF59F4}"/>
              </a:ext>
            </a:extLst>
          </p:cNvPr>
          <p:cNvSpPr/>
          <p:nvPr/>
        </p:nvSpPr>
        <p:spPr>
          <a:xfrm>
            <a:off x="14908482" y="2819532"/>
            <a:ext cx="69717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ktoratet for e-helse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DBA218F4-DE17-48D7-9971-9FDE6D873469}"/>
              </a:ext>
            </a:extLst>
          </p:cNvPr>
          <p:cNvCxnSpPr>
            <a:cxnSpLocks/>
          </p:cNvCxnSpPr>
          <p:nvPr/>
        </p:nvCxnSpPr>
        <p:spPr>
          <a:xfrm>
            <a:off x="1784262" y="3335700"/>
            <a:ext cx="9900000" cy="0"/>
          </a:xfrm>
          <a:prstGeom prst="line">
            <a:avLst/>
          </a:prstGeom>
          <a:ln w="190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8" name="Rett linje 27">
            <a:extLst>
              <a:ext uri="{FF2B5EF4-FFF2-40B4-BE49-F238E27FC236}">
                <a16:creationId xmlns:a16="http://schemas.microsoft.com/office/drawing/2014/main" id="{FD7045BB-E2B8-451E-A493-DECB4F92651A}"/>
              </a:ext>
            </a:extLst>
          </p:cNvPr>
          <p:cNvCxnSpPr/>
          <p:nvPr/>
        </p:nvCxnSpPr>
        <p:spPr>
          <a:xfrm>
            <a:off x="13691691" y="3335700"/>
            <a:ext cx="9900000" cy="0"/>
          </a:xfrm>
          <a:prstGeom prst="line">
            <a:avLst/>
          </a:prstGeom>
          <a:ln w="190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9" name="Rett linje 28">
            <a:extLst>
              <a:ext uri="{FF2B5EF4-FFF2-40B4-BE49-F238E27FC236}">
                <a16:creationId xmlns:a16="http://schemas.microsoft.com/office/drawing/2014/main" id="{E812480D-DB61-4B77-8227-5DD71C0286FB}"/>
              </a:ext>
            </a:extLst>
          </p:cNvPr>
          <p:cNvCxnSpPr/>
          <p:nvPr/>
        </p:nvCxnSpPr>
        <p:spPr>
          <a:xfrm>
            <a:off x="13691691" y="8574033"/>
            <a:ext cx="9900000" cy="0"/>
          </a:xfrm>
          <a:prstGeom prst="line">
            <a:avLst/>
          </a:prstGeom>
          <a:ln w="190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2DDD06E3-2CC1-4E56-98C0-8C6E46CE213E}"/>
              </a:ext>
            </a:extLst>
          </p:cNvPr>
          <p:cNvCxnSpPr/>
          <p:nvPr/>
        </p:nvCxnSpPr>
        <p:spPr>
          <a:xfrm>
            <a:off x="1633199" y="8574033"/>
            <a:ext cx="9900000" cy="0"/>
          </a:xfrm>
          <a:prstGeom prst="line">
            <a:avLst/>
          </a:prstGeom>
          <a:ln w="190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7" name="Bilde 6">
            <a:extLst>
              <a:ext uri="{FF2B5EF4-FFF2-40B4-BE49-F238E27FC236}">
                <a16:creationId xmlns:a16="http://schemas.microsoft.com/office/drawing/2014/main" id="{4F207E4F-2EAA-47A8-85AA-F0D31435B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6678" y="3872202"/>
            <a:ext cx="7405741" cy="3246352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4B94DB00-C4C4-4B27-8C40-EF00286A8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955144" y="3715764"/>
            <a:ext cx="5338637" cy="3697757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D5653CCD-F2CE-4A41-8175-7C42343D13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83300" y="8924763"/>
            <a:ext cx="5448495" cy="3432123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A94C5E5A-A306-470F-9010-458A2AB0E9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908482" y="9025126"/>
            <a:ext cx="5916212" cy="3644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5224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8" grpId="0" animBg="1"/>
      <p:bldP spid="19" grpId="0" animBg="1"/>
      <p:bldP spid="3" grpId="0"/>
      <p:bldP spid="22" grpId="0"/>
      <p:bldP spid="24" grpId="0"/>
      <p:bldP spid="2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for trenger vi arkitekturstyring på registerfelte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6" name="Picture 12" descr="http://www.boredee.com/uploads/2/3/5/9/23599600/69045600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7192" y="3108967"/>
            <a:ext cx="11948217" cy="8905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9720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IR-prinsippene </a:t>
            </a:r>
            <a:r>
              <a:rPr lang="nb-NO" dirty="0" smtClean="0"/>
              <a:t>må følges om det skal være mulig å finne frem </a:t>
            </a:r>
            <a:r>
              <a:rPr lang="nb-NO" dirty="0"/>
              <a:t>i «helsedatajungelen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23</a:t>
            </a:fld>
            <a:endParaRPr lang="nb-NO"/>
          </a:p>
        </p:txBody>
      </p:sp>
      <p:sp>
        <p:nvSpPr>
          <p:cNvPr id="5" name="Rectangle 4"/>
          <p:cNvSpPr/>
          <p:nvPr/>
        </p:nvSpPr>
        <p:spPr>
          <a:xfrm>
            <a:off x="1440178" y="3528635"/>
            <a:ext cx="1617785" cy="16002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500"/>
              <a:t>F</a:t>
            </a:r>
          </a:p>
        </p:txBody>
      </p:sp>
      <p:sp>
        <p:nvSpPr>
          <p:cNvPr id="6" name="Rectangle 5"/>
          <p:cNvSpPr/>
          <p:nvPr/>
        </p:nvSpPr>
        <p:spPr>
          <a:xfrm>
            <a:off x="1440178" y="5351573"/>
            <a:ext cx="1617785" cy="16002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500"/>
              <a:t>A</a:t>
            </a:r>
          </a:p>
        </p:txBody>
      </p:sp>
      <p:sp>
        <p:nvSpPr>
          <p:cNvPr id="7" name="Rectangle 6"/>
          <p:cNvSpPr/>
          <p:nvPr/>
        </p:nvSpPr>
        <p:spPr>
          <a:xfrm>
            <a:off x="1440178" y="7174511"/>
            <a:ext cx="1617785" cy="16002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500"/>
              <a:t>I</a:t>
            </a:r>
          </a:p>
        </p:txBody>
      </p:sp>
      <p:sp>
        <p:nvSpPr>
          <p:cNvPr id="8" name="Rectangle 7"/>
          <p:cNvSpPr/>
          <p:nvPr/>
        </p:nvSpPr>
        <p:spPr>
          <a:xfrm>
            <a:off x="1440178" y="8997449"/>
            <a:ext cx="1617785" cy="16002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500"/>
              <a:t>R</a:t>
            </a:r>
          </a:p>
        </p:txBody>
      </p:sp>
      <p:sp>
        <p:nvSpPr>
          <p:cNvPr id="9" name="Rectangle 8"/>
          <p:cNvSpPr/>
          <p:nvPr/>
        </p:nvSpPr>
        <p:spPr>
          <a:xfrm>
            <a:off x="3057963" y="3528635"/>
            <a:ext cx="7690338" cy="16002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0">
                <a:solidFill>
                  <a:schemeClr val="tx1"/>
                </a:solidFill>
              </a:rPr>
              <a:t>indab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057963" y="5351573"/>
            <a:ext cx="7690338" cy="16002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0">
                <a:solidFill>
                  <a:schemeClr val="tx1"/>
                </a:solidFill>
              </a:rPr>
              <a:t>ccesib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057963" y="7174511"/>
            <a:ext cx="7690338" cy="16002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0">
                <a:solidFill>
                  <a:schemeClr val="tx1"/>
                </a:solidFill>
              </a:rPr>
              <a:t>nteroperab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057963" y="8997449"/>
            <a:ext cx="7690338" cy="16002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0">
                <a:solidFill>
                  <a:schemeClr val="tx1"/>
                </a:solidFill>
              </a:rPr>
              <a:t>eusab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40177" y="11130642"/>
            <a:ext cx="21566697" cy="17217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4400" dirty="0">
                <a:solidFill>
                  <a:schemeClr val="tx1"/>
                </a:solidFill>
              </a:rPr>
              <a:t>Vi jobber med å kartlegge i hvilken grad helseregistrene følger FAIR-prinsippene</a:t>
            </a:r>
          </a:p>
        </p:txBody>
      </p:sp>
      <p:pic>
        <p:nvPicPr>
          <p:cNvPr id="218114" name="Picture 2" descr="Bilderesultat for jungel">
            <a:extLst>
              <a:ext uri="{FF2B5EF4-FFF2-40B4-BE49-F238E27FC236}">
                <a16:creationId xmlns:a16="http://schemas.microsoft.com/office/drawing/2014/main" id="{FE6BB99E-BA8F-4478-BDB7-7F897A4602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6760" y="3528635"/>
            <a:ext cx="10620114" cy="7069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16753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ksplorative analysetjen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0178" y="3636476"/>
            <a:ext cx="9677001" cy="8659060"/>
          </a:xfrm>
        </p:spPr>
        <p:txBody>
          <a:bodyPr>
            <a:normAutofit/>
          </a:bodyPr>
          <a:lstStyle/>
          <a:p>
            <a:r>
              <a:rPr lang="nb-NO" sz="3600" dirty="0"/>
              <a:t>Spørringer mot skarpe data, men anonymisert resultat</a:t>
            </a:r>
          </a:p>
          <a:p>
            <a:r>
              <a:rPr lang="nb-NO" sz="3600" dirty="0"/>
              <a:t>Avgjørende for å redusere utleveringstiden fra </a:t>
            </a:r>
            <a:r>
              <a:rPr lang="nb-NO" sz="3600" dirty="0" smtClean="0"/>
              <a:t>17 </a:t>
            </a:r>
            <a:r>
              <a:rPr lang="nb-NO" sz="3600" dirty="0"/>
              <a:t>måneder</a:t>
            </a:r>
          </a:p>
          <a:p>
            <a:r>
              <a:rPr lang="nb-NO" sz="3600" dirty="0"/>
              <a:t>Kan redusere antall forespørsler om tilgjengeliggjøring av data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20" name="Bilde 6">
            <a:extLst>
              <a:ext uri="{FF2B5EF4-FFF2-40B4-BE49-F238E27FC236}">
                <a16:creationId xmlns:a16="http://schemas.microsoft.com/office/drawing/2014/main" id="{3B8924B7-2792-4509-A8D1-1547B65FE9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2105" y="5650641"/>
            <a:ext cx="856129" cy="2158311"/>
          </a:xfrm>
          <a:prstGeom prst="rect">
            <a:avLst/>
          </a:prstGeo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23" name="Snakkeboble: oval 22">
            <a:extLst>
              <a:ext uri="{FF2B5EF4-FFF2-40B4-BE49-F238E27FC236}">
                <a16:creationId xmlns:a16="http://schemas.microsoft.com/office/drawing/2014/main" id="{A8C9127D-AEF4-4114-A033-34C4E034771C}"/>
              </a:ext>
            </a:extLst>
          </p:cNvPr>
          <p:cNvSpPr/>
          <p:nvPr/>
        </p:nvSpPr>
        <p:spPr>
          <a:xfrm>
            <a:off x="11531591" y="1985379"/>
            <a:ext cx="4623796" cy="2438971"/>
          </a:xfrm>
          <a:prstGeom prst="wedgeEllipseCallout">
            <a:avLst>
              <a:gd name="adj1" fmla="val 66985"/>
              <a:gd name="adj2" fmla="val 98357"/>
            </a:avLst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Finnes det en sammenheng mellom hjerteinfarkt og lungekreft?</a:t>
            </a:r>
          </a:p>
        </p:txBody>
      </p:sp>
      <p:sp>
        <p:nvSpPr>
          <p:cNvPr id="25" name="Snakkeboble: oval 24">
            <a:extLst>
              <a:ext uri="{FF2B5EF4-FFF2-40B4-BE49-F238E27FC236}">
                <a16:creationId xmlns:a16="http://schemas.microsoft.com/office/drawing/2014/main" id="{495819A6-E971-4041-B054-DBA7F254ED57}"/>
              </a:ext>
            </a:extLst>
          </p:cNvPr>
          <p:cNvSpPr/>
          <p:nvPr/>
        </p:nvSpPr>
        <p:spPr>
          <a:xfrm>
            <a:off x="17228599" y="2015067"/>
            <a:ext cx="6827604" cy="2772726"/>
          </a:xfrm>
          <a:prstGeom prst="wedgeEllipseCallout">
            <a:avLst>
              <a:gd name="adj1" fmla="val -40751"/>
              <a:gd name="adj2" fmla="val 79278"/>
            </a:avLst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or mange personer mellom 60-64 år diagnostisert med lungekreft har også hatt hjerteinfarkt de siste fem årene?</a:t>
            </a:r>
          </a:p>
        </p:txBody>
      </p:sp>
      <p:sp>
        <p:nvSpPr>
          <p:cNvPr id="26" name="Snakkeboble: oval 25">
            <a:extLst>
              <a:ext uri="{FF2B5EF4-FFF2-40B4-BE49-F238E27FC236}">
                <a16:creationId xmlns:a16="http://schemas.microsoft.com/office/drawing/2014/main" id="{00A72FBC-FC55-4879-83CB-67A4F8E6AD96}"/>
              </a:ext>
            </a:extLst>
          </p:cNvPr>
          <p:cNvSpPr/>
          <p:nvPr/>
        </p:nvSpPr>
        <p:spPr>
          <a:xfrm>
            <a:off x="9306791" y="7395811"/>
            <a:ext cx="6827604" cy="2772726"/>
          </a:xfrm>
          <a:prstGeom prst="wedgeEllipseCallout">
            <a:avLst>
              <a:gd name="adj1" fmla="val 57018"/>
              <a:gd name="adj2" fmla="val -76837"/>
            </a:avLst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Det var visst mindre enn 5 personer – ikke stor nok populasjon til studie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C5CBB7D1-972A-4142-9594-B9F320A32302}"/>
              </a:ext>
            </a:extLst>
          </p:cNvPr>
          <p:cNvSpPr/>
          <p:nvPr/>
        </p:nvSpPr>
        <p:spPr>
          <a:xfrm>
            <a:off x="1440178" y="11037025"/>
            <a:ext cx="21818590" cy="167790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 anchorCtr="0">
            <a:norm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plorative analysetjenester forutsetter etablering av en </a:t>
            </a:r>
            <a:r>
              <a:rPr kumimoji="0" lang="nb-NO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les dataplattform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B387D53C-0E42-4313-8400-F37005F58DE6}"/>
              </a:ext>
            </a:extLst>
          </p:cNvPr>
          <p:cNvSpPr/>
          <p:nvPr/>
        </p:nvSpPr>
        <p:spPr>
          <a:xfrm>
            <a:off x="18666021" y="6681265"/>
            <a:ext cx="2146826" cy="2332458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Søk minst to registre om data – deretter sammenstille og analysere data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060FB685-EE19-43ED-9696-51CDA551455F}"/>
              </a:ext>
            </a:extLst>
          </p:cNvPr>
          <p:cNvSpPr/>
          <p:nvPr/>
        </p:nvSpPr>
        <p:spPr>
          <a:xfrm>
            <a:off x="21111942" y="6681265"/>
            <a:ext cx="2146826" cy="233245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1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Bruk kohorteksplorer og få svaret </a:t>
            </a:r>
            <a:r>
              <a:rPr kumimoji="0" lang="nb-NO" sz="2000" b="1" i="1" u="none" strike="noStrike" kern="1200" cap="none" spc="0" normalizeH="0" baseline="0" noProof="0" dirty="0">
                <a:ln>
                  <a:noFill/>
                </a:ln>
                <a:solidFill>
                  <a:srgbClr val="3AFB9E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umiddelbart</a:t>
            </a: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4C78038A-FF7A-40BA-9F8E-80394C96382C}"/>
              </a:ext>
            </a:extLst>
          </p:cNvPr>
          <p:cNvSpPr/>
          <p:nvPr/>
        </p:nvSpPr>
        <p:spPr>
          <a:xfrm>
            <a:off x="18666021" y="6672640"/>
            <a:ext cx="2146826" cy="49518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dag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8D46BD84-AFDC-462C-8F4F-E233FB598E4C}"/>
              </a:ext>
            </a:extLst>
          </p:cNvPr>
          <p:cNvSpPr/>
          <p:nvPr/>
        </p:nvSpPr>
        <p:spPr>
          <a:xfrm>
            <a:off x="21126496" y="6690865"/>
            <a:ext cx="2146826" cy="495187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 anchorCtr="0">
            <a:noAutofit/>
          </a:bodyPr>
          <a:lstStyle/>
          <a:p>
            <a:pPr marL="0" marR="0" lvl="0" indent="0" algn="ctr" defTabSz="18283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 HAP</a:t>
            </a:r>
          </a:p>
        </p:txBody>
      </p:sp>
    </p:spTree>
    <p:extLst>
      <p:ext uri="{BB962C8B-B14F-4D97-AF65-F5344CB8AC3E}">
        <p14:creationId xmlns:p14="http://schemas.microsoft.com/office/powerpoint/2010/main" val="33552656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 animBg="1"/>
      <p:bldP spid="26" grpId="0" animBg="1"/>
      <p:bldP spid="24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9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4800" dirty="0">
                <a:solidFill>
                  <a:schemeClr val="tx1"/>
                </a:solidFill>
              </a:rPr>
              <a:t>I 2018 </a:t>
            </a:r>
            <a:r>
              <a:rPr lang="nb-NO" sz="4800" dirty="0" smtClean="0">
                <a:solidFill>
                  <a:schemeClr val="tx1"/>
                </a:solidFill>
              </a:rPr>
              <a:t>er det gjennomført seks </a:t>
            </a:r>
            <a:r>
              <a:rPr lang="nb-NO" sz="4800" dirty="0">
                <a:solidFill>
                  <a:schemeClr val="tx1"/>
                </a:solidFill>
              </a:rPr>
              <a:t>leverandørdrevne proof of </a:t>
            </a:r>
            <a:r>
              <a:rPr lang="nb-NO" sz="4800" dirty="0" smtClean="0">
                <a:solidFill>
                  <a:schemeClr val="tx1"/>
                </a:solidFill>
              </a:rPr>
              <a:t>concepts</a:t>
            </a:r>
            <a:endParaRPr lang="nb-NO" sz="48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786051" y="3002140"/>
            <a:ext cx="3604573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8481978" y="3002140"/>
            <a:ext cx="11052928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200" dirty="0">
                <a:solidFill>
                  <a:schemeClr val="tx1"/>
                </a:solidFill>
              </a:rPr>
              <a:t>Helseanalyseplattformen som et økosystem</a:t>
            </a:r>
          </a:p>
        </p:txBody>
      </p:sp>
      <p:pic>
        <p:nvPicPr>
          <p:cNvPr id="29698" name="Picture 2" descr="Image result for accenture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1597" y="2854061"/>
            <a:ext cx="2373478" cy="178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4786051" y="9212412"/>
            <a:ext cx="3604573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481978" y="9212412"/>
            <a:ext cx="11052928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200" dirty="0">
                <a:solidFill>
                  <a:schemeClr val="tx1"/>
                </a:solidFill>
              </a:rPr>
              <a:t>Helseanalyseplattformen med dataselvbetjening og ekstern analyseinfrastruktur</a:t>
            </a:r>
          </a:p>
        </p:txBody>
      </p:sp>
      <p:pic>
        <p:nvPicPr>
          <p:cNvPr id="29704" name="Picture 8" descr="Image result for ibm log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570" y="9507944"/>
            <a:ext cx="2109534" cy="918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4786051" y="6107276"/>
            <a:ext cx="3604573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481978" y="6107276"/>
            <a:ext cx="11052928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200" dirty="0" err="1">
                <a:solidFill>
                  <a:schemeClr val="tx1"/>
                </a:solidFill>
              </a:rPr>
              <a:t>Synthetic</a:t>
            </a:r>
            <a:r>
              <a:rPr lang="nb-NO" sz="3200" dirty="0">
                <a:solidFill>
                  <a:schemeClr val="tx1"/>
                </a:solidFill>
              </a:rPr>
              <a:t> Data </a:t>
            </a:r>
            <a:r>
              <a:rPr lang="nb-NO" sz="3200" dirty="0" err="1">
                <a:solidFill>
                  <a:schemeClr val="tx1"/>
                </a:solidFill>
              </a:rPr>
              <a:t>Vault</a:t>
            </a:r>
            <a:endParaRPr lang="nb-NO" sz="3200" dirty="0">
              <a:solidFill>
                <a:schemeClr val="tx1"/>
              </a:solidFill>
            </a:endParaRPr>
          </a:p>
        </p:txBody>
      </p:sp>
      <p:pic>
        <p:nvPicPr>
          <p:cNvPr id="15" name="Picture 2" descr="Image result for crayon 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373" y="6413976"/>
            <a:ext cx="2826274" cy="896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4786051" y="7659844"/>
            <a:ext cx="3604573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b-NO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481978" y="7659844"/>
            <a:ext cx="11052928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200" dirty="0">
                <a:solidFill>
                  <a:schemeClr val="tx1"/>
                </a:solidFill>
              </a:rPr>
              <a:t>Forenkling og automatisering av søknadsprosess</a:t>
            </a:r>
          </a:p>
          <a:p>
            <a:endParaRPr lang="nb-NO" sz="3200" dirty="0">
              <a:solidFill>
                <a:schemeClr val="tx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83026" y="8026568"/>
            <a:ext cx="2810621" cy="852156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4786051" y="10764982"/>
            <a:ext cx="3604573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481978" y="10764982"/>
            <a:ext cx="11052928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200" dirty="0">
                <a:solidFill>
                  <a:schemeClr val="tx1"/>
                </a:solidFill>
              </a:rPr>
              <a:t>Helseanalyseplattformen som en </a:t>
            </a:r>
            <a:r>
              <a:rPr lang="nb-NO" sz="3200" dirty="0" err="1">
                <a:solidFill>
                  <a:schemeClr val="tx1"/>
                </a:solidFill>
              </a:rPr>
              <a:t>datahub</a:t>
            </a:r>
            <a:endParaRPr lang="nb-NO" sz="3200" dirty="0">
              <a:solidFill>
                <a:schemeClr val="tx1"/>
              </a:solidFill>
            </a:endParaRPr>
          </a:p>
        </p:txBody>
      </p:sp>
      <p:pic>
        <p:nvPicPr>
          <p:cNvPr id="17" name="Picture 12" descr="Image result for sesam.io log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3746" y="11051237"/>
            <a:ext cx="2829182" cy="937222"/>
          </a:xfrm>
          <a:prstGeom prst="rect">
            <a:avLst/>
          </a:prstGeom>
          <a:solidFill>
            <a:schemeClr val="bg2"/>
          </a:solidFill>
          <a:ln>
            <a:noFill/>
          </a:ln>
          <a:extLst/>
        </p:spPr>
      </p:pic>
      <p:sp>
        <p:nvSpPr>
          <p:cNvPr id="22" name="Rectangle 21"/>
          <p:cNvSpPr/>
          <p:nvPr/>
        </p:nvSpPr>
        <p:spPr>
          <a:xfrm>
            <a:off x="4786051" y="4554708"/>
            <a:ext cx="3604573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nb-NO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481978" y="4554708"/>
            <a:ext cx="11052928" cy="151095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3200" dirty="0">
                <a:solidFill>
                  <a:schemeClr val="tx1"/>
                </a:solidFill>
              </a:rPr>
              <a:t>Ende til ende arkitektur på Google </a:t>
            </a:r>
            <a:r>
              <a:rPr lang="nb-NO" sz="3200" dirty="0" err="1">
                <a:solidFill>
                  <a:schemeClr val="tx1"/>
                </a:solidFill>
              </a:rPr>
              <a:t>Cloud</a:t>
            </a:r>
            <a:r>
              <a:rPr lang="nb-NO" sz="3200" dirty="0">
                <a:solidFill>
                  <a:schemeClr val="tx1"/>
                </a:solidFill>
              </a:rPr>
              <a:t> Platform</a:t>
            </a:r>
          </a:p>
        </p:txBody>
      </p:sp>
      <p:pic>
        <p:nvPicPr>
          <p:cNvPr id="18" name="Picture 8" descr="Image result for computas log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2383" y="4879817"/>
            <a:ext cx="2611264" cy="804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063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2341" y="705574"/>
            <a:ext cx="21566696" cy="1673620"/>
          </a:xfrm>
        </p:spPr>
        <p:txBody>
          <a:bodyPr/>
          <a:lstStyle/>
          <a:p>
            <a:r>
              <a:rPr lang="nb-NO" dirty="0" smtClean="0">
                <a:solidFill>
                  <a:schemeClr val="tx1">
                    <a:lumMod val="10000"/>
                    <a:lumOff val="90000"/>
                  </a:schemeClr>
                </a:solidFill>
              </a:rPr>
              <a:t>Effektmålambisjoner for Helseanalyseplattformen</a:t>
            </a:r>
            <a:endParaRPr lang="nb-NO" dirty="0">
              <a:solidFill>
                <a:schemeClr val="tx1">
                  <a:lumMod val="10000"/>
                  <a:lumOff val="90000"/>
                </a:scheme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152471" y="3792820"/>
            <a:ext cx="1370288" cy="728092"/>
            <a:chOff x="10102871" y="3953770"/>
            <a:chExt cx="1667020" cy="885758"/>
          </a:xfrm>
        </p:grpSpPr>
        <p:sp>
          <p:nvSpPr>
            <p:cNvPr id="20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462341" y="7138506"/>
            <a:ext cx="1711116" cy="1711116"/>
            <a:chOff x="7856838" y="7608820"/>
            <a:chExt cx="1080000" cy="1080000"/>
          </a:xfrm>
        </p:grpSpPr>
        <p:sp>
          <p:nvSpPr>
            <p:cNvPr id="25" name="Oval 24"/>
            <p:cNvSpPr/>
            <p:nvPr/>
          </p:nvSpPr>
          <p:spPr bwMode="ltGray">
            <a:xfrm>
              <a:off x="7856838" y="7608820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26" name="Freeform 5001"/>
            <p:cNvSpPr>
              <a:spLocks noEditPoints="1"/>
            </p:cNvSpPr>
            <p:nvPr/>
          </p:nvSpPr>
          <p:spPr bwMode="auto">
            <a:xfrm>
              <a:off x="8124691" y="7767366"/>
              <a:ext cx="573144" cy="701642"/>
            </a:xfrm>
            <a:custGeom>
              <a:avLst/>
              <a:gdLst>
                <a:gd name="T0" fmla="*/ 232 w 284"/>
                <a:gd name="T1" fmla="*/ 90 h 356"/>
                <a:gd name="T2" fmla="*/ 224 w 284"/>
                <a:gd name="T3" fmla="*/ 54 h 356"/>
                <a:gd name="T4" fmla="*/ 192 w 284"/>
                <a:gd name="T5" fmla="*/ 14 h 356"/>
                <a:gd name="T6" fmla="*/ 142 w 284"/>
                <a:gd name="T7" fmla="*/ 0 h 356"/>
                <a:gd name="T8" fmla="*/ 108 w 284"/>
                <a:gd name="T9" fmla="*/ 6 h 356"/>
                <a:gd name="T10" fmla="*/ 68 w 284"/>
                <a:gd name="T11" fmla="*/ 38 h 356"/>
                <a:gd name="T12" fmla="*/ 52 w 284"/>
                <a:gd name="T13" fmla="*/ 90 h 356"/>
                <a:gd name="T14" fmla="*/ 20 w 284"/>
                <a:gd name="T15" fmla="*/ 142 h 356"/>
                <a:gd name="T16" fmla="*/ 0 w 284"/>
                <a:gd name="T17" fmla="*/ 154 h 356"/>
                <a:gd name="T18" fmla="*/ 0 w 284"/>
                <a:gd name="T19" fmla="*/ 302 h 356"/>
                <a:gd name="T20" fmla="*/ 0 w 284"/>
                <a:gd name="T21" fmla="*/ 306 h 356"/>
                <a:gd name="T22" fmla="*/ 0 w 284"/>
                <a:gd name="T23" fmla="*/ 306 h 356"/>
                <a:gd name="T24" fmla="*/ 2 w 284"/>
                <a:gd name="T25" fmla="*/ 312 h 356"/>
                <a:gd name="T26" fmla="*/ 2 w 284"/>
                <a:gd name="T27" fmla="*/ 314 h 356"/>
                <a:gd name="T28" fmla="*/ 4 w 284"/>
                <a:gd name="T29" fmla="*/ 316 h 356"/>
                <a:gd name="T30" fmla="*/ 6 w 284"/>
                <a:gd name="T31" fmla="*/ 318 h 356"/>
                <a:gd name="T32" fmla="*/ 8 w 284"/>
                <a:gd name="T33" fmla="*/ 320 h 356"/>
                <a:gd name="T34" fmla="*/ 10 w 284"/>
                <a:gd name="T35" fmla="*/ 320 h 356"/>
                <a:gd name="T36" fmla="*/ 108 w 284"/>
                <a:gd name="T37" fmla="*/ 354 h 356"/>
                <a:gd name="T38" fmla="*/ 176 w 284"/>
                <a:gd name="T39" fmla="*/ 354 h 356"/>
                <a:gd name="T40" fmla="*/ 274 w 284"/>
                <a:gd name="T41" fmla="*/ 320 h 356"/>
                <a:gd name="T42" fmla="*/ 276 w 284"/>
                <a:gd name="T43" fmla="*/ 320 h 356"/>
                <a:gd name="T44" fmla="*/ 278 w 284"/>
                <a:gd name="T45" fmla="*/ 316 h 356"/>
                <a:gd name="T46" fmla="*/ 278 w 284"/>
                <a:gd name="T47" fmla="*/ 316 h 356"/>
                <a:gd name="T48" fmla="*/ 284 w 284"/>
                <a:gd name="T49" fmla="*/ 162 h 356"/>
                <a:gd name="T50" fmla="*/ 278 w 284"/>
                <a:gd name="T51" fmla="*/ 146 h 356"/>
                <a:gd name="T52" fmla="*/ 264 w 284"/>
                <a:gd name="T53" fmla="*/ 142 h 356"/>
                <a:gd name="T54" fmla="*/ 132 w 284"/>
                <a:gd name="T55" fmla="*/ 294 h 356"/>
                <a:gd name="T56" fmla="*/ 126 w 284"/>
                <a:gd name="T57" fmla="*/ 248 h 356"/>
                <a:gd name="T58" fmla="*/ 114 w 284"/>
                <a:gd name="T59" fmla="*/ 226 h 356"/>
                <a:gd name="T60" fmla="*/ 122 w 284"/>
                <a:gd name="T61" fmla="*/ 208 h 356"/>
                <a:gd name="T62" fmla="*/ 142 w 284"/>
                <a:gd name="T63" fmla="*/ 200 h 356"/>
                <a:gd name="T64" fmla="*/ 166 w 284"/>
                <a:gd name="T65" fmla="*/ 216 h 356"/>
                <a:gd name="T66" fmla="*/ 168 w 284"/>
                <a:gd name="T67" fmla="*/ 234 h 356"/>
                <a:gd name="T68" fmla="*/ 152 w 284"/>
                <a:gd name="T69" fmla="*/ 252 h 356"/>
                <a:gd name="T70" fmla="*/ 88 w 284"/>
                <a:gd name="T71" fmla="*/ 142 h 356"/>
                <a:gd name="T72" fmla="*/ 90 w 284"/>
                <a:gd name="T73" fmla="*/ 78 h 356"/>
                <a:gd name="T74" fmla="*/ 104 w 284"/>
                <a:gd name="T75" fmla="*/ 50 h 356"/>
                <a:gd name="T76" fmla="*/ 132 w 284"/>
                <a:gd name="T77" fmla="*/ 36 h 356"/>
                <a:gd name="T78" fmla="*/ 152 w 284"/>
                <a:gd name="T79" fmla="*/ 36 h 356"/>
                <a:gd name="T80" fmla="*/ 180 w 284"/>
                <a:gd name="T81" fmla="*/ 50 h 356"/>
                <a:gd name="T82" fmla="*/ 194 w 284"/>
                <a:gd name="T83" fmla="*/ 7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356">
                  <a:moveTo>
                    <a:pt x="264" y="142"/>
                  </a:moveTo>
                  <a:lnTo>
                    <a:pt x="232" y="142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0" y="70"/>
                  </a:lnTo>
                  <a:lnTo>
                    <a:pt x="224" y="54"/>
                  </a:lnTo>
                  <a:lnTo>
                    <a:pt x="216" y="38"/>
                  </a:lnTo>
                  <a:lnTo>
                    <a:pt x="206" y="26"/>
                  </a:lnTo>
                  <a:lnTo>
                    <a:pt x="192" y="14"/>
                  </a:lnTo>
                  <a:lnTo>
                    <a:pt x="176" y="6"/>
                  </a:lnTo>
                  <a:lnTo>
                    <a:pt x="160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24" y="0"/>
                  </a:lnTo>
                  <a:lnTo>
                    <a:pt x="108" y="6"/>
                  </a:lnTo>
                  <a:lnTo>
                    <a:pt x="92" y="14"/>
                  </a:lnTo>
                  <a:lnTo>
                    <a:pt x="78" y="26"/>
                  </a:lnTo>
                  <a:lnTo>
                    <a:pt x="68" y="38"/>
                  </a:lnTo>
                  <a:lnTo>
                    <a:pt x="60" y="54"/>
                  </a:lnTo>
                  <a:lnTo>
                    <a:pt x="54" y="70"/>
                  </a:lnTo>
                  <a:lnTo>
                    <a:pt x="52" y="90"/>
                  </a:lnTo>
                  <a:lnTo>
                    <a:pt x="52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12" y="142"/>
                  </a:lnTo>
                  <a:lnTo>
                    <a:pt x="6" y="146"/>
                  </a:lnTo>
                  <a:lnTo>
                    <a:pt x="0" y="154"/>
                  </a:lnTo>
                  <a:lnTo>
                    <a:pt x="0" y="162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2" y="312"/>
                  </a:lnTo>
                  <a:lnTo>
                    <a:pt x="2" y="312"/>
                  </a:lnTo>
                  <a:lnTo>
                    <a:pt x="2" y="314"/>
                  </a:lnTo>
                  <a:lnTo>
                    <a:pt x="2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6"/>
                  </a:lnTo>
                  <a:lnTo>
                    <a:pt x="4" y="316"/>
                  </a:lnTo>
                  <a:lnTo>
                    <a:pt x="6" y="318"/>
                  </a:lnTo>
                  <a:lnTo>
                    <a:pt x="6" y="318"/>
                  </a:lnTo>
                  <a:lnTo>
                    <a:pt x="8" y="318"/>
                  </a:lnTo>
                  <a:lnTo>
                    <a:pt x="8" y="318"/>
                  </a:lnTo>
                  <a:lnTo>
                    <a:pt x="8" y="320"/>
                  </a:lnTo>
                  <a:lnTo>
                    <a:pt x="8" y="320"/>
                  </a:lnTo>
                  <a:lnTo>
                    <a:pt x="10" y="320"/>
                  </a:lnTo>
                  <a:lnTo>
                    <a:pt x="10" y="320"/>
                  </a:lnTo>
                  <a:lnTo>
                    <a:pt x="40" y="336"/>
                  </a:lnTo>
                  <a:lnTo>
                    <a:pt x="74" y="346"/>
                  </a:lnTo>
                  <a:lnTo>
                    <a:pt x="108" y="354"/>
                  </a:lnTo>
                  <a:lnTo>
                    <a:pt x="142" y="356"/>
                  </a:lnTo>
                  <a:lnTo>
                    <a:pt x="142" y="356"/>
                  </a:lnTo>
                  <a:lnTo>
                    <a:pt x="176" y="354"/>
                  </a:lnTo>
                  <a:lnTo>
                    <a:pt x="210" y="346"/>
                  </a:lnTo>
                  <a:lnTo>
                    <a:pt x="244" y="336"/>
                  </a:lnTo>
                  <a:lnTo>
                    <a:pt x="274" y="320"/>
                  </a:lnTo>
                  <a:lnTo>
                    <a:pt x="274" y="320"/>
                  </a:lnTo>
                  <a:lnTo>
                    <a:pt x="276" y="320"/>
                  </a:lnTo>
                  <a:lnTo>
                    <a:pt x="276" y="320"/>
                  </a:lnTo>
                  <a:lnTo>
                    <a:pt x="276" y="320"/>
                  </a:lnTo>
                  <a:lnTo>
                    <a:pt x="276" y="320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84" y="310"/>
                  </a:lnTo>
                  <a:lnTo>
                    <a:pt x="284" y="302"/>
                  </a:lnTo>
                  <a:lnTo>
                    <a:pt x="284" y="162"/>
                  </a:lnTo>
                  <a:lnTo>
                    <a:pt x="284" y="162"/>
                  </a:lnTo>
                  <a:lnTo>
                    <a:pt x="284" y="154"/>
                  </a:lnTo>
                  <a:lnTo>
                    <a:pt x="278" y="146"/>
                  </a:lnTo>
                  <a:lnTo>
                    <a:pt x="272" y="142"/>
                  </a:lnTo>
                  <a:lnTo>
                    <a:pt x="264" y="142"/>
                  </a:lnTo>
                  <a:lnTo>
                    <a:pt x="264" y="142"/>
                  </a:lnTo>
                  <a:close/>
                  <a:moveTo>
                    <a:pt x="152" y="252"/>
                  </a:moveTo>
                  <a:lnTo>
                    <a:pt x="152" y="294"/>
                  </a:lnTo>
                  <a:lnTo>
                    <a:pt x="132" y="294"/>
                  </a:lnTo>
                  <a:lnTo>
                    <a:pt x="132" y="252"/>
                  </a:lnTo>
                  <a:lnTo>
                    <a:pt x="132" y="252"/>
                  </a:lnTo>
                  <a:lnTo>
                    <a:pt x="126" y="248"/>
                  </a:lnTo>
                  <a:lnTo>
                    <a:pt x="120" y="242"/>
                  </a:lnTo>
                  <a:lnTo>
                    <a:pt x="116" y="234"/>
                  </a:lnTo>
                  <a:lnTo>
                    <a:pt x="114" y="226"/>
                  </a:lnTo>
                  <a:lnTo>
                    <a:pt x="114" y="226"/>
                  </a:lnTo>
                  <a:lnTo>
                    <a:pt x="118" y="216"/>
                  </a:lnTo>
                  <a:lnTo>
                    <a:pt x="122" y="208"/>
                  </a:lnTo>
                  <a:lnTo>
                    <a:pt x="132" y="202"/>
                  </a:lnTo>
                  <a:lnTo>
                    <a:pt x="142" y="200"/>
                  </a:lnTo>
                  <a:lnTo>
                    <a:pt x="142" y="200"/>
                  </a:lnTo>
                  <a:lnTo>
                    <a:pt x="152" y="202"/>
                  </a:lnTo>
                  <a:lnTo>
                    <a:pt x="162" y="208"/>
                  </a:lnTo>
                  <a:lnTo>
                    <a:pt x="166" y="216"/>
                  </a:lnTo>
                  <a:lnTo>
                    <a:pt x="170" y="226"/>
                  </a:lnTo>
                  <a:lnTo>
                    <a:pt x="170" y="226"/>
                  </a:lnTo>
                  <a:lnTo>
                    <a:pt x="168" y="234"/>
                  </a:lnTo>
                  <a:lnTo>
                    <a:pt x="164" y="242"/>
                  </a:lnTo>
                  <a:lnTo>
                    <a:pt x="158" y="248"/>
                  </a:lnTo>
                  <a:lnTo>
                    <a:pt x="152" y="252"/>
                  </a:lnTo>
                  <a:lnTo>
                    <a:pt x="152" y="252"/>
                  </a:lnTo>
                  <a:close/>
                  <a:moveTo>
                    <a:pt x="196" y="142"/>
                  </a:moveTo>
                  <a:lnTo>
                    <a:pt x="88" y="142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90" y="78"/>
                  </a:lnTo>
                  <a:lnTo>
                    <a:pt x="92" y="68"/>
                  </a:lnTo>
                  <a:lnTo>
                    <a:pt x="98" y="58"/>
                  </a:lnTo>
                  <a:lnTo>
                    <a:pt x="104" y="50"/>
                  </a:lnTo>
                  <a:lnTo>
                    <a:pt x="112" y="44"/>
                  </a:lnTo>
                  <a:lnTo>
                    <a:pt x="122" y="40"/>
                  </a:lnTo>
                  <a:lnTo>
                    <a:pt x="132" y="36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52" y="36"/>
                  </a:lnTo>
                  <a:lnTo>
                    <a:pt x="162" y="40"/>
                  </a:lnTo>
                  <a:lnTo>
                    <a:pt x="172" y="44"/>
                  </a:lnTo>
                  <a:lnTo>
                    <a:pt x="180" y="50"/>
                  </a:lnTo>
                  <a:lnTo>
                    <a:pt x="186" y="58"/>
                  </a:lnTo>
                  <a:lnTo>
                    <a:pt x="192" y="68"/>
                  </a:lnTo>
                  <a:lnTo>
                    <a:pt x="194" y="78"/>
                  </a:lnTo>
                  <a:lnTo>
                    <a:pt x="196" y="90"/>
                  </a:lnTo>
                  <a:lnTo>
                    <a:pt x="196" y="14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462341" y="9143553"/>
            <a:ext cx="1711116" cy="1711116"/>
            <a:chOff x="8230723" y="4921854"/>
            <a:chExt cx="1080000" cy="1080000"/>
          </a:xfrm>
        </p:grpSpPr>
        <p:sp>
          <p:nvSpPr>
            <p:cNvPr id="28" name="Oval 27"/>
            <p:cNvSpPr/>
            <p:nvPr/>
          </p:nvSpPr>
          <p:spPr bwMode="ltGray">
            <a:xfrm>
              <a:off x="8230723" y="4921854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29" name="Freeform 4808"/>
            <p:cNvSpPr>
              <a:spLocks noEditPoints="1"/>
            </p:cNvSpPr>
            <p:nvPr/>
          </p:nvSpPr>
          <p:spPr bwMode="auto">
            <a:xfrm>
              <a:off x="8521682" y="4996092"/>
              <a:ext cx="540942" cy="772694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0" name="Gruppe 4"/>
          <p:cNvGrpSpPr/>
          <p:nvPr/>
        </p:nvGrpSpPr>
        <p:grpSpPr>
          <a:xfrm>
            <a:off x="12923339" y="3128412"/>
            <a:ext cx="1711116" cy="1711116"/>
            <a:chOff x="15366941" y="7723120"/>
            <a:chExt cx="1080000" cy="1080000"/>
          </a:xfrm>
        </p:grpSpPr>
        <p:sp>
          <p:nvSpPr>
            <p:cNvPr id="31" name="Oval 30"/>
            <p:cNvSpPr/>
            <p:nvPr/>
          </p:nvSpPr>
          <p:spPr bwMode="ltGray">
            <a:xfrm>
              <a:off x="15366941" y="7723120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32" name="Freeform 4936"/>
            <p:cNvSpPr>
              <a:spLocks noEditPoints="1"/>
            </p:cNvSpPr>
            <p:nvPr/>
          </p:nvSpPr>
          <p:spPr bwMode="auto">
            <a:xfrm>
              <a:off x="15486050" y="7833690"/>
              <a:ext cx="841769" cy="795008"/>
            </a:xfrm>
            <a:custGeom>
              <a:avLst/>
              <a:gdLst>
                <a:gd name="T0" fmla="*/ 198 w 396"/>
                <a:gd name="T1" fmla="*/ 218 h 374"/>
                <a:gd name="T2" fmla="*/ 178 w 396"/>
                <a:gd name="T3" fmla="*/ 198 h 374"/>
                <a:gd name="T4" fmla="*/ 206 w 396"/>
                <a:gd name="T5" fmla="*/ 180 h 374"/>
                <a:gd name="T6" fmla="*/ 396 w 396"/>
                <a:gd name="T7" fmla="*/ 198 h 374"/>
                <a:gd name="T8" fmla="*/ 332 w 396"/>
                <a:gd name="T9" fmla="*/ 344 h 374"/>
                <a:gd name="T10" fmla="*/ 230 w 396"/>
                <a:gd name="T11" fmla="*/ 334 h 374"/>
                <a:gd name="T12" fmla="*/ 150 w 396"/>
                <a:gd name="T13" fmla="*/ 328 h 374"/>
                <a:gd name="T14" fmla="*/ 46 w 396"/>
                <a:gd name="T15" fmla="*/ 324 h 374"/>
                <a:gd name="T16" fmla="*/ 0 w 396"/>
                <a:gd name="T17" fmla="*/ 198 h 374"/>
                <a:gd name="T18" fmla="*/ 34 w 396"/>
                <a:gd name="T19" fmla="*/ 88 h 374"/>
                <a:gd name="T20" fmla="*/ 122 w 396"/>
                <a:gd name="T21" fmla="*/ 16 h 374"/>
                <a:gd name="T22" fmla="*/ 218 w 396"/>
                <a:gd name="T23" fmla="*/ 2 h 374"/>
                <a:gd name="T24" fmla="*/ 324 w 396"/>
                <a:gd name="T25" fmla="*/ 46 h 374"/>
                <a:gd name="T26" fmla="*/ 386 w 396"/>
                <a:gd name="T27" fmla="*/ 140 h 374"/>
                <a:gd name="T28" fmla="*/ 310 w 396"/>
                <a:gd name="T29" fmla="*/ 134 h 374"/>
                <a:gd name="T30" fmla="*/ 352 w 396"/>
                <a:gd name="T31" fmla="*/ 120 h 374"/>
                <a:gd name="T32" fmla="*/ 354 w 396"/>
                <a:gd name="T33" fmla="*/ 104 h 374"/>
                <a:gd name="T34" fmla="*/ 310 w 396"/>
                <a:gd name="T35" fmla="*/ 122 h 374"/>
                <a:gd name="T36" fmla="*/ 262 w 396"/>
                <a:gd name="T37" fmla="*/ 86 h 374"/>
                <a:gd name="T38" fmla="*/ 292 w 396"/>
                <a:gd name="T39" fmla="*/ 54 h 374"/>
                <a:gd name="T40" fmla="*/ 286 w 396"/>
                <a:gd name="T41" fmla="*/ 38 h 374"/>
                <a:gd name="T42" fmla="*/ 258 w 396"/>
                <a:gd name="T43" fmla="*/ 76 h 374"/>
                <a:gd name="T44" fmla="*/ 188 w 396"/>
                <a:gd name="T45" fmla="*/ 60 h 374"/>
                <a:gd name="T46" fmla="*/ 202 w 396"/>
                <a:gd name="T47" fmla="*/ 68 h 374"/>
                <a:gd name="T48" fmla="*/ 208 w 396"/>
                <a:gd name="T49" fmla="*/ 22 h 374"/>
                <a:gd name="T50" fmla="*/ 190 w 396"/>
                <a:gd name="T51" fmla="*/ 18 h 374"/>
                <a:gd name="T52" fmla="*/ 58 w 396"/>
                <a:gd name="T53" fmla="*/ 208 h 374"/>
                <a:gd name="T54" fmla="*/ 68 w 396"/>
                <a:gd name="T55" fmla="*/ 194 h 374"/>
                <a:gd name="T56" fmla="*/ 22 w 396"/>
                <a:gd name="T57" fmla="*/ 188 h 374"/>
                <a:gd name="T58" fmla="*/ 18 w 396"/>
                <a:gd name="T59" fmla="*/ 206 h 374"/>
                <a:gd name="T60" fmla="*/ 84 w 396"/>
                <a:gd name="T61" fmla="*/ 260 h 374"/>
                <a:gd name="T62" fmla="*/ 40 w 396"/>
                <a:gd name="T63" fmla="*/ 278 h 374"/>
                <a:gd name="T64" fmla="*/ 48 w 396"/>
                <a:gd name="T65" fmla="*/ 294 h 374"/>
                <a:gd name="T66" fmla="*/ 88 w 396"/>
                <a:gd name="T67" fmla="*/ 270 h 374"/>
                <a:gd name="T68" fmla="*/ 54 w 396"/>
                <a:gd name="T69" fmla="*/ 104 h 374"/>
                <a:gd name="T70" fmla="*/ 38 w 396"/>
                <a:gd name="T71" fmla="*/ 110 h 374"/>
                <a:gd name="T72" fmla="*/ 78 w 396"/>
                <a:gd name="T73" fmla="*/ 138 h 374"/>
                <a:gd name="T74" fmla="*/ 88 w 396"/>
                <a:gd name="T75" fmla="*/ 126 h 374"/>
                <a:gd name="T76" fmla="*/ 120 w 396"/>
                <a:gd name="T77" fmla="*/ 44 h 374"/>
                <a:gd name="T78" fmla="*/ 104 w 396"/>
                <a:gd name="T79" fmla="*/ 42 h 374"/>
                <a:gd name="T80" fmla="*/ 124 w 396"/>
                <a:gd name="T81" fmla="*/ 86 h 374"/>
                <a:gd name="T82" fmla="*/ 138 w 396"/>
                <a:gd name="T83" fmla="*/ 80 h 374"/>
                <a:gd name="T84" fmla="*/ 224 w 396"/>
                <a:gd name="T85" fmla="*/ 174 h 374"/>
                <a:gd name="T86" fmla="*/ 188 w 396"/>
                <a:gd name="T87" fmla="*/ 164 h 374"/>
                <a:gd name="T88" fmla="*/ 164 w 396"/>
                <a:gd name="T89" fmla="*/ 186 h 374"/>
                <a:gd name="T90" fmla="*/ 176 w 396"/>
                <a:gd name="T91" fmla="*/ 226 h 374"/>
                <a:gd name="T92" fmla="*/ 216 w 396"/>
                <a:gd name="T93" fmla="*/ 228 h 374"/>
                <a:gd name="T94" fmla="*/ 324 w 396"/>
                <a:gd name="T95" fmla="*/ 258 h 374"/>
                <a:gd name="T96" fmla="*/ 310 w 396"/>
                <a:gd name="T97" fmla="*/ 262 h 374"/>
                <a:gd name="T98" fmla="*/ 342 w 396"/>
                <a:gd name="T99" fmla="*/ 292 h 374"/>
                <a:gd name="T100" fmla="*/ 358 w 396"/>
                <a:gd name="T101" fmla="*/ 286 h 374"/>
                <a:gd name="T102" fmla="*/ 380 w 396"/>
                <a:gd name="T103" fmla="*/ 198 h 374"/>
                <a:gd name="T104" fmla="*/ 338 w 396"/>
                <a:gd name="T105" fmla="*/ 188 h 374"/>
                <a:gd name="T106" fmla="*/ 328 w 396"/>
                <a:gd name="T107" fmla="*/ 202 h 374"/>
                <a:gd name="T108" fmla="*/ 374 w 396"/>
                <a:gd name="T109" fmla="*/ 20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6" h="374">
                  <a:moveTo>
                    <a:pt x="218" y="198"/>
                  </a:moveTo>
                  <a:lnTo>
                    <a:pt x="218" y="198"/>
                  </a:lnTo>
                  <a:lnTo>
                    <a:pt x="216" y="206"/>
                  </a:lnTo>
                  <a:lnTo>
                    <a:pt x="212" y="212"/>
                  </a:lnTo>
                  <a:lnTo>
                    <a:pt x="206" y="216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0" y="216"/>
                  </a:lnTo>
                  <a:lnTo>
                    <a:pt x="184" y="212"/>
                  </a:lnTo>
                  <a:lnTo>
                    <a:pt x="180" y="20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190"/>
                  </a:lnTo>
                  <a:lnTo>
                    <a:pt x="184" y="184"/>
                  </a:lnTo>
                  <a:lnTo>
                    <a:pt x="190" y="180"/>
                  </a:lnTo>
                  <a:lnTo>
                    <a:pt x="198" y="178"/>
                  </a:lnTo>
                  <a:lnTo>
                    <a:pt x="198" y="178"/>
                  </a:lnTo>
                  <a:lnTo>
                    <a:pt x="206" y="180"/>
                  </a:lnTo>
                  <a:lnTo>
                    <a:pt x="212" y="184"/>
                  </a:lnTo>
                  <a:lnTo>
                    <a:pt x="216" y="190"/>
                  </a:lnTo>
                  <a:lnTo>
                    <a:pt x="218" y="198"/>
                  </a:lnTo>
                  <a:lnTo>
                    <a:pt x="218" y="198"/>
                  </a:lnTo>
                  <a:close/>
                  <a:moveTo>
                    <a:pt x="396" y="198"/>
                  </a:moveTo>
                  <a:lnTo>
                    <a:pt x="396" y="198"/>
                  </a:lnTo>
                  <a:lnTo>
                    <a:pt x="394" y="226"/>
                  </a:lnTo>
                  <a:lnTo>
                    <a:pt x="388" y="254"/>
                  </a:lnTo>
                  <a:lnTo>
                    <a:pt x="378" y="278"/>
                  </a:lnTo>
                  <a:lnTo>
                    <a:pt x="366" y="302"/>
                  </a:lnTo>
                  <a:lnTo>
                    <a:pt x="350" y="324"/>
                  </a:lnTo>
                  <a:lnTo>
                    <a:pt x="332" y="344"/>
                  </a:lnTo>
                  <a:lnTo>
                    <a:pt x="310" y="360"/>
                  </a:lnTo>
                  <a:lnTo>
                    <a:pt x="288" y="374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46" y="328"/>
                  </a:lnTo>
                  <a:lnTo>
                    <a:pt x="230" y="334"/>
                  </a:lnTo>
                  <a:lnTo>
                    <a:pt x="214" y="336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82" y="336"/>
                  </a:lnTo>
                  <a:lnTo>
                    <a:pt x="166" y="334"/>
                  </a:lnTo>
                  <a:lnTo>
                    <a:pt x="150" y="328"/>
                  </a:lnTo>
                  <a:lnTo>
                    <a:pt x="134" y="322"/>
                  </a:lnTo>
                  <a:lnTo>
                    <a:pt x="108" y="374"/>
                  </a:lnTo>
                  <a:lnTo>
                    <a:pt x="108" y="374"/>
                  </a:lnTo>
                  <a:lnTo>
                    <a:pt x="86" y="360"/>
                  </a:lnTo>
                  <a:lnTo>
                    <a:pt x="64" y="344"/>
                  </a:lnTo>
                  <a:lnTo>
                    <a:pt x="46" y="324"/>
                  </a:lnTo>
                  <a:lnTo>
                    <a:pt x="30" y="302"/>
                  </a:lnTo>
                  <a:lnTo>
                    <a:pt x="18" y="278"/>
                  </a:lnTo>
                  <a:lnTo>
                    <a:pt x="8" y="254"/>
                  </a:lnTo>
                  <a:lnTo>
                    <a:pt x="2" y="226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2" y="178"/>
                  </a:lnTo>
                  <a:lnTo>
                    <a:pt x="4" y="158"/>
                  </a:lnTo>
                  <a:lnTo>
                    <a:pt x="10" y="140"/>
                  </a:lnTo>
                  <a:lnTo>
                    <a:pt x="16" y="122"/>
                  </a:lnTo>
                  <a:lnTo>
                    <a:pt x="24" y="104"/>
                  </a:lnTo>
                  <a:lnTo>
                    <a:pt x="34" y="88"/>
                  </a:lnTo>
                  <a:lnTo>
                    <a:pt x="46" y="72"/>
                  </a:lnTo>
                  <a:lnTo>
                    <a:pt x="58" y="58"/>
                  </a:lnTo>
                  <a:lnTo>
                    <a:pt x="72" y="46"/>
                  </a:lnTo>
                  <a:lnTo>
                    <a:pt x="88" y="34"/>
                  </a:lnTo>
                  <a:lnTo>
                    <a:pt x="104" y="24"/>
                  </a:lnTo>
                  <a:lnTo>
                    <a:pt x="122" y="16"/>
                  </a:lnTo>
                  <a:lnTo>
                    <a:pt x="140" y="10"/>
                  </a:lnTo>
                  <a:lnTo>
                    <a:pt x="158" y="4"/>
                  </a:lnTo>
                  <a:lnTo>
                    <a:pt x="17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2"/>
                  </a:lnTo>
                  <a:lnTo>
                    <a:pt x="238" y="4"/>
                  </a:lnTo>
                  <a:lnTo>
                    <a:pt x="256" y="10"/>
                  </a:lnTo>
                  <a:lnTo>
                    <a:pt x="274" y="16"/>
                  </a:lnTo>
                  <a:lnTo>
                    <a:pt x="292" y="24"/>
                  </a:lnTo>
                  <a:lnTo>
                    <a:pt x="308" y="34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0" y="72"/>
                  </a:lnTo>
                  <a:lnTo>
                    <a:pt x="362" y="88"/>
                  </a:lnTo>
                  <a:lnTo>
                    <a:pt x="372" y="104"/>
                  </a:lnTo>
                  <a:lnTo>
                    <a:pt x="380" y="122"/>
                  </a:lnTo>
                  <a:lnTo>
                    <a:pt x="386" y="140"/>
                  </a:lnTo>
                  <a:lnTo>
                    <a:pt x="392" y="158"/>
                  </a:lnTo>
                  <a:lnTo>
                    <a:pt x="394" y="178"/>
                  </a:lnTo>
                  <a:lnTo>
                    <a:pt x="396" y="198"/>
                  </a:lnTo>
                  <a:lnTo>
                    <a:pt x="396" y="198"/>
                  </a:lnTo>
                  <a:close/>
                  <a:moveTo>
                    <a:pt x="310" y="134"/>
                  </a:moveTo>
                  <a:lnTo>
                    <a:pt x="310" y="134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56" y="118"/>
                  </a:lnTo>
                  <a:lnTo>
                    <a:pt x="356" y="114"/>
                  </a:lnTo>
                  <a:lnTo>
                    <a:pt x="358" y="110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4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2" y="104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0" y="122"/>
                  </a:lnTo>
                  <a:lnTo>
                    <a:pt x="308" y="126"/>
                  </a:lnTo>
                  <a:lnTo>
                    <a:pt x="308" y="130"/>
                  </a:lnTo>
                  <a:lnTo>
                    <a:pt x="310" y="134"/>
                  </a:lnTo>
                  <a:lnTo>
                    <a:pt x="310" y="134"/>
                  </a:lnTo>
                  <a:close/>
                  <a:moveTo>
                    <a:pt x="262" y="86"/>
                  </a:moveTo>
                  <a:lnTo>
                    <a:pt x="262" y="86"/>
                  </a:lnTo>
                  <a:lnTo>
                    <a:pt x="268" y="88"/>
                  </a:lnTo>
                  <a:lnTo>
                    <a:pt x="268" y="88"/>
                  </a:lnTo>
                  <a:lnTo>
                    <a:pt x="272" y="86"/>
                  </a:lnTo>
                  <a:lnTo>
                    <a:pt x="276" y="82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4" y="50"/>
                  </a:lnTo>
                  <a:lnTo>
                    <a:pt x="294" y="46"/>
                  </a:lnTo>
                  <a:lnTo>
                    <a:pt x="292" y="42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86" y="38"/>
                  </a:lnTo>
                  <a:lnTo>
                    <a:pt x="282" y="40"/>
                  </a:lnTo>
                  <a:lnTo>
                    <a:pt x="278" y="40"/>
                  </a:lnTo>
                  <a:lnTo>
                    <a:pt x="276" y="44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8" y="76"/>
                  </a:lnTo>
                  <a:lnTo>
                    <a:pt x="258" y="80"/>
                  </a:lnTo>
                  <a:lnTo>
                    <a:pt x="260" y="84"/>
                  </a:lnTo>
                  <a:lnTo>
                    <a:pt x="262" y="86"/>
                  </a:lnTo>
                  <a:lnTo>
                    <a:pt x="262" y="86"/>
                  </a:lnTo>
                  <a:close/>
                  <a:moveTo>
                    <a:pt x="188" y="60"/>
                  </a:moveTo>
                  <a:lnTo>
                    <a:pt x="188" y="60"/>
                  </a:lnTo>
                  <a:lnTo>
                    <a:pt x="188" y="62"/>
                  </a:lnTo>
                  <a:lnTo>
                    <a:pt x="190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198" y="70"/>
                  </a:lnTo>
                  <a:lnTo>
                    <a:pt x="202" y="68"/>
                  </a:lnTo>
                  <a:lnTo>
                    <a:pt x="206" y="66"/>
                  </a:lnTo>
                  <a:lnTo>
                    <a:pt x="208" y="62"/>
                  </a:lnTo>
                  <a:lnTo>
                    <a:pt x="208" y="60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08" y="22"/>
                  </a:lnTo>
                  <a:lnTo>
                    <a:pt x="206" y="18"/>
                  </a:lnTo>
                  <a:lnTo>
                    <a:pt x="202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194" y="16"/>
                  </a:lnTo>
                  <a:lnTo>
                    <a:pt x="190" y="18"/>
                  </a:lnTo>
                  <a:lnTo>
                    <a:pt x="188" y="22"/>
                  </a:lnTo>
                  <a:lnTo>
                    <a:pt x="188" y="26"/>
                  </a:lnTo>
                  <a:lnTo>
                    <a:pt x="188" y="60"/>
                  </a:lnTo>
                  <a:close/>
                  <a:moveTo>
                    <a:pt x="26" y="208"/>
                  </a:moveTo>
                  <a:lnTo>
                    <a:pt x="58" y="208"/>
                  </a:lnTo>
                  <a:lnTo>
                    <a:pt x="58" y="208"/>
                  </a:lnTo>
                  <a:lnTo>
                    <a:pt x="62" y="208"/>
                  </a:lnTo>
                  <a:lnTo>
                    <a:pt x="66" y="206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4"/>
                  </a:lnTo>
                  <a:lnTo>
                    <a:pt x="66" y="190"/>
                  </a:lnTo>
                  <a:lnTo>
                    <a:pt x="62" y="188"/>
                  </a:lnTo>
                  <a:lnTo>
                    <a:pt x="58" y="188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2" y="188"/>
                  </a:lnTo>
                  <a:lnTo>
                    <a:pt x="18" y="190"/>
                  </a:lnTo>
                  <a:lnTo>
                    <a:pt x="16" y="194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202"/>
                  </a:lnTo>
                  <a:lnTo>
                    <a:pt x="18" y="206"/>
                  </a:lnTo>
                  <a:lnTo>
                    <a:pt x="22" y="208"/>
                  </a:lnTo>
                  <a:lnTo>
                    <a:pt x="26" y="208"/>
                  </a:lnTo>
                  <a:lnTo>
                    <a:pt x="26" y="208"/>
                  </a:lnTo>
                  <a:close/>
                  <a:moveTo>
                    <a:pt x="86" y="262"/>
                  </a:moveTo>
                  <a:lnTo>
                    <a:pt x="86" y="262"/>
                  </a:lnTo>
                  <a:lnTo>
                    <a:pt x="84" y="260"/>
                  </a:lnTo>
                  <a:lnTo>
                    <a:pt x="80" y="258"/>
                  </a:lnTo>
                  <a:lnTo>
                    <a:pt x="76" y="258"/>
                  </a:lnTo>
                  <a:lnTo>
                    <a:pt x="72" y="258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0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44" y="292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54" y="292"/>
                  </a:lnTo>
                  <a:lnTo>
                    <a:pt x="82" y="276"/>
                  </a:lnTo>
                  <a:lnTo>
                    <a:pt x="82" y="276"/>
                  </a:lnTo>
                  <a:lnTo>
                    <a:pt x="86" y="274"/>
                  </a:lnTo>
                  <a:lnTo>
                    <a:pt x="88" y="270"/>
                  </a:lnTo>
                  <a:lnTo>
                    <a:pt x="88" y="266"/>
                  </a:lnTo>
                  <a:lnTo>
                    <a:pt x="86" y="262"/>
                  </a:lnTo>
                  <a:lnTo>
                    <a:pt x="86" y="262"/>
                  </a:lnTo>
                  <a:close/>
                  <a:moveTo>
                    <a:pt x="82" y="120"/>
                  </a:moveTo>
                  <a:lnTo>
                    <a:pt x="54" y="104"/>
                  </a:lnTo>
                  <a:lnTo>
                    <a:pt x="54" y="104"/>
                  </a:lnTo>
                  <a:lnTo>
                    <a:pt x="50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8" y="110"/>
                  </a:lnTo>
                  <a:lnTo>
                    <a:pt x="40" y="114"/>
                  </a:lnTo>
                  <a:lnTo>
                    <a:pt x="40" y="118"/>
                  </a:lnTo>
                  <a:lnTo>
                    <a:pt x="44" y="120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2" y="138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8" y="130"/>
                  </a:lnTo>
                  <a:lnTo>
                    <a:pt x="88" y="126"/>
                  </a:lnTo>
                  <a:lnTo>
                    <a:pt x="86" y="122"/>
                  </a:lnTo>
                  <a:lnTo>
                    <a:pt x="82" y="120"/>
                  </a:lnTo>
                  <a:lnTo>
                    <a:pt x="82" y="120"/>
                  </a:lnTo>
                  <a:close/>
                  <a:moveTo>
                    <a:pt x="138" y="72"/>
                  </a:moveTo>
                  <a:lnTo>
                    <a:pt x="120" y="44"/>
                  </a:lnTo>
                  <a:lnTo>
                    <a:pt x="120" y="44"/>
                  </a:lnTo>
                  <a:lnTo>
                    <a:pt x="118" y="40"/>
                  </a:lnTo>
                  <a:lnTo>
                    <a:pt x="114" y="40"/>
                  </a:lnTo>
                  <a:lnTo>
                    <a:pt x="110" y="38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4" y="54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4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4" y="86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8" y="80"/>
                  </a:lnTo>
                  <a:lnTo>
                    <a:pt x="138" y="76"/>
                  </a:lnTo>
                  <a:lnTo>
                    <a:pt x="138" y="72"/>
                  </a:lnTo>
                  <a:lnTo>
                    <a:pt x="138" y="72"/>
                  </a:lnTo>
                  <a:close/>
                  <a:moveTo>
                    <a:pt x="372" y="152"/>
                  </a:moveTo>
                  <a:lnTo>
                    <a:pt x="224" y="174"/>
                  </a:lnTo>
                  <a:lnTo>
                    <a:pt x="224" y="174"/>
                  </a:lnTo>
                  <a:lnTo>
                    <a:pt x="218" y="168"/>
                  </a:lnTo>
                  <a:lnTo>
                    <a:pt x="212" y="166"/>
                  </a:lnTo>
                  <a:lnTo>
                    <a:pt x="206" y="164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2" y="166"/>
                  </a:lnTo>
                  <a:lnTo>
                    <a:pt x="176" y="170"/>
                  </a:lnTo>
                  <a:lnTo>
                    <a:pt x="172" y="174"/>
                  </a:lnTo>
                  <a:lnTo>
                    <a:pt x="168" y="180"/>
                  </a:lnTo>
                  <a:lnTo>
                    <a:pt x="164" y="186"/>
                  </a:lnTo>
                  <a:lnTo>
                    <a:pt x="162" y="194"/>
                  </a:lnTo>
                  <a:lnTo>
                    <a:pt x="162" y="200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8" y="218"/>
                  </a:lnTo>
                  <a:lnTo>
                    <a:pt x="176" y="226"/>
                  </a:lnTo>
                  <a:lnTo>
                    <a:pt x="186" y="232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208" y="232"/>
                  </a:lnTo>
                  <a:lnTo>
                    <a:pt x="208" y="232"/>
                  </a:lnTo>
                  <a:lnTo>
                    <a:pt x="216" y="228"/>
                  </a:lnTo>
                  <a:lnTo>
                    <a:pt x="224" y="222"/>
                  </a:lnTo>
                  <a:lnTo>
                    <a:pt x="228" y="216"/>
                  </a:lnTo>
                  <a:lnTo>
                    <a:pt x="232" y="208"/>
                  </a:lnTo>
                  <a:lnTo>
                    <a:pt x="372" y="152"/>
                  </a:lnTo>
                  <a:close/>
                  <a:moveTo>
                    <a:pt x="352" y="276"/>
                  </a:moveTo>
                  <a:lnTo>
                    <a:pt x="324" y="258"/>
                  </a:lnTo>
                  <a:lnTo>
                    <a:pt x="324" y="258"/>
                  </a:lnTo>
                  <a:lnTo>
                    <a:pt x="320" y="258"/>
                  </a:lnTo>
                  <a:lnTo>
                    <a:pt x="316" y="258"/>
                  </a:lnTo>
                  <a:lnTo>
                    <a:pt x="312" y="260"/>
                  </a:lnTo>
                  <a:lnTo>
                    <a:pt x="310" y="262"/>
                  </a:lnTo>
                  <a:lnTo>
                    <a:pt x="310" y="262"/>
                  </a:lnTo>
                  <a:lnTo>
                    <a:pt x="308" y="266"/>
                  </a:lnTo>
                  <a:lnTo>
                    <a:pt x="308" y="270"/>
                  </a:lnTo>
                  <a:lnTo>
                    <a:pt x="310" y="274"/>
                  </a:lnTo>
                  <a:lnTo>
                    <a:pt x="314" y="27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4"/>
                  </a:lnTo>
                  <a:lnTo>
                    <a:pt x="348" y="294"/>
                  </a:lnTo>
                  <a:lnTo>
                    <a:pt x="352" y="292"/>
                  </a:lnTo>
                  <a:lnTo>
                    <a:pt x="356" y="290"/>
                  </a:lnTo>
                  <a:lnTo>
                    <a:pt x="356" y="290"/>
                  </a:lnTo>
                  <a:lnTo>
                    <a:pt x="358" y="286"/>
                  </a:lnTo>
                  <a:lnTo>
                    <a:pt x="356" y="282"/>
                  </a:lnTo>
                  <a:lnTo>
                    <a:pt x="356" y="278"/>
                  </a:lnTo>
                  <a:lnTo>
                    <a:pt x="352" y="276"/>
                  </a:lnTo>
                  <a:lnTo>
                    <a:pt x="352" y="276"/>
                  </a:lnTo>
                  <a:close/>
                  <a:moveTo>
                    <a:pt x="380" y="198"/>
                  </a:moveTo>
                  <a:lnTo>
                    <a:pt x="380" y="198"/>
                  </a:lnTo>
                  <a:lnTo>
                    <a:pt x="380" y="194"/>
                  </a:lnTo>
                  <a:lnTo>
                    <a:pt x="378" y="190"/>
                  </a:lnTo>
                  <a:lnTo>
                    <a:pt x="374" y="188"/>
                  </a:lnTo>
                  <a:lnTo>
                    <a:pt x="370" y="188"/>
                  </a:lnTo>
                  <a:lnTo>
                    <a:pt x="338" y="188"/>
                  </a:lnTo>
                  <a:lnTo>
                    <a:pt x="338" y="188"/>
                  </a:lnTo>
                  <a:lnTo>
                    <a:pt x="334" y="188"/>
                  </a:lnTo>
                  <a:lnTo>
                    <a:pt x="330" y="190"/>
                  </a:lnTo>
                  <a:lnTo>
                    <a:pt x="328" y="194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8" y="202"/>
                  </a:lnTo>
                  <a:lnTo>
                    <a:pt x="330" y="206"/>
                  </a:lnTo>
                  <a:lnTo>
                    <a:pt x="334" y="208"/>
                  </a:lnTo>
                  <a:lnTo>
                    <a:pt x="338" y="208"/>
                  </a:lnTo>
                  <a:lnTo>
                    <a:pt x="370" y="208"/>
                  </a:lnTo>
                  <a:lnTo>
                    <a:pt x="370" y="208"/>
                  </a:lnTo>
                  <a:lnTo>
                    <a:pt x="374" y="208"/>
                  </a:lnTo>
                  <a:lnTo>
                    <a:pt x="378" y="206"/>
                  </a:lnTo>
                  <a:lnTo>
                    <a:pt x="380" y="202"/>
                  </a:lnTo>
                  <a:lnTo>
                    <a:pt x="380" y="198"/>
                  </a:lnTo>
                  <a:lnTo>
                    <a:pt x="380" y="198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462341" y="3128412"/>
            <a:ext cx="1711116" cy="1711116"/>
            <a:chOff x="15143450" y="4916401"/>
            <a:chExt cx="1080000" cy="1080000"/>
          </a:xfrm>
        </p:grpSpPr>
        <p:sp>
          <p:nvSpPr>
            <p:cNvPr id="34" name="Oval 33"/>
            <p:cNvSpPr/>
            <p:nvPr/>
          </p:nvSpPr>
          <p:spPr bwMode="ltGray">
            <a:xfrm>
              <a:off x="15143450" y="4916401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35" name="Freeform 4901"/>
            <p:cNvSpPr>
              <a:spLocks noEditPoints="1"/>
            </p:cNvSpPr>
            <p:nvPr/>
          </p:nvSpPr>
          <p:spPr bwMode="auto">
            <a:xfrm>
              <a:off x="15486049" y="5086273"/>
              <a:ext cx="483456" cy="726073"/>
            </a:xfrm>
            <a:custGeom>
              <a:avLst/>
              <a:gdLst>
                <a:gd name="T0" fmla="*/ 232 w 238"/>
                <a:gd name="T1" fmla="*/ 242 h 366"/>
                <a:gd name="T2" fmla="*/ 216 w 238"/>
                <a:gd name="T3" fmla="*/ 290 h 366"/>
                <a:gd name="T4" fmla="*/ 206 w 238"/>
                <a:gd name="T5" fmla="*/ 274 h 366"/>
                <a:gd name="T6" fmla="*/ 188 w 238"/>
                <a:gd name="T7" fmla="*/ 268 h 366"/>
                <a:gd name="T8" fmla="*/ 186 w 238"/>
                <a:gd name="T9" fmla="*/ 260 h 366"/>
                <a:gd name="T10" fmla="*/ 192 w 238"/>
                <a:gd name="T11" fmla="*/ 224 h 366"/>
                <a:gd name="T12" fmla="*/ 184 w 238"/>
                <a:gd name="T13" fmla="*/ 186 h 366"/>
                <a:gd name="T14" fmla="*/ 164 w 238"/>
                <a:gd name="T15" fmla="*/ 154 h 366"/>
                <a:gd name="T16" fmla="*/ 184 w 238"/>
                <a:gd name="T17" fmla="*/ 130 h 366"/>
                <a:gd name="T18" fmla="*/ 196 w 238"/>
                <a:gd name="T19" fmla="*/ 130 h 366"/>
                <a:gd name="T20" fmla="*/ 220 w 238"/>
                <a:gd name="T21" fmla="*/ 166 h 366"/>
                <a:gd name="T22" fmla="*/ 232 w 238"/>
                <a:gd name="T23" fmla="*/ 208 h 366"/>
                <a:gd name="T24" fmla="*/ 188 w 238"/>
                <a:gd name="T25" fmla="*/ 310 h 366"/>
                <a:gd name="T26" fmla="*/ 200 w 238"/>
                <a:gd name="T27" fmla="*/ 306 h 366"/>
                <a:gd name="T28" fmla="*/ 204 w 238"/>
                <a:gd name="T29" fmla="*/ 296 h 366"/>
                <a:gd name="T30" fmla="*/ 194 w 238"/>
                <a:gd name="T31" fmla="*/ 282 h 366"/>
                <a:gd name="T32" fmla="*/ 182 w 238"/>
                <a:gd name="T33" fmla="*/ 282 h 366"/>
                <a:gd name="T34" fmla="*/ 174 w 238"/>
                <a:gd name="T35" fmla="*/ 296 h 366"/>
                <a:gd name="T36" fmla="*/ 178 w 238"/>
                <a:gd name="T37" fmla="*/ 306 h 366"/>
                <a:gd name="T38" fmla="*/ 188 w 238"/>
                <a:gd name="T39" fmla="*/ 310 h 366"/>
                <a:gd name="T40" fmla="*/ 140 w 238"/>
                <a:gd name="T41" fmla="*/ 98 h 366"/>
                <a:gd name="T42" fmla="*/ 126 w 238"/>
                <a:gd name="T43" fmla="*/ 120 h 366"/>
                <a:gd name="T44" fmla="*/ 132 w 238"/>
                <a:gd name="T45" fmla="*/ 134 h 366"/>
                <a:gd name="T46" fmla="*/ 148 w 238"/>
                <a:gd name="T47" fmla="*/ 142 h 366"/>
                <a:gd name="T48" fmla="*/ 168 w 238"/>
                <a:gd name="T49" fmla="*/ 128 h 366"/>
                <a:gd name="T50" fmla="*/ 168 w 238"/>
                <a:gd name="T51" fmla="*/ 110 h 366"/>
                <a:gd name="T52" fmla="*/ 148 w 238"/>
                <a:gd name="T53" fmla="*/ 98 h 366"/>
                <a:gd name="T54" fmla="*/ 192 w 238"/>
                <a:gd name="T55" fmla="*/ 322 h 366"/>
                <a:gd name="T56" fmla="*/ 188 w 238"/>
                <a:gd name="T57" fmla="*/ 322 h 366"/>
                <a:gd name="T58" fmla="*/ 164 w 238"/>
                <a:gd name="T59" fmla="*/ 306 h 366"/>
                <a:gd name="T60" fmla="*/ 150 w 238"/>
                <a:gd name="T61" fmla="*/ 306 h 366"/>
                <a:gd name="T62" fmla="*/ 106 w 238"/>
                <a:gd name="T63" fmla="*/ 322 h 366"/>
                <a:gd name="T64" fmla="*/ 6 w 238"/>
                <a:gd name="T65" fmla="*/ 322 h 366"/>
                <a:gd name="T66" fmla="*/ 0 w 238"/>
                <a:gd name="T67" fmla="*/ 332 h 366"/>
                <a:gd name="T68" fmla="*/ 0 w 238"/>
                <a:gd name="T69" fmla="*/ 360 h 366"/>
                <a:gd name="T70" fmla="*/ 10 w 238"/>
                <a:gd name="T71" fmla="*/ 366 h 366"/>
                <a:gd name="T72" fmla="*/ 232 w 238"/>
                <a:gd name="T73" fmla="*/ 366 h 366"/>
                <a:gd name="T74" fmla="*/ 238 w 238"/>
                <a:gd name="T75" fmla="*/ 356 h 366"/>
                <a:gd name="T76" fmla="*/ 236 w 238"/>
                <a:gd name="T77" fmla="*/ 328 h 366"/>
                <a:gd name="T78" fmla="*/ 228 w 238"/>
                <a:gd name="T79" fmla="*/ 322 h 366"/>
                <a:gd name="T80" fmla="*/ 16 w 238"/>
                <a:gd name="T81" fmla="*/ 206 h 366"/>
                <a:gd name="T82" fmla="*/ 114 w 238"/>
                <a:gd name="T83" fmla="*/ 262 h 366"/>
                <a:gd name="T84" fmla="*/ 96 w 238"/>
                <a:gd name="T85" fmla="*/ 236 h 366"/>
                <a:gd name="T86" fmla="*/ 106 w 238"/>
                <a:gd name="T87" fmla="*/ 238 h 366"/>
                <a:gd name="T88" fmla="*/ 154 w 238"/>
                <a:gd name="T89" fmla="*/ 156 h 366"/>
                <a:gd name="T90" fmla="*/ 140 w 238"/>
                <a:gd name="T91" fmla="*/ 156 h 366"/>
                <a:gd name="T92" fmla="*/ 120 w 238"/>
                <a:gd name="T93" fmla="*/ 146 h 366"/>
                <a:gd name="T94" fmla="*/ 110 w 238"/>
                <a:gd name="T95" fmla="*/ 126 h 366"/>
                <a:gd name="T96" fmla="*/ 110 w 238"/>
                <a:gd name="T97" fmla="*/ 112 h 366"/>
                <a:gd name="T98" fmla="*/ 120 w 238"/>
                <a:gd name="T99" fmla="*/ 92 h 366"/>
                <a:gd name="T100" fmla="*/ 140 w 238"/>
                <a:gd name="T101" fmla="*/ 82 h 366"/>
                <a:gd name="T102" fmla="*/ 160 w 238"/>
                <a:gd name="T103" fmla="*/ 84 h 366"/>
                <a:gd name="T104" fmla="*/ 184 w 238"/>
                <a:gd name="T105" fmla="*/ 106 h 366"/>
                <a:gd name="T106" fmla="*/ 202 w 238"/>
                <a:gd name="T107" fmla="*/ 76 h 366"/>
                <a:gd name="T108" fmla="*/ 200 w 238"/>
                <a:gd name="T109" fmla="*/ 68 h 366"/>
                <a:gd name="T110" fmla="*/ 196 w 238"/>
                <a:gd name="T111" fmla="*/ 40 h 366"/>
                <a:gd name="T112" fmla="*/ 166 w 238"/>
                <a:gd name="T113" fmla="*/ 0 h 366"/>
                <a:gd name="T114" fmla="*/ 156 w 238"/>
                <a:gd name="T115" fmla="*/ 42 h 366"/>
                <a:gd name="T116" fmla="*/ 142 w 238"/>
                <a:gd name="T117" fmla="*/ 34 h 366"/>
                <a:gd name="T118" fmla="*/ 132 w 238"/>
                <a:gd name="T119" fmla="*/ 40 h 366"/>
                <a:gd name="T120" fmla="*/ 40 w 238"/>
                <a:gd name="T121" fmla="*/ 198 h 366"/>
                <a:gd name="T122" fmla="*/ 42 w 238"/>
                <a:gd name="T123" fmla="*/ 20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366">
                  <a:moveTo>
                    <a:pt x="232" y="224"/>
                  </a:moveTo>
                  <a:lnTo>
                    <a:pt x="232" y="224"/>
                  </a:lnTo>
                  <a:lnTo>
                    <a:pt x="232" y="242"/>
                  </a:lnTo>
                  <a:lnTo>
                    <a:pt x="228" y="260"/>
                  </a:lnTo>
                  <a:lnTo>
                    <a:pt x="222" y="276"/>
                  </a:lnTo>
                  <a:lnTo>
                    <a:pt x="216" y="290"/>
                  </a:lnTo>
                  <a:lnTo>
                    <a:pt x="216" y="290"/>
                  </a:lnTo>
                  <a:lnTo>
                    <a:pt x="212" y="282"/>
                  </a:lnTo>
                  <a:lnTo>
                    <a:pt x="206" y="274"/>
                  </a:lnTo>
                  <a:lnTo>
                    <a:pt x="198" y="270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6" y="260"/>
                  </a:lnTo>
                  <a:lnTo>
                    <a:pt x="190" y="248"/>
                  </a:lnTo>
                  <a:lnTo>
                    <a:pt x="192" y="236"/>
                  </a:lnTo>
                  <a:lnTo>
                    <a:pt x="192" y="224"/>
                  </a:lnTo>
                  <a:lnTo>
                    <a:pt x="192" y="224"/>
                  </a:lnTo>
                  <a:lnTo>
                    <a:pt x="190" y="204"/>
                  </a:lnTo>
                  <a:lnTo>
                    <a:pt x="184" y="186"/>
                  </a:lnTo>
                  <a:lnTo>
                    <a:pt x="176" y="168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72" y="148"/>
                  </a:lnTo>
                  <a:lnTo>
                    <a:pt x="180" y="140"/>
                  </a:lnTo>
                  <a:lnTo>
                    <a:pt x="184" y="130"/>
                  </a:lnTo>
                  <a:lnTo>
                    <a:pt x="186" y="120"/>
                  </a:lnTo>
                  <a:lnTo>
                    <a:pt x="186" y="120"/>
                  </a:lnTo>
                  <a:lnTo>
                    <a:pt x="196" y="130"/>
                  </a:lnTo>
                  <a:lnTo>
                    <a:pt x="206" y="142"/>
                  </a:lnTo>
                  <a:lnTo>
                    <a:pt x="214" y="154"/>
                  </a:lnTo>
                  <a:lnTo>
                    <a:pt x="220" y="166"/>
                  </a:lnTo>
                  <a:lnTo>
                    <a:pt x="226" y="180"/>
                  </a:lnTo>
                  <a:lnTo>
                    <a:pt x="230" y="194"/>
                  </a:lnTo>
                  <a:lnTo>
                    <a:pt x="232" y="208"/>
                  </a:lnTo>
                  <a:lnTo>
                    <a:pt x="232" y="224"/>
                  </a:lnTo>
                  <a:lnTo>
                    <a:pt x="232" y="224"/>
                  </a:lnTo>
                  <a:close/>
                  <a:moveTo>
                    <a:pt x="188" y="310"/>
                  </a:moveTo>
                  <a:lnTo>
                    <a:pt x="188" y="310"/>
                  </a:lnTo>
                  <a:lnTo>
                    <a:pt x="194" y="310"/>
                  </a:lnTo>
                  <a:lnTo>
                    <a:pt x="200" y="306"/>
                  </a:lnTo>
                  <a:lnTo>
                    <a:pt x="202" y="302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2" y="290"/>
                  </a:lnTo>
                  <a:lnTo>
                    <a:pt x="200" y="284"/>
                  </a:lnTo>
                  <a:lnTo>
                    <a:pt x="194" y="282"/>
                  </a:lnTo>
                  <a:lnTo>
                    <a:pt x="188" y="280"/>
                  </a:lnTo>
                  <a:lnTo>
                    <a:pt x="188" y="280"/>
                  </a:lnTo>
                  <a:lnTo>
                    <a:pt x="182" y="282"/>
                  </a:lnTo>
                  <a:lnTo>
                    <a:pt x="178" y="284"/>
                  </a:lnTo>
                  <a:lnTo>
                    <a:pt x="174" y="290"/>
                  </a:lnTo>
                  <a:lnTo>
                    <a:pt x="174" y="296"/>
                  </a:lnTo>
                  <a:lnTo>
                    <a:pt x="174" y="296"/>
                  </a:lnTo>
                  <a:lnTo>
                    <a:pt x="174" y="302"/>
                  </a:lnTo>
                  <a:lnTo>
                    <a:pt x="178" y="306"/>
                  </a:lnTo>
                  <a:lnTo>
                    <a:pt x="182" y="310"/>
                  </a:lnTo>
                  <a:lnTo>
                    <a:pt x="188" y="310"/>
                  </a:lnTo>
                  <a:lnTo>
                    <a:pt x="188" y="310"/>
                  </a:lnTo>
                  <a:close/>
                  <a:moveTo>
                    <a:pt x="148" y="98"/>
                  </a:moveTo>
                  <a:lnTo>
                    <a:pt x="148" y="98"/>
                  </a:lnTo>
                  <a:lnTo>
                    <a:pt x="140" y="98"/>
                  </a:lnTo>
                  <a:lnTo>
                    <a:pt x="132" y="104"/>
                  </a:lnTo>
                  <a:lnTo>
                    <a:pt x="128" y="11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8" y="128"/>
                  </a:lnTo>
                  <a:lnTo>
                    <a:pt x="132" y="134"/>
                  </a:lnTo>
                  <a:lnTo>
                    <a:pt x="140" y="140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56" y="140"/>
                  </a:lnTo>
                  <a:lnTo>
                    <a:pt x="164" y="134"/>
                  </a:lnTo>
                  <a:lnTo>
                    <a:pt x="168" y="128"/>
                  </a:lnTo>
                  <a:lnTo>
                    <a:pt x="170" y="120"/>
                  </a:lnTo>
                  <a:lnTo>
                    <a:pt x="170" y="120"/>
                  </a:lnTo>
                  <a:lnTo>
                    <a:pt x="168" y="110"/>
                  </a:lnTo>
                  <a:lnTo>
                    <a:pt x="164" y="104"/>
                  </a:lnTo>
                  <a:lnTo>
                    <a:pt x="156" y="98"/>
                  </a:lnTo>
                  <a:lnTo>
                    <a:pt x="148" y="98"/>
                  </a:lnTo>
                  <a:lnTo>
                    <a:pt x="148" y="98"/>
                  </a:lnTo>
                  <a:close/>
                  <a:moveTo>
                    <a:pt x="228" y="322"/>
                  </a:moveTo>
                  <a:lnTo>
                    <a:pt x="192" y="322"/>
                  </a:lnTo>
                  <a:lnTo>
                    <a:pt x="192" y="322"/>
                  </a:lnTo>
                  <a:lnTo>
                    <a:pt x="188" y="322"/>
                  </a:lnTo>
                  <a:lnTo>
                    <a:pt x="188" y="322"/>
                  </a:lnTo>
                  <a:lnTo>
                    <a:pt x="178" y="320"/>
                  </a:lnTo>
                  <a:lnTo>
                    <a:pt x="170" y="314"/>
                  </a:lnTo>
                  <a:lnTo>
                    <a:pt x="164" y="306"/>
                  </a:lnTo>
                  <a:lnTo>
                    <a:pt x="162" y="296"/>
                  </a:lnTo>
                  <a:lnTo>
                    <a:pt x="162" y="296"/>
                  </a:lnTo>
                  <a:lnTo>
                    <a:pt x="150" y="306"/>
                  </a:lnTo>
                  <a:lnTo>
                    <a:pt x="136" y="314"/>
                  </a:lnTo>
                  <a:lnTo>
                    <a:pt x="122" y="318"/>
                  </a:lnTo>
                  <a:lnTo>
                    <a:pt x="106" y="322"/>
                  </a:lnTo>
                  <a:lnTo>
                    <a:pt x="10" y="322"/>
                  </a:lnTo>
                  <a:lnTo>
                    <a:pt x="10" y="322"/>
                  </a:lnTo>
                  <a:lnTo>
                    <a:pt x="6" y="322"/>
                  </a:lnTo>
                  <a:lnTo>
                    <a:pt x="2" y="326"/>
                  </a:lnTo>
                  <a:lnTo>
                    <a:pt x="0" y="328"/>
                  </a:lnTo>
                  <a:lnTo>
                    <a:pt x="0" y="332"/>
                  </a:lnTo>
                  <a:lnTo>
                    <a:pt x="0" y="356"/>
                  </a:lnTo>
                  <a:lnTo>
                    <a:pt x="0" y="356"/>
                  </a:lnTo>
                  <a:lnTo>
                    <a:pt x="0" y="360"/>
                  </a:lnTo>
                  <a:lnTo>
                    <a:pt x="2" y="362"/>
                  </a:lnTo>
                  <a:lnTo>
                    <a:pt x="6" y="366"/>
                  </a:lnTo>
                  <a:lnTo>
                    <a:pt x="10" y="366"/>
                  </a:lnTo>
                  <a:lnTo>
                    <a:pt x="228" y="366"/>
                  </a:lnTo>
                  <a:lnTo>
                    <a:pt x="228" y="366"/>
                  </a:lnTo>
                  <a:lnTo>
                    <a:pt x="232" y="366"/>
                  </a:lnTo>
                  <a:lnTo>
                    <a:pt x="234" y="362"/>
                  </a:lnTo>
                  <a:lnTo>
                    <a:pt x="236" y="360"/>
                  </a:lnTo>
                  <a:lnTo>
                    <a:pt x="238" y="356"/>
                  </a:lnTo>
                  <a:lnTo>
                    <a:pt x="238" y="332"/>
                  </a:lnTo>
                  <a:lnTo>
                    <a:pt x="238" y="332"/>
                  </a:lnTo>
                  <a:lnTo>
                    <a:pt x="236" y="328"/>
                  </a:lnTo>
                  <a:lnTo>
                    <a:pt x="234" y="326"/>
                  </a:lnTo>
                  <a:lnTo>
                    <a:pt x="232" y="322"/>
                  </a:lnTo>
                  <a:lnTo>
                    <a:pt x="228" y="322"/>
                  </a:lnTo>
                  <a:lnTo>
                    <a:pt x="228" y="322"/>
                  </a:lnTo>
                  <a:close/>
                  <a:moveTo>
                    <a:pt x="114" y="262"/>
                  </a:moveTo>
                  <a:lnTo>
                    <a:pt x="16" y="206"/>
                  </a:lnTo>
                  <a:lnTo>
                    <a:pt x="6" y="222"/>
                  </a:lnTo>
                  <a:lnTo>
                    <a:pt x="104" y="278"/>
                  </a:lnTo>
                  <a:lnTo>
                    <a:pt x="114" y="262"/>
                  </a:lnTo>
                  <a:close/>
                  <a:moveTo>
                    <a:pt x="46" y="208"/>
                  </a:moveTo>
                  <a:lnTo>
                    <a:pt x="96" y="236"/>
                  </a:lnTo>
                  <a:lnTo>
                    <a:pt x="96" y="236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106" y="238"/>
                  </a:lnTo>
                  <a:lnTo>
                    <a:pt x="110" y="234"/>
                  </a:lnTo>
                  <a:lnTo>
                    <a:pt x="154" y="156"/>
                  </a:lnTo>
                  <a:lnTo>
                    <a:pt x="154" y="156"/>
                  </a:lnTo>
                  <a:lnTo>
                    <a:pt x="148" y="158"/>
                  </a:lnTo>
                  <a:lnTo>
                    <a:pt x="148" y="158"/>
                  </a:lnTo>
                  <a:lnTo>
                    <a:pt x="140" y="156"/>
                  </a:lnTo>
                  <a:lnTo>
                    <a:pt x="132" y="154"/>
                  </a:lnTo>
                  <a:lnTo>
                    <a:pt x="126" y="150"/>
                  </a:lnTo>
                  <a:lnTo>
                    <a:pt x="120" y="146"/>
                  </a:lnTo>
                  <a:lnTo>
                    <a:pt x="116" y="140"/>
                  </a:lnTo>
                  <a:lnTo>
                    <a:pt x="112" y="134"/>
                  </a:lnTo>
                  <a:lnTo>
                    <a:pt x="110" y="126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10" y="112"/>
                  </a:lnTo>
                  <a:lnTo>
                    <a:pt x="112" y="104"/>
                  </a:lnTo>
                  <a:lnTo>
                    <a:pt x="116" y="98"/>
                  </a:lnTo>
                  <a:lnTo>
                    <a:pt x="120" y="92"/>
                  </a:lnTo>
                  <a:lnTo>
                    <a:pt x="126" y="88"/>
                  </a:lnTo>
                  <a:lnTo>
                    <a:pt x="132" y="84"/>
                  </a:lnTo>
                  <a:lnTo>
                    <a:pt x="140" y="82"/>
                  </a:lnTo>
                  <a:lnTo>
                    <a:pt x="148" y="82"/>
                  </a:lnTo>
                  <a:lnTo>
                    <a:pt x="148" y="82"/>
                  </a:lnTo>
                  <a:lnTo>
                    <a:pt x="160" y="84"/>
                  </a:lnTo>
                  <a:lnTo>
                    <a:pt x="170" y="88"/>
                  </a:lnTo>
                  <a:lnTo>
                    <a:pt x="178" y="96"/>
                  </a:lnTo>
                  <a:lnTo>
                    <a:pt x="184" y="106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2" y="76"/>
                  </a:lnTo>
                  <a:lnTo>
                    <a:pt x="200" y="72"/>
                  </a:lnTo>
                  <a:lnTo>
                    <a:pt x="200" y="72"/>
                  </a:lnTo>
                  <a:lnTo>
                    <a:pt x="200" y="68"/>
                  </a:lnTo>
                  <a:lnTo>
                    <a:pt x="196" y="66"/>
                  </a:lnTo>
                  <a:lnTo>
                    <a:pt x="184" y="58"/>
                  </a:lnTo>
                  <a:lnTo>
                    <a:pt x="196" y="40"/>
                  </a:lnTo>
                  <a:lnTo>
                    <a:pt x="206" y="46"/>
                  </a:lnTo>
                  <a:lnTo>
                    <a:pt x="216" y="30"/>
                  </a:lnTo>
                  <a:lnTo>
                    <a:pt x="166" y="0"/>
                  </a:lnTo>
                  <a:lnTo>
                    <a:pt x="156" y="16"/>
                  </a:lnTo>
                  <a:lnTo>
                    <a:pt x="168" y="24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2" y="34"/>
                  </a:lnTo>
                  <a:lnTo>
                    <a:pt x="138" y="34"/>
                  </a:lnTo>
                  <a:lnTo>
                    <a:pt x="134" y="36"/>
                  </a:lnTo>
                  <a:lnTo>
                    <a:pt x="132" y="40"/>
                  </a:lnTo>
                  <a:lnTo>
                    <a:pt x="42" y="194"/>
                  </a:lnTo>
                  <a:lnTo>
                    <a:pt x="42" y="194"/>
                  </a:lnTo>
                  <a:lnTo>
                    <a:pt x="40" y="198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4"/>
                  </a:lnTo>
                  <a:lnTo>
                    <a:pt x="46" y="208"/>
                  </a:lnTo>
                  <a:lnTo>
                    <a:pt x="46" y="20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6" name="Gruppe 3"/>
          <p:cNvGrpSpPr/>
          <p:nvPr/>
        </p:nvGrpSpPr>
        <p:grpSpPr>
          <a:xfrm>
            <a:off x="12923339" y="7138506"/>
            <a:ext cx="1711116" cy="1711116"/>
            <a:chOff x="15477775" y="6318000"/>
            <a:chExt cx="1080000" cy="1080000"/>
          </a:xfrm>
        </p:grpSpPr>
        <p:sp>
          <p:nvSpPr>
            <p:cNvPr id="37" name="Oval 36"/>
            <p:cNvSpPr/>
            <p:nvPr/>
          </p:nvSpPr>
          <p:spPr bwMode="ltGray">
            <a:xfrm>
              <a:off x="15477775" y="6318000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38" name="Freeform 4915"/>
            <p:cNvSpPr>
              <a:spLocks noEditPoints="1"/>
            </p:cNvSpPr>
            <p:nvPr/>
          </p:nvSpPr>
          <p:spPr bwMode="auto">
            <a:xfrm>
              <a:off x="15627642" y="6571169"/>
              <a:ext cx="790755" cy="680218"/>
            </a:xfrm>
            <a:custGeom>
              <a:avLst/>
              <a:gdLst>
                <a:gd name="T0" fmla="*/ 160 w 372"/>
                <a:gd name="T1" fmla="*/ 242 h 320"/>
                <a:gd name="T2" fmla="*/ 166 w 372"/>
                <a:gd name="T3" fmla="*/ 226 h 320"/>
                <a:gd name="T4" fmla="*/ 210 w 372"/>
                <a:gd name="T5" fmla="*/ 228 h 320"/>
                <a:gd name="T6" fmla="*/ 210 w 372"/>
                <a:gd name="T7" fmla="*/ 246 h 320"/>
                <a:gd name="T8" fmla="*/ 98 w 372"/>
                <a:gd name="T9" fmla="*/ 320 h 320"/>
                <a:gd name="T10" fmla="*/ 372 w 372"/>
                <a:gd name="T11" fmla="*/ 54 h 320"/>
                <a:gd name="T12" fmla="*/ 356 w 372"/>
                <a:gd name="T13" fmla="*/ 92 h 320"/>
                <a:gd name="T14" fmla="*/ 308 w 372"/>
                <a:gd name="T15" fmla="*/ 118 h 320"/>
                <a:gd name="T16" fmla="*/ 266 w 372"/>
                <a:gd name="T17" fmla="*/ 144 h 320"/>
                <a:gd name="T18" fmla="*/ 280 w 372"/>
                <a:gd name="T19" fmla="*/ 154 h 320"/>
                <a:gd name="T20" fmla="*/ 292 w 372"/>
                <a:gd name="T21" fmla="*/ 158 h 320"/>
                <a:gd name="T22" fmla="*/ 288 w 372"/>
                <a:gd name="T23" fmla="*/ 170 h 320"/>
                <a:gd name="T24" fmla="*/ 266 w 372"/>
                <a:gd name="T25" fmla="*/ 172 h 320"/>
                <a:gd name="T26" fmla="*/ 240 w 372"/>
                <a:gd name="T27" fmla="*/ 184 h 320"/>
                <a:gd name="T28" fmla="*/ 196 w 372"/>
                <a:gd name="T29" fmla="*/ 212 h 320"/>
                <a:gd name="T30" fmla="*/ 158 w 372"/>
                <a:gd name="T31" fmla="*/ 206 h 320"/>
                <a:gd name="T32" fmla="*/ 118 w 372"/>
                <a:gd name="T33" fmla="*/ 162 h 320"/>
                <a:gd name="T34" fmla="*/ 98 w 372"/>
                <a:gd name="T35" fmla="*/ 172 h 320"/>
                <a:gd name="T36" fmla="*/ 80 w 372"/>
                <a:gd name="T37" fmla="*/ 164 h 320"/>
                <a:gd name="T38" fmla="*/ 84 w 372"/>
                <a:gd name="T39" fmla="*/ 154 h 320"/>
                <a:gd name="T40" fmla="*/ 104 w 372"/>
                <a:gd name="T41" fmla="*/ 154 h 320"/>
                <a:gd name="T42" fmla="*/ 104 w 372"/>
                <a:gd name="T43" fmla="*/ 140 h 320"/>
                <a:gd name="T44" fmla="*/ 42 w 372"/>
                <a:gd name="T45" fmla="*/ 110 h 320"/>
                <a:gd name="T46" fmla="*/ 4 w 372"/>
                <a:gd name="T47" fmla="*/ 78 h 320"/>
                <a:gd name="T48" fmla="*/ 0 w 372"/>
                <a:gd name="T49" fmla="*/ 46 h 320"/>
                <a:gd name="T50" fmla="*/ 24 w 372"/>
                <a:gd name="T51" fmla="*/ 18 h 320"/>
                <a:gd name="T52" fmla="*/ 66 w 372"/>
                <a:gd name="T53" fmla="*/ 24 h 320"/>
                <a:gd name="T54" fmla="*/ 292 w 372"/>
                <a:gd name="T55" fmla="*/ 0 h 320"/>
                <a:gd name="T56" fmla="*/ 306 w 372"/>
                <a:gd name="T57" fmla="*/ 24 h 320"/>
                <a:gd name="T58" fmla="*/ 348 w 372"/>
                <a:gd name="T59" fmla="*/ 18 h 320"/>
                <a:gd name="T60" fmla="*/ 372 w 372"/>
                <a:gd name="T61" fmla="*/ 46 h 320"/>
                <a:gd name="T62" fmla="*/ 88 w 372"/>
                <a:gd name="T63" fmla="*/ 86 h 320"/>
                <a:gd name="T64" fmla="*/ 74 w 372"/>
                <a:gd name="T65" fmla="*/ 80 h 320"/>
                <a:gd name="T66" fmla="*/ 62 w 372"/>
                <a:gd name="T67" fmla="*/ 80 h 320"/>
                <a:gd name="T68" fmla="*/ 62 w 372"/>
                <a:gd name="T69" fmla="*/ 68 h 320"/>
                <a:gd name="T70" fmla="*/ 60 w 372"/>
                <a:gd name="T71" fmla="*/ 38 h 320"/>
                <a:gd name="T72" fmla="*/ 22 w 372"/>
                <a:gd name="T73" fmla="*/ 38 h 320"/>
                <a:gd name="T74" fmla="*/ 20 w 372"/>
                <a:gd name="T75" fmla="*/ 74 h 320"/>
                <a:gd name="T76" fmla="*/ 70 w 372"/>
                <a:gd name="T77" fmla="*/ 104 h 320"/>
                <a:gd name="T78" fmla="*/ 272 w 372"/>
                <a:gd name="T79" fmla="*/ 26 h 320"/>
                <a:gd name="T80" fmla="*/ 234 w 372"/>
                <a:gd name="T81" fmla="*/ 20 h 320"/>
                <a:gd name="T82" fmla="*/ 226 w 372"/>
                <a:gd name="T83" fmla="*/ 28 h 320"/>
                <a:gd name="T84" fmla="*/ 234 w 372"/>
                <a:gd name="T85" fmla="*/ 36 h 320"/>
                <a:gd name="T86" fmla="*/ 240 w 372"/>
                <a:gd name="T87" fmla="*/ 112 h 320"/>
                <a:gd name="T88" fmla="*/ 192 w 372"/>
                <a:gd name="T89" fmla="*/ 176 h 320"/>
                <a:gd name="T90" fmla="*/ 186 w 372"/>
                <a:gd name="T91" fmla="*/ 186 h 320"/>
                <a:gd name="T92" fmla="*/ 196 w 372"/>
                <a:gd name="T93" fmla="*/ 192 h 320"/>
                <a:gd name="T94" fmla="*/ 236 w 372"/>
                <a:gd name="T95" fmla="*/ 158 h 320"/>
                <a:gd name="T96" fmla="*/ 272 w 372"/>
                <a:gd name="T97" fmla="*/ 28 h 320"/>
                <a:gd name="T98" fmla="*/ 350 w 372"/>
                <a:gd name="T99" fmla="*/ 38 h 320"/>
                <a:gd name="T100" fmla="*/ 312 w 372"/>
                <a:gd name="T101" fmla="*/ 38 h 320"/>
                <a:gd name="T102" fmla="*/ 310 w 372"/>
                <a:gd name="T103" fmla="*/ 68 h 320"/>
                <a:gd name="T104" fmla="*/ 310 w 372"/>
                <a:gd name="T105" fmla="*/ 80 h 320"/>
                <a:gd name="T106" fmla="*/ 298 w 372"/>
                <a:gd name="T107" fmla="*/ 80 h 320"/>
                <a:gd name="T108" fmla="*/ 284 w 372"/>
                <a:gd name="T109" fmla="*/ 86 h 320"/>
                <a:gd name="T110" fmla="*/ 322 w 372"/>
                <a:gd name="T111" fmla="*/ 96 h 320"/>
                <a:gd name="T112" fmla="*/ 356 w 372"/>
                <a:gd name="T113" fmla="*/ 5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2" h="320">
                  <a:moveTo>
                    <a:pt x="170" y="250"/>
                  </a:moveTo>
                  <a:lnTo>
                    <a:pt x="170" y="250"/>
                  </a:lnTo>
                  <a:lnTo>
                    <a:pt x="166" y="248"/>
                  </a:lnTo>
                  <a:lnTo>
                    <a:pt x="162" y="246"/>
                  </a:lnTo>
                  <a:lnTo>
                    <a:pt x="160" y="242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60" y="232"/>
                  </a:lnTo>
                  <a:lnTo>
                    <a:pt x="162" y="228"/>
                  </a:lnTo>
                  <a:lnTo>
                    <a:pt x="166" y="226"/>
                  </a:lnTo>
                  <a:lnTo>
                    <a:pt x="170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6" y="226"/>
                  </a:lnTo>
                  <a:lnTo>
                    <a:pt x="210" y="228"/>
                  </a:lnTo>
                  <a:lnTo>
                    <a:pt x="212" y="232"/>
                  </a:lnTo>
                  <a:lnTo>
                    <a:pt x="214" y="238"/>
                  </a:lnTo>
                  <a:lnTo>
                    <a:pt x="214" y="238"/>
                  </a:lnTo>
                  <a:lnTo>
                    <a:pt x="212" y="242"/>
                  </a:lnTo>
                  <a:lnTo>
                    <a:pt x="210" y="246"/>
                  </a:lnTo>
                  <a:lnTo>
                    <a:pt x="206" y="248"/>
                  </a:lnTo>
                  <a:lnTo>
                    <a:pt x="202" y="250"/>
                  </a:lnTo>
                  <a:lnTo>
                    <a:pt x="170" y="250"/>
                  </a:lnTo>
                  <a:close/>
                  <a:moveTo>
                    <a:pt x="130" y="264"/>
                  </a:moveTo>
                  <a:lnTo>
                    <a:pt x="98" y="320"/>
                  </a:lnTo>
                  <a:lnTo>
                    <a:pt x="274" y="320"/>
                  </a:lnTo>
                  <a:lnTo>
                    <a:pt x="242" y="264"/>
                  </a:lnTo>
                  <a:lnTo>
                    <a:pt x="130" y="264"/>
                  </a:lnTo>
                  <a:close/>
                  <a:moveTo>
                    <a:pt x="372" y="54"/>
                  </a:moveTo>
                  <a:lnTo>
                    <a:pt x="372" y="54"/>
                  </a:lnTo>
                  <a:lnTo>
                    <a:pt x="372" y="64"/>
                  </a:lnTo>
                  <a:lnTo>
                    <a:pt x="370" y="72"/>
                  </a:lnTo>
                  <a:lnTo>
                    <a:pt x="368" y="78"/>
                  </a:lnTo>
                  <a:lnTo>
                    <a:pt x="362" y="86"/>
                  </a:lnTo>
                  <a:lnTo>
                    <a:pt x="356" y="92"/>
                  </a:lnTo>
                  <a:lnTo>
                    <a:pt x="350" y="98"/>
                  </a:lnTo>
                  <a:lnTo>
                    <a:pt x="330" y="110"/>
                  </a:lnTo>
                  <a:lnTo>
                    <a:pt x="330" y="110"/>
                  </a:lnTo>
                  <a:lnTo>
                    <a:pt x="308" y="118"/>
                  </a:lnTo>
                  <a:lnTo>
                    <a:pt x="308" y="118"/>
                  </a:lnTo>
                  <a:lnTo>
                    <a:pt x="282" y="130"/>
                  </a:lnTo>
                  <a:lnTo>
                    <a:pt x="272" y="136"/>
                  </a:lnTo>
                  <a:lnTo>
                    <a:pt x="268" y="140"/>
                  </a:lnTo>
                  <a:lnTo>
                    <a:pt x="266" y="144"/>
                  </a:lnTo>
                  <a:lnTo>
                    <a:pt x="266" y="144"/>
                  </a:lnTo>
                  <a:lnTo>
                    <a:pt x="266" y="150"/>
                  </a:lnTo>
                  <a:lnTo>
                    <a:pt x="268" y="154"/>
                  </a:lnTo>
                  <a:lnTo>
                    <a:pt x="268" y="154"/>
                  </a:lnTo>
                  <a:lnTo>
                    <a:pt x="274" y="156"/>
                  </a:lnTo>
                  <a:lnTo>
                    <a:pt x="280" y="154"/>
                  </a:lnTo>
                  <a:lnTo>
                    <a:pt x="280" y="154"/>
                  </a:lnTo>
                  <a:lnTo>
                    <a:pt x="284" y="154"/>
                  </a:lnTo>
                  <a:lnTo>
                    <a:pt x="288" y="154"/>
                  </a:lnTo>
                  <a:lnTo>
                    <a:pt x="290" y="156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2" y="162"/>
                  </a:lnTo>
                  <a:lnTo>
                    <a:pt x="292" y="164"/>
                  </a:lnTo>
                  <a:lnTo>
                    <a:pt x="290" y="168"/>
                  </a:lnTo>
                  <a:lnTo>
                    <a:pt x="288" y="170"/>
                  </a:lnTo>
                  <a:lnTo>
                    <a:pt x="288" y="170"/>
                  </a:lnTo>
                  <a:lnTo>
                    <a:pt x="282" y="172"/>
                  </a:lnTo>
                  <a:lnTo>
                    <a:pt x="274" y="172"/>
                  </a:lnTo>
                  <a:lnTo>
                    <a:pt x="274" y="172"/>
                  </a:lnTo>
                  <a:lnTo>
                    <a:pt x="266" y="172"/>
                  </a:lnTo>
                  <a:lnTo>
                    <a:pt x="258" y="166"/>
                  </a:lnTo>
                  <a:lnTo>
                    <a:pt x="258" y="166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40" y="184"/>
                  </a:lnTo>
                  <a:lnTo>
                    <a:pt x="232" y="192"/>
                  </a:lnTo>
                  <a:lnTo>
                    <a:pt x="224" y="200"/>
                  </a:lnTo>
                  <a:lnTo>
                    <a:pt x="214" y="206"/>
                  </a:lnTo>
                  <a:lnTo>
                    <a:pt x="206" y="210"/>
                  </a:lnTo>
                  <a:lnTo>
                    <a:pt x="196" y="212"/>
                  </a:lnTo>
                  <a:lnTo>
                    <a:pt x="186" y="212"/>
                  </a:lnTo>
                  <a:lnTo>
                    <a:pt x="186" y="212"/>
                  </a:lnTo>
                  <a:lnTo>
                    <a:pt x="176" y="212"/>
                  </a:lnTo>
                  <a:lnTo>
                    <a:pt x="166" y="210"/>
                  </a:lnTo>
                  <a:lnTo>
                    <a:pt x="158" y="206"/>
                  </a:lnTo>
                  <a:lnTo>
                    <a:pt x="148" y="200"/>
                  </a:lnTo>
                  <a:lnTo>
                    <a:pt x="140" y="192"/>
                  </a:lnTo>
                  <a:lnTo>
                    <a:pt x="132" y="184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06" y="172"/>
                  </a:lnTo>
                  <a:lnTo>
                    <a:pt x="98" y="172"/>
                  </a:lnTo>
                  <a:lnTo>
                    <a:pt x="98" y="172"/>
                  </a:lnTo>
                  <a:lnTo>
                    <a:pt x="90" y="172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2" y="168"/>
                  </a:lnTo>
                  <a:lnTo>
                    <a:pt x="80" y="164"/>
                  </a:lnTo>
                  <a:lnTo>
                    <a:pt x="80" y="162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2" y="156"/>
                  </a:lnTo>
                  <a:lnTo>
                    <a:pt x="84" y="154"/>
                  </a:lnTo>
                  <a:lnTo>
                    <a:pt x="88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8" y="156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50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4" y="140"/>
                  </a:lnTo>
                  <a:lnTo>
                    <a:pt x="100" y="136"/>
                  </a:lnTo>
                  <a:lnTo>
                    <a:pt x="90" y="130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22" y="98"/>
                  </a:lnTo>
                  <a:lnTo>
                    <a:pt x="16" y="92"/>
                  </a:lnTo>
                  <a:lnTo>
                    <a:pt x="10" y="86"/>
                  </a:lnTo>
                  <a:lnTo>
                    <a:pt x="4" y="78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46"/>
                  </a:lnTo>
                  <a:lnTo>
                    <a:pt x="2" y="40"/>
                  </a:lnTo>
                  <a:lnTo>
                    <a:pt x="6" y="32"/>
                  </a:lnTo>
                  <a:lnTo>
                    <a:pt x="12" y="26"/>
                  </a:lnTo>
                  <a:lnTo>
                    <a:pt x="18" y="22"/>
                  </a:lnTo>
                  <a:lnTo>
                    <a:pt x="24" y="18"/>
                  </a:lnTo>
                  <a:lnTo>
                    <a:pt x="32" y="16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54" y="18"/>
                  </a:lnTo>
                  <a:lnTo>
                    <a:pt x="66" y="24"/>
                  </a:lnTo>
                  <a:lnTo>
                    <a:pt x="76" y="32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0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90" y="44"/>
                  </a:lnTo>
                  <a:lnTo>
                    <a:pt x="290" y="44"/>
                  </a:lnTo>
                  <a:lnTo>
                    <a:pt x="296" y="32"/>
                  </a:lnTo>
                  <a:lnTo>
                    <a:pt x="306" y="24"/>
                  </a:lnTo>
                  <a:lnTo>
                    <a:pt x="318" y="18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40" y="16"/>
                  </a:lnTo>
                  <a:lnTo>
                    <a:pt x="348" y="18"/>
                  </a:lnTo>
                  <a:lnTo>
                    <a:pt x="354" y="22"/>
                  </a:lnTo>
                  <a:lnTo>
                    <a:pt x="360" y="26"/>
                  </a:lnTo>
                  <a:lnTo>
                    <a:pt x="366" y="32"/>
                  </a:lnTo>
                  <a:lnTo>
                    <a:pt x="370" y="40"/>
                  </a:lnTo>
                  <a:lnTo>
                    <a:pt x="372" y="46"/>
                  </a:lnTo>
                  <a:lnTo>
                    <a:pt x="372" y="54"/>
                  </a:lnTo>
                  <a:lnTo>
                    <a:pt x="372" y="54"/>
                  </a:lnTo>
                  <a:close/>
                  <a:moveTo>
                    <a:pt x="96" y="114"/>
                  </a:moveTo>
                  <a:lnTo>
                    <a:pt x="96" y="114"/>
                  </a:lnTo>
                  <a:lnTo>
                    <a:pt x="88" y="8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0" y="68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2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6" y="62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0" y="38"/>
                  </a:lnTo>
                  <a:lnTo>
                    <a:pt x="52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2" y="32"/>
                  </a:lnTo>
                  <a:lnTo>
                    <a:pt x="22" y="38"/>
                  </a:lnTo>
                  <a:lnTo>
                    <a:pt x="18" y="4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64"/>
                  </a:lnTo>
                  <a:lnTo>
                    <a:pt x="20" y="74"/>
                  </a:lnTo>
                  <a:lnTo>
                    <a:pt x="32" y="8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70" y="104"/>
                  </a:lnTo>
                  <a:lnTo>
                    <a:pt x="70" y="104"/>
                  </a:lnTo>
                  <a:lnTo>
                    <a:pt x="96" y="114"/>
                  </a:lnTo>
                  <a:lnTo>
                    <a:pt x="96" y="114"/>
                  </a:lnTo>
                  <a:close/>
                  <a:moveTo>
                    <a:pt x="272" y="28"/>
                  </a:moveTo>
                  <a:lnTo>
                    <a:pt x="272" y="28"/>
                  </a:lnTo>
                  <a:lnTo>
                    <a:pt x="272" y="26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68" y="20"/>
                  </a:lnTo>
                  <a:lnTo>
                    <a:pt x="264" y="20"/>
                  </a:lnTo>
                  <a:lnTo>
                    <a:pt x="234" y="20"/>
                  </a:lnTo>
                  <a:lnTo>
                    <a:pt x="234" y="20"/>
                  </a:lnTo>
                  <a:lnTo>
                    <a:pt x="230" y="20"/>
                  </a:lnTo>
                  <a:lnTo>
                    <a:pt x="228" y="22"/>
                  </a:lnTo>
                  <a:lnTo>
                    <a:pt x="226" y="24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26" y="32"/>
                  </a:lnTo>
                  <a:lnTo>
                    <a:pt x="228" y="34"/>
                  </a:lnTo>
                  <a:lnTo>
                    <a:pt x="230" y="36"/>
                  </a:lnTo>
                  <a:lnTo>
                    <a:pt x="234" y="36"/>
                  </a:lnTo>
                  <a:lnTo>
                    <a:pt x="256" y="36"/>
                  </a:lnTo>
                  <a:lnTo>
                    <a:pt x="256" y="36"/>
                  </a:lnTo>
                  <a:lnTo>
                    <a:pt x="252" y="64"/>
                  </a:lnTo>
                  <a:lnTo>
                    <a:pt x="246" y="90"/>
                  </a:lnTo>
                  <a:lnTo>
                    <a:pt x="240" y="112"/>
                  </a:lnTo>
                  <a:lnTo>
                    <a:pt x="232" y="132"/>
                  </a:lnTo>
                  <a:lnTo>
                    <a:pt x="222" y="150"/>
                  </a:lnTo>
                  <a:lnTo>
                    <a:pt x="212" y="162"/>
                  </a:lnTo>
                  <a:lnTo>
                    <a:pt x="202" y="172"/>
                  </a:lnTo>
                  <a:lnTo>
                    <a:pt x="192" y="176"/>
                  </a:lnTo>
                  <a:lnTo>
                    <a:pt x="192" y="176"/>
                  </a:lnTo>
                  <a:lnTo>
                    <a:pt x="190" y="178"/>
                  </a:lnTo>
                  <a:lnTo>
                    <a:pt x="188" y="180"/>
                  </a:lnTo>
                  <a:lnTo>
                    <a:pt x="186" y="184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90" y="190"/>
                  </a:lnTo>
                  <a:lnTo>
                    <a:pt x="194" y="192"/>
                  </a:lnTo>
                  <a:lnTo>
                    <a:pt x="194" y="192"/>
                  </a:lnTo>
                  <a:lnTo>
                    <a:pt x="196" y="192"/>
                  </a:lnTo>
                  <a:lnTo>
                    <a:pt x="196" y="192"/>
                  </a:lnTo>
                  <a:lnTo>
                    <a:pt x="204" y="190"/>
                  </a:lnTo>
                  <a:lnTo>
                    <a:pt x="210" y="186"/>
                  </a:lnTo>
                  <a:lnTo>
                    <a:pt x="224" y="174"/>
                  </a:lnTo>
                  <a:lnTo>
                    <a:pt x="236" y="158"/>
                  </a:lnTo>
                  <a:lnTo>
                    <a:pt x="248" y="138"/>
                  </a:lnTo>
                  <a:lnTo>
                    <a:pt x="256" y="114"/>
                  </a:lnTo>
                  <a:lnTo>
                    <a:pt x="264" y="88"/>
                  </a:lnTo>
                  <a:lnTo>
                    <a:pt x="270" y="58"/>
                  </a:lnTo>
                  <a:lnTo>
                    <a:pt x="272" y="28"/>
                  </a:lnTo>
                  <a:lnTo>
                    <a:pt x="272" y="28"/>
                  </a:lnTo>
                  <a:close/>
                  <a:moveTo>
                    <a:pt x="356" y="54"/>
                  </a:moveTo>
                  <a:lnTo>
                    <a:pt x="356" y="54"/>
                  </a:lnTo>
                  <a:lnTo>
                    <a:pt x="354" y="46"/>
                  </a:lnTo>
                  <a:lnTo>
                    <a:pt x="350" y="38"/>
                  </a:lnTo>
                  <a:lnTo>
                    <a:pt x="340" y="32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0" y="32"/>
                  </a:lnTo>
                  <a:lnTo>
                    <a:pt x="312" y="38"/>
                  </a:lnTo>
                  <a:lnTo>
                    <a:pt x="308" y="46"/>
                  </a:lnTo>
                  <a:lnTo>
                    <a:pt x="306" y="54"/>
                  </a:lnTo>
                  <a:lnTo>
                    <a:pt x="306" y="54"/>
                  </a:lnTo>
                  <a:lnTo>
                    <a:pt x="306" y="62"/>
                  </a:lnTo>
                  <a:lnTo>
                    <a:pt x="310" y="68"/>
                  </a:lnTo>
                  <a:lnTo>
                    <a:pt x="310" y="68"/>
                  </a:lnTo>
                  <a:lnTo>
                    <a:pt x="312" y="72"/>
                  </a:lnTo>
                  <a:lnTo>
                    <a:pt x="312" y="74"/>
                  </a:lnTo>
                  <a:lnTo>
                    <a:pt x="312" y="78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6" y="82"/>
                  </a:lnTo>
                  <a:lnTo>
                    <a:pt x="304" y="82"/>
                  </a:lnTo>
                  <a:lnTo>
                    <a:pt x="300" y="82"/>
                  </a:lnTo>
                  <a:lnTo>
                    <a:pt x="298" y="80"/>
                  </a:lnTo>
                  <a:lnTo>
                    <a:pt x="298" y="80"/>
                  </a:lnTo>
                  <a:lnTo>
                    <a:pt x="292" y="68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4" y="86"/>
                  </a:lnTo>
                  <a:lnTo>
                    <a:pt x="276" y="114"/>
                  </a:lnTo>
                  <a:lnTo>
                    <a:pt x="276" y="114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40" y="84"/>
                  </a:lnTo>
                  <a:lnTo>
                    <a:pt x="352" y="74"/>
                  </a:lnTo>
                  <a:lnTo>
                    <a:pt x="356" y="64"/>
                  </a:lnTo>
                  <a:lnTo>
                    <a:pt x="356" y="54"/>
                  </a:lnTo>
                  <a:lnTo>
                    <a:pt x="356" y="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3" tIns="45712" rIns="91423" bIns="4571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9" name="Gruppe 1"/>
          <p:cNvGrpSpPr/>
          <p:nvPr/>
        </p:nvGrpSpPr>
        <p:grpSpPr>
          <a:xfrm>
            <a:off x="1462341" y="5133459"/>
            <a:ext cx="1711116" cy="1711116"/>
            <a:chOff x="7674777" y="6321790"/>
            <a:chExt cx="1080000" cy="1080000"/>
          </a:xfrm>
        </p:grpSpPr>
        <p:sp>
          <p:nvSpPr>
            <p:cNvPr id="40" name="Oval 39"/>
            <p:cNvSpPr/>
            <p:nvPr/>
          </p:nvSpPr>
          <p:spPr bwMode="ltGray">
            <a:xfrm>
              <a:off x="7674777" y="6321790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41" name="Freeform 4803"/>
            <p:cNvSpPr>
              <a:spLocks noEditPoints="1"/>
            </p:cNvSpPr>
            <p:nvPr/>
          </p:nvSpPr>
          <p:spPr bwMode="auto">
            <a:xfrm>
              <a:off x="7825527" y="6580300"/>
              <a:ext cx="772158" cy="549524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3" tIns="45712" rIns="91423" bIns="4571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2" name="Gruppe 4"/>
          <p:cNvGrpSpPr/>
          <p:nvPr/>
        </p:nvGrpSpPr>
        <p:grpSpPr>
          <a:xfrm>
            <a:off x="12923339" y="5133459"/>
            <a:ext cx="1711116" cy="1711116"/>
            <a:chOff x="15366941" y="7723120"/>
            <a:chExt cx="1080000" cy="1080000"/>
          </a:xfrm>
        </p:grpSpPr>
        <p:sp>
          <p:nvSpPr>
            <p:cNvPr id="43" name="Oval 42"/>
            <p:cNvSpPr/>
            <p:nvPr/>
          </p:nvSpPr>
          <p:spPr bwMode="ltGray">
            <a:xfrm>
              <a:off x="15366941" y="7723120"/>
              <a:ext cx="1080000" cy="1080000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44" name="Freeform 4936"/>
            <p:cNvSpPr>
              <a:spLocks noEditPoints="1"/>
            </p:cNvSpPr>
            <p:nvPr/>
          </p:nvSpPr>
          <p:spPr bwMode="auto">
            <a:xfrm>
              <a:off x="15486050" y="7833690"/>
              <a:ext cx="841769" cy="795008"/>
            </a:xfrm>
            <a:custGeom>
              <a:avLst/>
              <a:gdLst>
                <a:gd name="T0" fmla="*/ 198 w 396"/>
                <a:gd name="T1" fmla="*/ 218 h 374"/>
                <a:gd name="T2" fmla="*/ 178 w 396"/>
                <a:gd name="T3" fmla="*/ 198 h 374"/>
                <a:gd name="T4" fmla="*/ 206 w 396"/>
                <a:gd name="T5" fmla="*/ 180 h 374"/>
                <a:gd name="T6" fmla="*/ 396 w 396"/>
                <a:gd name="T7" fmla="*/ 198 h 374"/>
                <a:gd name="T8" fmla="*/ 332 w 396"/>
                <a:gd name="T9" fmla="*/ 344 h 374"/>
                <a:gd name="T10" fmla="*/ 230 w 396"/>
                <a:gd name="T11" fmla="*/ 334 h 374"/>
                <a:gd name="T12" fmla="*/ 150 w 396"/>
                <a:gd name="T13" fmla="*/ 328 h 374"/>
                <a:gd name="T14" fmla="*/ 46 w 396"/>
                <a:gd name="T15" fmla="*/ 324 h 374"/>
                <a:gd name="T16" fmla="*/ 0 w 396"/>
                <a:gd name="T17" fmla="*/ 198 h 374"/>
                <a:gd name="T18" fmla="*/ 34 w 396"/>
                <a:gd name="T19" fmla="*/ 88 h 374"/>
                <a:gd name="T20" fmla="*/ 122 w 396"/>
                <a:gd name="T21" fmla="*/ 16 h 374"/>
                <a:gd name="T22" fmla="*/ 218 w 396"/>
                <a:gd name="T23" fmla="*/ 2 h 374"/>
                <a:gd name="T24" fmla="*/ 324 w 396"/>
                <a:gd name="T25" fmla="*/ 46 h 374"/>
                <a:gd name="T26" fmla="*/ 386 w 396"/>
                <a:gd name="T27" fmla="*/ 140 h 374"/>
                <a:gd name="T28" fmla="*/ 310 w 396"/>
                <a:gd name="T29" fmla="*/ 134 h 374"/>
                <a:gd name="T30" fmla="*/ 352 w 396"/>
                <a:gd name="T31" fmla="*/ 120 h 374"/>
                <a:gd name="T32" fmla="*/ 354 w 396"/>
                <a:gd name="T33" fmla="*/ 104 h 374"/>
                <a:gd name="T34" fmla="*/ 310 w 396"/>
                <a:gd name="T35" fmla="*/ 122 h 374"/>
                <a:gd name="T36" fmla="*/ 262 w 396"/>
                <a:gd name="T37" fmla="*/ 86 h 374"/>
                <a:gd name="T38" fmla="*/ 292 w 396"/>
                <a:gd name="T39" fmla="*/ 54 h 374"/>
                <a:gd name="T40" fmla="*/ 286 w 396"/>
                <a:gd name="T41" fmla="*/ 38 h 374"/>
                <a:gd name="T42" fmla="*/ 258 w 396"/>
                <a:gd name="T43" fmla="*/ 76 h 374"/>
                <a:gd name="T44" fmla="*/ 188 w 396"/>
                <a:gd name="T45" fmla="*/ 60 h 374"/>
                <a:gd name="T46" fmla="*/ 202 w 396"/>
                <a:gd name="T47" fmla="*/ 68 h 374"/>
                <a:gd name="T48" fmla="*/ 208 w 396"/>
                <a:gd name="T49" fmla="*/ 22 h 374"/>
                <a:gd name="T50" fmla="*/ 190 w 396"/>
                <a:gd name="T51" fmla="*/ 18 h 374"/>
                <a:gd name="T52" fmla="*/ 58 w 396"/>
                <a:gd name="T53" fmla="*/ 208 h 374"/>
                <a:gd name="T54" fmla="*/ 68 w 396"/>
                <a:gd name="T55" fmla="*/ 194 h 374"/>
                <a:gd name="T56" fmla="*/ 22 w 396"/>
                <a:gd name="T57" fmla="*/ 188 h 374"/>
                <a:gd name="T58" fmla="*/ 18 w 396"/>
                <a:gd name="T59" fmla="*/ 206 h 374"/>
                <a:gd name="T60" fmla="*/ 84 w 396"/>
                <a:gd name="T61" fmla="*/ 260 h 374"/>
                <a:gd name="T62" fmla="*/ 40 w 396"/>
                <a:gd name="T63" fmla="*/ 278 h 374"/>
                <a:gd name="T64" fmla="*/ 48 w 396"/>
                <a:gd name="T65" fmla="*/ 294 h 374"/>
                <a:gd name="T66" fmla="*/ 88 w 396"/>
                <a:gd name="T67" fmla="*/ 270 h 374"/>
                <a:gd name="T68" fmla="*/ 54 w 396"/>
                <a:gd name="T69" fmla="*/ 104 h 374"/>
                <a:gd name="T70" fmla="*/ 38 w 396"/>
                <a:gd name="T71" fmla="*/ 110 h 374"/>
                <a:gd name="T72" fmla="*/ 78 w 396"/>
                <a:gd name="T73" fmla="*/ 138 h 374"/>
                <a:gd name="T74" fmla="*/ 88 w 396"/>
                <a:gd name="T75" fmla="*/ 126 h 374"/>
                <a:gd name="T76" fmla="*/ 120 w 396"/>
                <a:gd name="T77" fmla="*/ 44 h 374"/>
                <a:gd name="T78" fmla="*/ 104 w 396"/>
                <a:gd name="T79" fmla="*/ 42 h 374"/>
                <a:gd name="T80" fmla="*/ 124 w 396"/>
                <a:gd name="T81" fmla="*/ 86 h 374"/>
                <a:gd name="T82" fmla="*/ 138 w 396"/>
                <a:gd name="T83" fmla="*/ 80 h 374"/>
                <a:gd name="T84" fmla="*/ 224 w 396"/>
                <a:gd name="T85" fmla="*/ 174 h 374"/>
                <a:gd name="T86" fmla="*/ 188 w 396"/>
                <a:gd name="T87" fmla="*/ 164 h 374"/>
                <a:gd name="T88" fmla="*/ 164 w 396"/>
                <a:gd name="T89" fmla="*/ 186 h 374"/>
                <a:gd name="T90" fmla="*/ 176 w 396"/>
                <a:gd name="T91" fmla="*/ 226 h 374"/>
                <a:gd name="T92" fmla="*/ 216 w 396"/>
                <a:gd name="T93" fmla="*/ 228 h 374"/>
                <a:gd name="T94" fmla="*/ 324 w 396"/>
                <a:gd name="T95" fmla="*/ 258 h 374"/>
                <a:gd name="T96" fmla="*/ 310 w 396"/>
                <a:gd name="T97" fmla="*/ 262 h 374"/>
                <a:gd name="T98" fmla="*/ 342 w 396"/>
                <a:gd name="T99" fmla="*/ 292 h 374"/>
                <a:gd name="T100" fmla="*/ 358 w 396"/>
                <a:gd name="T101" fmla="*/ 286 h 374"/>
                <a:gd name="T102" fmla="*/ 380 w 396"/>
                <a:gd name="T103" fmla="*/ 198 h 374"/>
                <a:gd name="T104" fmla="*/ 338 w 396"/>
                <a:gd name="T105" fmla="*/ 188 h 374"/>
                <a:gd name="T106" fmla="*/ 328 w 396"/>
                <a:gd name="T107" fmla="*/ 202 h 374"/>
                <a:gd name="T108" fmla="*/ 374 w 396"/>
                <a:gd name="T109" fmla="*/ 20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6" h="374">
                  <a:moveTo>
                    <a:pt x="218" y="198"/>
                  </a:moveTo>
                  <a:lnTo>
                    <a:pt x="218" y="198"/>
                  </a:lnTo>
                  <a:lnTo>
                    <a:pt x="216" y="206"/>
                  </a:lnTo>
                  <a:lnTo>
                    <a:pt x="212" y="212"/>
                  </a:lnTo>
                  <a:lnTo>
                    <a:pt x="206" y="216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0" y="216"/>
                  </a:lnTo>
                  <a:lnTo>
                    <a:pt x="184" y="212"/>
                  </a:lnTo>
                  <a:lnTo>
                    <a:pt x="180" y="20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190"/>
                  </a:lnTo>
                  <a:lnTo>
                    <a:pt x="184" y="184"/>
                  </a:lnTo>
                  <a:lnTo>
                    <a:pt x="190" y="180"/>
                  </a:lnTo>
                  <a:lnTo>
                    <a:pt x="198" y="178"/>
                  </a:lnTo>
                  <a:lnTo>
                    <a:pt x="198" y="178"/>
                  </a:lnTo>
                  <a:lnTo>
                    <a:pt x="206" y="180"/>
                  </a:lnTo>
                  <a:lnTo>
                    <a:pt x="212" y="184"/>
                  </a:lnTo>
                  <a:lnTo>
                    <a:pt x="216" y="190"/>
                  </a:lnTo>
                  <a:lnTo>
                    <a:pt x="218" y="198"/>
                  </a:lnTo>
                  <a:lnTo>
                    <a:pt x="218" y="198"/>
                  </a:lnTo>
                  <a:close/>
                  <a:moveTo>
                    <a:pt x="396" y="198"/>
                  </a:moveTo>
                  <a:lnTo>
                    <a:pt x="396" y="198"/>
                  </a:lnTo>
                  <a:lnTo>
                    <a:pt x="394" y="226"/>
                  </a:lnTo>
                  <a:lnTo>
                    <a:pt x="388" y="254"/>
                  </a:lnTo>
                  <a:lnTo>
                    <a:pt x="378" y="278"/>
                  </a:lnTo>
                  <a:lnTo>
                    <a:pt x="366" y="302"/>
                  </a:lnTo>
                  <a:lnTo>
                    <a:pt x="350" y="324"/>
                  </a:lnTo>
                  <a:lnTo>
                    <a:pt x="332" y="344"/>
                  </a:lnTo>
                  <a:lnTo>
                    <a:pt x="310" y="360"/>
                  </a:lnTo>
                  <a:lnTo>
                    <a:pt x="288" y="374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46" y="328"/>
                  </a:lnTo>
                  <a:lnTo>
                    <a:pt x="230" y="334"/>
                  </a:lnTo>
                  <a:lnTo>
                    <a:pt x="214" y="336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82" y="336"/>
                  </a:lnTo>
                  <a:lnTo>
                    <a:pt x="166" y="334"/>
                  </a:lnTo>
                  <a:lnTo>
                    <a:pt x="150" y="328"/>
                  </a:lnTo>
                  <a:lnTo>
                    <a:pt x="134" y="322"/>
                  </a:lnTo>
                  <a:lnTo>
                    <a:pt x="108" y="374"/>
                  </a:lnTo>
                  <a:lnTo>
                    <a:pt x="108" y="374"/>
                  </a:lnTo>
                  <a:lnTo>
                    <a:pt x="86" y="360"/>
                  </a:lnTo>
                  <a:lnTo>
                    <a:pt x="64" y="344"/>
                  </a:lnTo>
                  <a:lnTo>
                    <a:pt x="46" y="324"/>
                  </a:lnTo>
                  <a:lnTo>
                    <a:pt x="30" y="302"/>
                  </a:lnTo>
                  <a:lnTo>
                    <a:pt x="18" y="278"/>
                  </a:lnTo>
                  <a:lnTo>
                    <a:pt x="8" y="254"/>
                  </a:lnTo>
                  <a:lnTo>
                    <a:pt x="2" y="226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2" y="178"/>
                  </a:lnTo>
                  <a:lnTo>
                    <a:pt x="4" y="158"/>
                  </a:lnTo>
                  <a:lnTo>
                    <a:pt x="10" y="140"/>
                  </a:lnTo>
                  <a:lnTo>
                    <a:pt x="16" y="122"/>
                  </a:lnTo>
                  <a:lnTo>
                    <a:pt x="24" y="104"/>
                  </a:lnTo>
                  <a:lnTo>
                    <a:pt x="34" y="88"/>
                  </a:lnTo>
                  <a:lnTo>
                    <a:pt x="46" y="72"/>
                  </a:lnTo>
                  <a:lnTo>
                    <a:pt x="58" y="58"/>
                  </a:lnTo>
                  <a:lnTo>
                    <a:pt x="72" y="46"/>
                  </a:lnTo>
                  <a:lnTo>
                    <a:pt x="88" y="34"/>
                  </a:lnTo>
                  <a:lnTo>
                    <a:pt x="104" y="24"/>
                  </a:lnTo>
                  <a:lnTo>
                    <a:pt x="122" y="16"/>
                  </a:lnTo>
                  <a:lnTo>
                    <a:pt x="140" y="10"/>
                  </a:lnTo>
                  <a:lnTo>
                    <a:pt x="158" y="4"/>
                  </a:lnTo>
                  <a:lnTo>
                    <a:pt x="17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2"/>
                  </a:lnTo>
                  <a:lnTo>
                    <a:pt x="238" y="4"/>
                  </a:lnTo>
                  <a:lnTo>
                    <a:pt x="256" y="10"/>
                  </a:lnTo>
                  <a:lnTo>
                    <a:pt x="274" y="16"/>
                  </a:lnTo>
                  <a:lnTo>
                    <a:pt x="292" y="24"/>
                  </a:lnTo>
                  <a:lnTo>
                    <a:pt x="308" y="34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0" y="72"/>
                  </a:lnTo>
                  <a:lnTo>
                    <a:pt x="362" y="88"/>
                  </a:lnTo>
                  <a:lnTo>
                    <a:pt x="372" y="104"/>
                  </a:lnTo>
                  <a:lnTo>
                    <a:pt x="380" y="122"/>
                  </a:lnTo>
                  <a:lnTo>
                    <a:pt x="386" y="140"/>
                  </a:lnTo>
                  <a:lnTo>
                    <a:pt x="392" y="158"/>
                  </a:lnTo>
                  <a:lnTo>
                    <a:pt x="394" y="178"/>
                  </a:lnTo>
                  <a:lnTo>
                    <a:pt x="396" y="198"/>
                  </a:lnTo>
                  <a:lnTo>
                    <a:pt x="396" y="198"/>
                  </a:lnTo>
                  <a:close/>
                  <a:moveTo>
                    <a:pt x="310" y="134"/>
                  </a:moveTo>
                  <a:lnTo>
                    <a:pt x="310" y="134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56" y="118"/>
                  </a:lnTo>
                  <a:lnTo>
                    <a:pt x="356" y="114"/>
                  </a:lnTo>
                  <a:lnTo>
                    <a:pt x="358" y="110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4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2" y="104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0" y="122"/>
                  </a:lnTo>
                  <a:lnTo>
                    <a:pt x="308" y="126"/>
                  </a:lnTo>
                  <a:lnTo>
                    <a:pt x="308" y="130"/>
                  </a:lnTo>
                  <a:lnTo>
                    <a:pt x="310" y="134"/>
                  </a:lnTo>
                  <a:lnTo>
                    <a:pt x="310" y="134"/>
                  </a:lnTo>
                  <a:close/>
                  <a:moveTo>
                    <a:pt x="262" y="86"/>
                  </a:moveTo>
                  <a:lnTo>
                    <a:pt x="262" y="86"/>
                  </a:lnTo>
                  <a:lnTo>
                    <a:pt x="268" y="88"/>
                  </a:lnTo>
                  <a:lnTo>
                    <a:pt x="268" y="88"/>
                  </a:lnTo>
                  <a:lnTo>
                    <a:pt x="272" y="86"/>
                  </a:lnTo>
                  <a:lnTo>
                    <a:pt x="276" y="82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4" y="50"/>
                  </a:lnTo>
                  <a:lnTo>
                    <a:pt x="294" y="46"/>
                  </a:lnTo>
                  <a:lnTo>
                    <a:pt x="292" y="42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86" y="38"/>
                  </a:lnTo>
                  <a:lnTo>
                    <a:pt x="282" y="40"/>
                  </a:lnTo>
                  <a:lnTo>
                    <a:pt x="278" y="40"/>
                  </a:lnTo>
                  <a:lnTo>
                    <a:pt x="276" y="44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8" y="76"/>
                  </a:lnTo>
                  <a:lnTo>
                    <a:pt x="258" y="80"/>
                  </a:lnTo>
                  <a:lnTo>
                    <a:pt x="260" y="84"/>
                  </a:lnTo>
                  <a:lnTo>
                    <a:pt x="262" y="86"/>
                  </a:lnTo>
                  <a:lnTo>
                    <a:pt x="262" y="86"/>
                  </a:lnTo>
                  <a:close/>
                  <a:moveTo>
                    <a:pt x="188" y="60"/>
                  </a:moveTo>
                  <a:lnTo>
                    <a:pt x="188" y="60"/>
                  </a:lnTo>
                  <a:lnTo>
                    <a:pt x="188" y="62"/>
                  </a:lnTo>
                  <a:lnTo>
                    <a:pt x="190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198" y="70"/>
                  </a:lnTo>
                  <a:lnTo>
                    <a:pt x="202" y="68"/>
                  </a:lnTo>
                  <a:lnTo>
                    <a:pt x="206" y="66"/>
                  </a:lnTo>
                  <a:lnTo>
                    <a:pt x="208" y="62"/>
                  </a:lnTo>
                  <a:lnTo>
                    <a:pt x="208" y="60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08" y="22"/>
                  </a:lnTo>
                  <a:lnTo>
                    <a:pt x="206" y="18"/>
                  </a:lnTo>
                  <a:lnTo>
                    <a:pt x="202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194" y="16"/>
                  </a:lnTo>
                  <a:lnTo>
                    <a:pt x="190" y="18"/>
                  </a:lnTo>
                  <a:lnTo>
                    <a:pt x="188" y="22"/>
                  </a:lnTo>
                  <a:lnTo>
                    <a:pt x="188" y="26"/>
                  </a:lnTo>
                  <a:lnTo>
                    <a:pt x="188" y="60"/>
                  </a:lnTo>
                  <a:close/>
                  <a:moveTo>
                    <a:pt x="26" y="208"/>
                  </a:moveTo>
                  <a:lnTo>
                    <a:pt x="58" y="208"/>
                  </a:lnTo>
                  <a:lnTo>
                    <a:pt x="58" y="208"/>
                  </a:lnTo>
                  <a:lnTo>
                    <a:pt x="62" y="208"/>
                  </a:lnTo>
                  <a:lnTo>
                    <a:pt x="66" y="206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4"/>
                  </a:lnTo>
                  <a:lnTo>
                    <a:pt x="66" y="190"/>
                  </a:lnTo>
                  <a:lnTo>
                    <a:pt x="62" y="188"/>
                  </a:lnTo>
                  <a:lnTo>
                    <a:pt x="58" y="188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2" y="188"/>
                  </a:lnTo>
                  <a:lnTo>
                    <a:pt x="18" y="190"/>
                  </a:lnTo>
                  <a:lnTo>
                    <a:pt x="16" y="194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202"/>
                  </a:lnTo>
                  <a:lnTo>
                    <a:pt x="18" y="206"/>
                  </a:lnTo>
                  <a:lnTo>
                    <a:pt x="22" y="208"/>
                  </a:lnTo>
                  <a:lnTo>
                    <a:pt x="26" y="208"/>
                  </a:lnTo>
                  <a:lnTo>
                    <a:pt x="26" y="208"/>
                  </a:lnTo>
                  <a:close/>
                  <a:moveTo>
                    <a:pt x="86" y="262"/>
                  </a:moveTo>
                  <a:lnTo>
                    <a:pt x="86" y="262"/>
                  </a:lnTo>
                  <a:lnTo>
                    <a:pt x="84" y="260"/>
                  </a:lnTo>
                  <a:lnTo>
                    <a:pt x="80" y="258"/>
                  </a:lnTo>
                  <a:lnTo>
                    <a:pt x="76" y="258"/>
                  </a:lnTo>
                  <a:lnTo>
                    <a:pt x="72" y="258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0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44" y="292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54" y="292"/>
                  </a:lnTo>
                  <a:lnTo>
                    <a:pt x="82" y="276"/>
                  </a:lnTo>
                  <a:lnTo>
                    <a:pt x="82" y="276"/>
                  </a:lnTo>
                  <a:lnTo>
                    <a:pt x="86" y="274"/>
                  </a:lnTo>
                  <a:lnTo>
                    <a:pt x="88" y="270"/>
                  </a:lnTo>
                  <a:lnTo>
                    <a:pt x="88" y="266"/>
                  </a:lnTo>
                  <a:lnTo>
                    <a:pt x="86" y="262"/>
                  </a:lnTo>
                  <a:lnTo>
                    <a:pt x="86" y="262"/>
                  </a:lnTo>
                  <a:close/>
                  <a:moveTo>
                    <a:pt x="82" y="120"/>
                  </a:moveTo>
                  <a:lnTo>
                    <a:pt x="54" y="104"/>
                  </a:lnTo>
                  <a:lnTo>
                    <a:pt x="54" y="104"/>
                  </a:lnTo>
                  <a:lnTo>
                    <a:pt x="50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8" y="110"/>
                  </a:lnTo>
                  <a:lnTo>
                    <a:pt x="40" y="114"/>
                  </a:lnTo>
                  <a:lnTo>
                    <a:pt x="40" y="118"/>
                  </a:lnTo>
                  <a:lnTo>
                    <a:pt x="44" y="120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2" y="138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8" y="130"/>
                  </a:lnTo>
                  <a:lnTo>
                    <a:pt x="88" y="126"/>
                  </a:lnTo>
                  <a:lnTo>
                    <a:pt x="86" y="122"/>
                  </a:lnTo>
                  <a:lnTo>
                    <a:pt x="82" y="120"/>
                  </a:lnTo>
                  <a:lnTo>
                    <a:pt x="82" y="120"/>
                  </a:lnTo>
                  <a:close/>
                  <a:moveTo>
                    <a:pt x="138" y="72"/>
                  </a:moveTo>
                  <a:lnTo>
                    <a:pt x="120" y="44"/>
                  </a:lnTo>
                  <a:lnTo>
                    <a:pt x="120" y="44"/>
                  </a:lnTo>
                  <a:lnTo>
                    <a:pt x="118" y="40"/>
                  </a:lnTo>
                  <a:lnTo>
                    <a:pt x="114" y="40"/>
                  </a:lnTo>
                  <a:lnTo>
                    <a:pt x="110" y="38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4" y="54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4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4" y="86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8" y="80"/>
                  </a:lnTo>
                  <a:lnTo>
                    <a:pt x="138" y="76"/>
                  </a:lnTo>
                  <a:lnTo>
                    <a:pt x="138" y="72"/>
                  </a:lnTo>
                  <a:lnTo>
                    <a:pt x="138" y="72"/>
                  </a:lnTo>
                  <a:close/>
                  <a:moveTo>
                    <a:pt x="372" y="152"/>
                  </a:moveTo>
                  <a:lnTo>
                    <a:pt x="224" y="174"/>
                  </a:lnTo>
                  <a:lnTo>
                    <a:pt x="224" y="174"/>
                  </a:lnTo>
                  <a:lnTo>
                    <a:pt x="218" y="168"/>
                  </a:lnTo>
                  <a:lnTo>
                    <a:pt x="212" y="166"/>
                  </a:lnTo>
                  <a:lnTo>
                    <a:pt x="206" y="164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2" y="166"/>
                  </a:lnTo>
                  <a:lnTo>
                    <a:pt x="176" y="170"/>
                  </a:lnTo>
                  <a:lnTo>
                    <a:pt x="172" y="174"/>
                  </a:lnTo>
                  <a:lnTo>
                    <a:pt x="168" y="180"/>
                  </a:lnTo>
                  <a:lnTo>
                    <a:pt x="164" y="186"/>
                  </a:lnTo>
                  <a:lnTo>
                    <a:pt x="162" y="194"/>
                  </a:lnTo>
                  <a:lnTo>
                    <a:pt x="162" y="200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8" y="218"/>
                  </a:lnTo>
                  <a:lnTo>
                    <a:pt x="176" y="226"/>
                  </a:lnTo>
                  <a:lnTo>
                    <a:pt x="186" y="232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208" y="232"/>
                  </a:lnTo>
                  <a:lnTo>
                    <a:pt x="208" y="232"/>
                  </a:lnTo>
                  <a:lnTo>
                    <a:pt x="216" y="228"/>
                  </a:lnTo>
                  <a:lnTo>
                    <a:pt x="224" y="222"/>
                  </a:lnTo>
                  <a:lnTo>
                    <a:pt x="228" y="216"/>
                  </a:lnTo>
                  <a:lnTo>
                    <a:pt x="232" y="208"/>
                  </a:lnTo>
                  <a:lnTo>
                    <a:pt x="372" y="152"/>
                  </a:lnTo>
                  <a:close/>
                  <a:moveTo>
                    <a:pt x="352" y="276"/>
                  </a:moveTo>
                  <a:lnTo>
                    <a:pt x="324" y="258"/>
                  </a:lnTo>
                  <a:lnTo>
                    <a:pt x="324" y="258"/>
                  </a:lnTo>
                  <a:lnTo>
                    <a:pt x="320" y="258"/>
                  </a:lnTo>
                  <a:lnTo>
                    <a:pt x="316" y="258"/>
                  </a:lnTo>
                  <a:lnTo>
                    <a:pt x="312" y="260"/>
                  </a:lnTo>
                  <a:lnTo>
                    <a:pt x="310" y="262"/>
                  </a:lnTo>
                  <a:lnTo>
                    <a:pt x="310" y="262"/>
                  </a:lnTo>
                  <a:lnTo>
                    <a:pt x="308" y="266"/>
                  </a:lnTo>
                  <a:lnTo>
                    <a:pt x="308" y="270"/>
                  </a:lnTo>
                  <a:lnTo>
                    <a:pt x="310" y="274"/>
                  </a:lnTo>
                  <a:lnTo>
                    <a:pt x="314" y="27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4"/>
                  </a:lnTo>
                  <a:lnTo>
                    <a:pt x="348" y="294"/>
                  </a:lnTo>
                  <a:lnTo>
                    <a:pt x="352" y="292"/>
                  </a:lnTo>
                  <a:lnTo>
                    <a:pt x="356" y="290"/>
                  </a:lnTo>
                  <a:lnTo>
                    <a:pt x="356" y="290"/>
                  </a:lnTo>
                  <a:lnTo>
                    <a:pt x="358" y="286"/>
                  </a:lnTo>
                  <a:lnTo>
                    <a:pt x="356" y="282"/>
                  </a:lnTo>
                  <a:lnTo>
                    <a:pt x="356" y="278"/>
                  </a:lnTo>
                  <a:lnTo>
                    <a:pt x="352" y="276"/>
                  </a:lnTo>
                  <a:lnTo>
                    <a:pt x="352" y="276"/>
                  </a:lnTo>
                  <a:close/>
                  <a:moveTo>
                    <a:pt x="380" y="198"/>
                  </a:moveTo>
                  <a:lnTo>
                    <a:pt x="380" y="198"/>
                  </a:lnTo>
                  <a:lnTo>
                    <a:pt x="380" y="194"/>
                  </a:lnTo>
                  <a:lnTo>
                    <a:pt x="378" y="190"/>
                  </a:lnTo>
                  <a:lnTo>
                    <a:pt x="374" y="188"/>
                  </a:lnTo>
                  <a:lnTo>
                    <a:pt x="370" y="188"/>
                  </a:lnTo>
                  <a:lnTo>
                    <a:pt x="338" y="188"/>
                  </a:lnTo>
                  <a:lnTo>
                    <a:pt x="338" y="188"/>
                  </a:lnTo>
                  <a:lnTo>
                    <a:pt x="334" y="188"/>
                  </a:lnTo>
                  <a:lnTo>
                    <a:pt x="330" y="190"/>
                  </a:lnTo>
                  <a:lnTo>
                    <a:pt x="328" y="194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8" y="202"/>
                  </a:lnTo>
                  <a:lnTo>
                    <a:pt x="330" y="206"/>
                  </a:lnTo>
                  <a:lnTo>
                    <a:pt x="334" y="208"/>
                  </a:lnTo>
                  <a:lnTo>
                    <a:pt x="338" y="208"/>
                  </a:lnTo>
                  <a:lnTo>
                    <a:pt x="370" y="208"/>
                  </a:lnTo>
                  <a:lnTo>
                    <a:pt x="370" y="208"/>
                  </a:lnTo>
                  <a:lnTo>
                    <a:pt x="374" y="208"/>
                  </a:lnTo>
                  <a:lnTo>
                    <a:pt x="378" y="206"/>
                  </a:lnTo>
                  <a:lnTo>
                    <a:pt x="380" y="202"/>
                  </a:lnTo>
                  <a:lnTo>
                    <a:pt x="380" y="198"/>
                  </a:lnTo>
                  <a:lnTo>
                    <a:pt x="380" y="198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3196670" y="3139583"/>
            <a:ext cx="6347034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og bedre helseforskning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9152471" y="5797867"/>
            <a:ext cx="1370288" cy="728092"/>
            <a:chOff x="10102871" y="3953770"/>
            <a:chExt cx="1667020" cy="885758"/>
          </a:xfrm>
        </p:grpSpPr>
        <p:sp>
          <p:nvSpPr>
            <p:cNvPr id="104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5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6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9152471" y="7802914"/>
            <a:ext cx="1370288" cy="728092"/>
            <a:chOff x="10102871" y="3953770"/>
            <a:chExt cx="1667020" cy="885758"/>
          </a:xfrm>
        </p:grpSpPr>
        <p:sp>
          <p:nvSpPr>
            <p:cNvPr id="109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9152471" y="9807961"/>
            <a:ext cx="1370288" cy="728092"/>
            <a:chOff x="10102871" y="3953770"/>
            <a:chExt cx="1667020" cy="885758"/>
          </a:xfrm>
        </p:grpSpPr>
        <p:sp>
          <p:nvSpPr>
            <p:cNvPr id="114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6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7" name="Rectangle 116"/>
          <p:cNvSpPr/>
          <p:nvPr/>
        </p:nvSpPr>
        <p:spPr>
          <a:xfrm>
            <a:off x="3196670" y="5089019"/>
            <a:ext cx="6347034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effektiv registerforvaltning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3196670" y="7121827"/>
            <a:ext cx="6347034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vern og informasjonssikkerhet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3196670" y="9171202"/>
            <a:ext cx="6347034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innovasjon og næringsutvikling</a:t>
            </a:r>
          </a:p>
        </p:txBody>
      </p:sp>
      <p:grpSp>
        <p:nvGrpSpPr>
          <p:cNvPr id="120" name="Group 119"/>
          <p:cNvGrpSpPr/>
          <p:nvPr/>
        </p:nvGrpSpPr>
        <p:grpSpPr>
          <a:xfrm>
            <a:off x="20606874" y="3792820"/>
            <a:ext cx="1370288" cy="728092"/>
            <a:chOff x="10102871" y="3953770"/>
            <a:chExt cx="1667020" cy="885758"/>
          </a:xfrm>
        </p:grpSpPr>
        <p:sp>
          <p:nvSpPr>
            <p:cNvPr id="122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3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4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25" name="Rectangle 124"/>
          <p:cNvSpPr/>
          <p:nvPr/>
        </p:nvSpPr>
        <p:spPr>
          <a:xfrm>
            <a:off x="14651073" y="3139583"/>
            <a:ext cx="5955802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klere innrapportering av helsedata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20606874" y="5797867"/>
            <a:ext cx="1370288" cy="728092"/>
            <a:chOff x="10102871" y="3953770"/>
            <a:chExt cx="1667020" cy="885758"/>
          </a:xfrm>
        </p:grpSpPr>
        <p:sp>
          <p:nvSpPr>
            <p:cNvPr id="128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9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0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20606874" y="7802914"/>
            <a:ext cx="1370288" cy="728092"/>
            <a:chOff x="10102871" y="3953770"/>
            <a:chExt cx="1667020" cy="885758"/>
          </a:xfrm>
        </p:grpSpPr>
        <p:sp>
          <p:nvSpPr>
            <p:cNvPr id="133" name="Avrundet rektangel 358"/>
            <p:cNvSpPr/>
            <p:nvPr/>
          </p:nvSpPr>
          <p:spPr>
            <a:xfrm>
              <a:off x="11251743" y="3953770"/>
              <a:ext cx="518148" cy="885758"/>
            </a:xfrm>
            <a:prstGeom prst="roundRect">
              <a:avLst>
                <a:gd name="adj" fmla="val 6082"/>
              </a:avLst>
            </a:prstGeom>
            <a:solidFill>
              <a:schemeClr val="tx1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4" name="Avrundet rektangel 359"/>
            <p:cNvSpPr/>
            <p:nvPr/>
          </p:nvSpPr>
          <p:spPr>
            <a:xfrm>
              <a:off x="10694708" y="4186316"/>
              <a:ext cx="504491" cy="653212"/>
            </a:xfrm>
            <a:prstGeom prst="roundRect">
              <a:avLst>
                <a:gd name="adj" fmla="val 11232"/>
              </a:avLst>
            </a:prstGeom>
            <a:solidFill>
              <a:schemeClr val="tx1">
                <a:lumMod val="75000"/>
                <a:lumOff val="2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5" name="Avrundet rektangel 360"/>
            <p:cNvSpPr/>
            <p:nvPr/>
          </p:nvSpPr>
          <p:spPr>
            <a:xfrm>
              <a:off x="10102871" y="4531078"/>
              <a:ext cx="539293" cy="308450"/>
            </a:xfrm>
            <a:prstGeom prst="roundRect">
              <a:avLst/>
            </a:prstGeom>
            <a:solidFill>
              <a:schemeClr val="tx1">
                <a:lumMod val="10000"/>
                <a:lumOff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16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36" name="Rectangle 135"/>
          <p:cNvSpPr/>
          <p:nvPr/>
        </p:nvSpPr>
        <p:spPr>
          <a:xfrm>
            <a:off x="14651073" y="5089019"/>
            <a:ext cx="5955802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klere tilgang til helsedata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14651073" y="7121827"/>
            <a:ext cx="5955802" cy="1698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 dirty="0">
                <a:ln>
                  <a:noFill/>
                </a:ln>
                <a:solidFill>
                  <a:srgbClr val="281C2C">
                    <a:lumMod val="10000"/>
                    <a:lumOff val="9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dre datakvalitet</a:t>
            </a:r>
          </a:p>
        </p:txBody>
      </p:sp>
    </p:spTree>
    <p:extLst>
      <p:ext uri="{BB962C8B-B14F-4D97-AF65-F5344CB8AC3E}">
        <p14:creationId xmlns:p14="http://schemas.microsoft.com/office/powerpoint/2010/main" val="34123079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61443" y="4580603"/>
            <a:ext cx="5220000" cy="5220000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indent="-539895" algn="ctr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tabLst>
                <a:tab pos="226695" algn="l"/>
              </a:tabLst>
            </a:pPr>
            <a:endParaRPr lang="en-US" sz="1600">
              <a:solidFill>
                <a:srgbClr val="281C2C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oen viktige utfordringer for Helseanalyseplattform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34938" y="4580603"/>
            <a:ext cx="15904023" cy="5220000"/>
          </a:xfrm>
          <a:solidFill>
            <a:schemeClr val="bg1">
              <a:lumMod val="95000"/>
            </a:schemeClr>
          </a:solidFill>
          <a:ln w="28575">
            <a:solidFill>
              <a:schemeClr val="tx1"/>
            </a:solidFill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6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Rask teknologisk </a:t>
            </a: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utvikling, mange aktører, mange nisjer</a:t>
            </a:r>
            <a:endParaRPr lang="nb-NO" sz="3200" dirty="0">
              <a:solidFill>
                <a:srgbClr val="281C2C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Lovendringer </a:t>
            </a:r>
            <a:r>
              <a:rPr lang="nb-NO" sz="3200" dirty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tar tid</a:t>
            </a:r>
          </a:p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Større samling av data øker negative konsekvenser ved misbruk</a:t>
            </a:r>
          </a:p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Manglende </a:t>
            </a: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standardisering og gammel teknologi </a:t>
            </a:r>
            <a:r>
              <a:rPr lang="nb-NO" sz="3200" dirty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vanskeliggjør </a:t>
            </a: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automatisering</a:t>
            </a:r>
          </a:p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Mange brukergrupper med divergerende behov</a:t>
            </a:r>
          </a:p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Samarbeid, gjenbruk og synergier med eksisterende løsninger</a:t>
            </a:r>
          </a:p>
          <a:p>
            <a:pPr marL="0">
              <a:lnSpc>
                <a:spcPct val="110000"/>
              </a:lnSpc>
              <a:spcAft>
                <a:spcPts val="800"/>
              </a:spcAft>
              <a:tabLst>
                <a:tab pos="226695" algn="l"/>
              </a:tabLst>
            </a:pPr>
            <a:r>
              <a:rPr lang="nb-NO" sz="3200" dirty="0" smtClean="0">
                <a:solidFill>
                  <a:srgbClr val="281C2C"/>
                </a:solidFill>
                <a:ea typeface="Arial" panose="020B0604020202020204" pitchFamily="34" charset="0"/>
                <a:cs typeface="Arial" panose="020B0604020202020204" pitchFamily="34" charset="0"/>
              </a:rPr>
              <a:t>Mange databehandlingsansvarlige med ulike formål</a:t>
            </a:r>
            <a:endParaRPr lang="en-US" sz="3200" dirty="0">
              <a:solidFill>
                <a:srgbClr val="281C2C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reeform 4848"/>
          <p:cNvSpPr>
            <a:spLocks noEditPoints="1"/>
          </p:cNvSpPr>
          <p:nvPr/>
        </p:nvSpPr>
        <p:spPr bwMode="auto">
          <a:xfrm>
            <a:off x="2359505" y="5583404"/>
            <a:ext cx="3623876" cy="3214399"/>
          </a:xfrm>
          <a:custGeom>
            <a:avLst/>
            <a:gdLst>
              <a:gd name="T0" fmla="*/ 198 w 354"/>
              <a:gd name="T1" fmla="*/ 12 h 314"/>
              <a:gd name="T2" fmla="*/ 194 w 354"/>
              <a:gd name="T3" fmla="*/ 8 h 314"/>
              <a:gd name="T4" fmla="*/ 184 w 354"/>
              <a:gd name="T5" fmla="*/ 0 h 314"/>
              <a:gd name="T6" fmla="*/ 178 w 354"/>
              <a:gd name="T7" fmla="*/ 0 h 314"/>
              <a:gd name="T8" fmla="*/ 166 w 354"/>
              <a:gd name="T9" fmla="*/ 4 h 314"/>
              <a:gd name="T10" fmla="*/ 158 w 354"/>
              <a:gd name="T11" fmla="*/ 12 h 314"/>
              <a:gd name="T12" fmla="*/ 4 w 354"/>
              <a:gd name="T13" fmla="*/ 278 h 314"/>
              <a:gd name="T14" fmla="*/ 0 w 354"/>
              <a:gd name="T15" fmla="*/ 290 h 314"/>
              <a:gd name="T16" fmla="*/ 4 w 354"/>
              <a:gd name="T17" fmla="*/ 302 h 314"/>
              <a:gd name="T18" fmla="*/ 8 w 354"/>
              <a:gd name="T19" fmla="*/ 306 h 314"/>
              <a:gd name="T20" fmla="*/ 18 w 354"/>
              <a:gd name="T21" fmla="*/ 312 h 314"/>
              <a:gd name="T22" fmla="*/ 330 w 354"/>
              <a:gd name="T23" fmla="*/ 314 h 314"/>
              <a:gd name="T24" fmla="*/ 338 w 354"/>
              <a:gd name="T25" fmla="*/ 312 h 314"/>
              <a:gd name="T26" fmla="*/ 348 w 354"/>
              <a:gd name="T27" fmla="*/ 306 h 314"/>
              <a:gd name="T28" fmla="*/ 352 w 354"/>
              <a:gd name="T29" fmla="*/ 302 h 314"/>
              <a:gd name="T30" fmla="*/ 354 w 354"/>
              <a:gd name="T31" fmla="*/ 290 h 314"/>
              <a:gd name="T32" fmla="*/ 352 w 354"/>
              <a:gd name="T33" fmla="*/ 278 h 314"/>
              <a:gd name="T34" fmla="*/ 42 w 354"/>
              <a:gd name="T35" fmla="*/ 280 h 314"/>
              <a:gd name="T36" fmla="*/ 314 w 354"/>
              <a:gd name="T37" fmla="*/ 280 h 314"/>
              <a:gd name="T38" fmla="*/ 160 w 354"/>
              <a:gd name="T39" fmla="*/ 142 h 314"/>
              <a:gd name="T40" fmla="*/ 158 w 354"/>
              <a:gd name="T41" fmla="*/ 132 h 314"/>
              <a:gd name="T42" fmla="*/ 160 w 354"/>
              <a:gd name="T43" fmla="*/ 126 h 314"/>
              <a:gd name="T44" fmla="*/ 164 w 354"/>
              <a:gd name="T45" fmla="*/ 122 h 314"/>
              <a:gd name="T46" fmla="*/ 178 w 354"/>
              <a:gd name="T47" fmla="*/ 118 h 314"/>
              <a:gd name="T48" fmla="*/ 186 w 354"/>
              <a:gd name="T49" fmla="*/ 118 h 314"/>
              <a:gd name="T50" fmla="*/ 192 w 354"/>
              <a:gd name="T51" fmla="*/ 122 h 314"/>
              <a:gd name="T52" fmla="*/ 198 w 354"/>
              <a:gd name="T53" fmla="*/ 132 h 314"/>
              <a:gd name="T54" fmla="*/ 196 w 354"/>
              <a:gd name="T55" fmla="*/ 142 h 314"/>
              <a:gd name="T56" fmla="*/ 172 w 354"/>
              <a:gd name="T57" fmla="*/ 206 h 314"/>
              <a:gd name="T58" fmla="*/ 178 w 354"/>
              <a:gd name="T59" fmla="*/ 218 h 314"/>
              <a:gd name="T60" fmla="*/ 186 w 354"/>
              <a:gd name="T61" fmla="*/ 220 h 314"/>
              <a:gd name="T62" fmla="*/ 190 w 354"/>
              <a:gd name="T63" fmla="*/ 224 h 314"/>
              <a:gd name="T64" fmla="*/ 194 w 354"/>
              <a:gd name="T65" fmla="*/ 230 h 314"/>
              <a:gd name="T66" fmla="*/ 196 w 354"/>
              <a:gd name="T67" fmla="*/ 238 h 314"/>
              <a:gd name="T68" fmla="*/ 194 w 354"/>
              <a:gd name="T69" fmla="*/ 244 h 314"/>
              <a:gd name="T70" fmla="*/ 190 w 354"/>
              <a:gd name="T71" fmla="*/ 250 h 314"/>
              <a:gd name="T72" fmla="*/ 186 w 354"/>
              <a:gd name="T73" fmla="*/ 254 h 314"/>
              <a:gd name="T74" fmla="*/ 178 w 354"/>
              <a:gd name="T75" fmla="*/ 256 h 314"/>
              <a:gd name="T76" fmla="*/ 170 w 354"/>
              <a:gd name="T77" fmla="*/ 254 h 314"/>
              <a:gd name="T78" fmla="*/ 166 w 354"/>
              <a:gd name="T79" fmla="*/ 250 h 314"/>
              <a:gd name="T80" fmla="*/ 162 w 354"/>
              <a:gd name="T81" fmla="*/ 244 h 314"/>
              <a:gd name="T82" fmla="*/ 160 w 354"/>
              <a:gd name="T83" fmla="*/ 238 h 314"/>
              <a:gd name="T84" fmla="*/ 162 w 354"/>
              <a:gd name="T85" fmla="*/ 230 h 314"/>
              <a:gd name="T86" fmla="*/ 166 w 354"/>
              <a:gd name="T87" fmla="*/ 224 h 314"/>
              <a:gd name="T88" fmla="*/ 178 w 354"/>
              <a:gd name="T89" fmla="*/ 218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54" h="314">
                <a:moveTo>
                  <a:pt x="352" y="278"/>
                </a:moveTo>
                <a:lnTo>
                  <a:pt x="198" y="12"/>
                </a:lnTo>
                <a:lnTo>
                  <a:pt x="198" y="12"/>
                </a:lnTo>
                <a:lnTo>
                  <a:pt x="194" y="8"/>
                </a:lnTo>
                <a:lnTo>
                  <a:pt x="190" y="4"/>
                </a:lnTo>
                <a:lnTo>
                  <a:pt x="184" y="0"/>
                </a:lnTo>
                <a:lnTo>
                  <a:pt x="178" y="0"/>
                </a:lnTo>
                <a:lnTo>
                  <a:pt x="178" y="0"/>
                </a:lnTo>
                <a:lnTo>
                  <a:pt x="172" y="0"/>
                </a:lnTo>
                <a:lnTo>
                  <a:pt x="166" y="4"/>
                </a:lnTo>
                <a:lnTo>
                  <a:pt x="162" y="8"/>
                </a:lnTo>
                <a:lnTo>
                  <a:pt x="158" y="12"/>
                </a:lnTo>
                <a:lnTo>
                  <a:pt x="4" y="278"/>
                </a:lnTo>
                <a:lnTo>
                  <a:pt x="4" y="278"/>
                </a:lnTo>
                <a:lnTo>
                  <a:pt x="2" y="282"/>
                </a:lnTo>
                <a:lnTo>
                  <a:pt x="0" y="290"/>
                </a:lnTo>
                <a:lnTo>
                  <a:pt x="2" y="296"/>
                </a:lnTo>
                <a:lnTo>
                  <a:pt x="4" y="302"/>
                </a:lnTo>
                <a:lnTo>
                  <a:pt x="4" y="302"/>
                </a:lnTo>
                <a:lnTo>
                  <a:pt x="8" y="306"/>
                </a:lnTo>
                <a:lnTo>
                  <a:pt x="12" y="310"/>
                </a:lnTo>
                <a:lnTo>
                  <a:pt x="18" y="312"/>
                </a:lnTo>
                <a:lnTo>
                  <a:pt x="26" y="314"/>
                </a:lnTo>
                <a:lnTo>
                  <a:pt x="330" y="314"/>
                </a:lnTo>
                <a:lnTo>
                  <a:pt x="330" y="314"/>
                </a:lnTo>
                <a:lnTo>
                  <a:pt x="338" y="312"/>
                </a:lnTo>
                <a:lnTo>
                  <a:pt x="342" y="310"/>
                </a:lnTo>
                <a:lnTo>
                  <a:pt x="348" y="306"/>
                </a:lnTo>
                <a:lnTo>
                  <a:pt x="352" y="302"/>
                </a:lnTo>
                <a:lnTo>
                  <a:pt x="352" y="302"/>
                </a:lnTo>
                <a:lnTo>
                  <a:pt x="354" y="296"/>
                </a:lnTo>
                <a:lnTo>
                  <a:pt x="354" y="290"/>
                </a:lnTo>
                <a:lnTo>
                  <a:pt x="354" y="282"/>
                </a:lnTo>
                <a:lnTo>
                  <a:pt x="352" y="278"/>
                </a:lnTo>
                <a:lnTo>
                  <a:pt x="352" y="278"/>
                </a:lnTo>
                <a:close/>
                <a:moveTo>
                  <a:pt x="42" y="280"/>
                </a:moveTo>
                <a:lnTo>
                  <a:pt x="178" y="44"/>
                </a:lnTo>
                <a:lnTo>
                  <a:pt x="314" y="280"/>
                </a:lnTo>
                <a:lnTo>
                  <a:pt x="42" y="280"/>
                </a:lnTo>
                <a:close/>
                <a:moveTo>
                  <a:pt x="160" y="142"/>
                </a:moveTo>
                <a:lnTo>
                  <a:pt x="160" y="142"/>
                </a:lnTo>
                <a:lnTo>
                  <a:pt x="158" y="132"/>
                </a:lnTo>
                <a:lnTo>
                  <a:pt x="158" y="132"/>
                </a:lnTo>
                <a:lnTo>
                  <a:pt x="160" y="126"/>
                </a:lnTo>
                <a:lnTo>
                  <a:pt x="164" y="122"/>
                </a:lnTo>
                <a:lnTo>
                  <a:pt x="164" y="122"/>
                </a:lnTo>
                <a:lnTo>
                  <a:pt x="170" y="118"/>
                </a:lnTo>
                <a:lnTo>
                  <a:pt x="178" y="118"/>
                </a:lnTo>
                <a:lnTo>
                  <a:pt x="178" y="118"/>
                </a:lnTo>
                <a:lnTo>
                  <a:pt x="186" y="118"/>
                </a:lnTo>
                <a:lnTo>
                  <a:pt x="192" y="122"/>
                </a:lnTo>
                <a:lnTo>
                  <a:pt x="192" y="122"/>
                </a:lnTo>
                <a:lnTo>
                  <a:pt x="196" y="126"/>
                </a:lnTo>
                <a:lnTo>
                  <a:pt x="198" y="132"/>
                </a:lnTo>
                <a:lnTo>
                  <a:pt x="198" y="132"/>
                </a:lnTo>
                <a:lnTo>
                  <a:pt x="196" y="142"/>
                </a:lnTo>
                <a:lnTo>
                  <a:pt x="184" y="206"/>
                </a:lnTo>
                <a:lnTo>
                  <a:pt x="172" y="206"/>
                </a:lnTo>
                <a:lnTo>
                  <a:pt x="160" y="142"/>
                </a:lnTo>
                <a:close/>
                <a:moveTo>
                  <a:pt x="178" y="218"/>
                </a:moveTo>
                <a:lnTo>
                  <a:pt x="178" y="218"/>
                </a:lnTo>
                <a:lnTo>
                  <a:pt x="186" y="220"/>
                </a:lnTo>
                <a:lnTo>
                  <a:pt x="186" y="220"/>
                </a:lnTo>
                <a:lnTo>
                  <a:pt x="190" y="224"/>
                </a:lnTo>
                <a:lnTo>
                  <a:pt x="190" y="224"/>
                </a:lnTo>
                <a:lnTo>
                  <a:pt x="194" y="230"/>
                </a:lnTo>
                <a:lnTo>
                  <a:pt x="194" y="230"/>
                </a:lnTo>
                <a:lnTo>
                  <a:pt x="196" y="238"/>
                </a:lnTo>
                <a:lnTo>
                  <a:pt x="196" y="238"/>
                </a:lnTo>
                <a:lnTo>
                  <a:pt x="194" y="244"/>
                </a:lnTo>
                <a:lnTo>
                  <a:pt x="194" y="244"/>
                </a:lnTo>
                <a:lnTo>
                  <a:pt x="190" y="250"/>
                </a:lnTo>
                <a:lnTo>
                  <a:pt x="190" y="250"/>
                </a:lnTo>
                <a:lnTo>
                  <a:pt x="186" y="254"/>
                </a:lnTo>
                <a:lnTo>
                  <a:pt x="186" y="254"/>
                </a:lnTo>
                <a:lnTo>
                  <a:pt x="178" y="256"/>
                </a:lnTo>
                <a:lnTo>
                  <a:pt x="178" y="256"/>
                </a:lnTo>
                <a:lnTo>
                  <a:pt x="170" y="254"/>
                </a:lnTo>
                <a:lnTo>
                  <a:pt x="170" y="254"/>
                </a:lnTo>
                <a:lnTo>
                  <a:pt x="166" y="250"/>
                </a:lnTo>
                <a:lnTo>
                  <a:pt x="166" y="250"/>
                </a:lnTo>
                <a:lnTo>
                  <a:pt x="162" y="244"/>
                </a:lnTo>
                <a:lnTo>
                  <a:pt x="162" y="244"/>
                </a:lnTo>
                <a:lnTo>
                  <a:pt x="160" y="238"/>
                </a:lnTo>
                <a:lnTo>
                  <a:pt x="160" y="238"/>
                </a:lnTo>
                <a:lnTo>
                  <a:pt x="162" y="230"/>
                </a:lnTo>
                <a:lnTo>
                  <a:pt x="166" y="224"/>
                </a:lnTo>
                <a:lnTo>
                  <a:pt x="166" y="224"/>
                </a:lnTo>
                <a:lnTo>
                  <a:pt x="170" y="220"/>
                </a:lnTo>
                <a:lnTo>
                  <a:pt x="178" y="218"/>
                </a:lnTo>
                <a:lnTo>
                  <a:pt x="178" y="218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16914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7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704850" y="1676400"/>
          <a:ext cx="22702254" cy="10619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Rectangle 25"/>
          <p:cNvSpPr/>
          <p:nvPr/>
        </p:nvSpPr>
        <p:spPr>
          <a:xfrm>
            <a:off x="0" y="0"/>
            <a:ext cx="24382413" cy="1284051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05622" y="1059206"/>
            <a:ext cx="16571168" cy="197809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 </a:t>
            </a:r>
            <a:r>
              <a:rPr kumimoji="0" lang="nb-NO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ksbehandling</a:t>
            </a:r>
            <a:r>
              <a:rPr kumimoji="0" lang="nb-NO" sz="4000" b="0" i="0" u="none" strike="noStrike" kern="1200" cap="none" spc="0" normalizeH="0" noProof="0" dirty="0" smtClean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 </a:t>
            </a:r>
            <a:r>
              <a:rPr kumimoji="0" lang="nb-NO" sz="40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vbetjent </a:t>
            </a:r>
            <a:r>
              <a:rPr kumimoji="0" lang="nb-NO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alyse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8113729" y="5039513"/>
            <a:ext cx="8154955" cy="3636975"/>
            <a:chOff x="8113729" y="5039513"/>
            <a:chExt cx="8154955" cy="3636975"/>
          </a:xfrm>
        </p:grpSpPr>
        <p:grpSp>
          <p:nvGrpSpPr>
            <p:cNvPr id="24" name="Group 23"/>
            <p:cNvGrpSpPr/>
            <p:nvPr/>
          </p:nvGrpSpPr>
          <p:grpSpPr>
            <a:xfrm>
              <a:off x="8113729" y="5039513"/>
              <a:ext cx="8154955" cy="3636975"/>
              <a:chOff x="9330612" y="4298958"/>
              <a:chExt cx="8154955" cy="3636975"/>
            </a:xfrm>
            <a:effectLst>
              <a:outerShdw blurRad="50800" dist="1016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0" name="Rectangle 19"/>
              <p:cNvSpPr/>
              <p:nvPr/>
            </p:nvSpPr>
            <p:spPr>
              <a:xfrm>
                <a:off x="9330612" y="4298958"/>
                <a:ext cx="8154955" cy="363697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9" name="Freeform 4937"/>
              <p:cNvSpPr>
                <a:spLocks noEditPoints="1"/>
              </p:cNvSpPr>
              <p:nvPr/>
            </p:nvSpPr>
            <p:spPr bwMode="auto">
              <a:xfrm>
                <a:off x="14846637" y="5119071"/>
                <a:ext cx="1321246" cy="1635444"/>
              </a:xfrm>
              <a:custGeom>
                <a:avLst/>
                <a:gdLst>
                  <a:gd name="T0" fmla="*/ 316 w 328"/>
                  <a:gd name="T1" fmla="*/ 104 h 406"/>
                  <a:gd name="T2" fmla="*/ 276 w 328"/>
                  <a:gd name="T3" fmla="*/ 96 h 406"/>
                  <a:gd name="T4" fmla="*/ 178 w 328"/>
                  <a:gd name="T5" fmla="*/ 78 h 406"/>
                  <a:gd name="T6" fmla="*/ 120 w 328"/>
                  <a:gd name="T7" fmla="*/ 84 h 406"/>
                  <a:gd name="T8" fmla="*/ 44 w 328"/>
                  <a:gd name="T9" fmla="*/ 130 h 406"/>
                  <a:gd name="T10" fmla="*/ 2 w 328"/>
                  <a:gd name="T11" fmla="*/ 210 h 406"/>
                  <a:gd name="T12" fmla="*/ 8 w 328"/>
                  <a:gd name="T13" fmla="*/ 290 h 406"/>
                  <a:gd name="T14" fmla="*/ 60 w 328"/>
                  <a:gd name="T15" fmla="*/ 368 h 406"/>
                  <a:gd name="T16" fmla="*/ 148 w 328"/>
                  <a:gd name="T17" fmla="*/ 406 h 406"/>
                  <a:gd name="T18" fmla="*/ 228 w 328"/>
                  <a:gd name="T19" fmla="*/ 394 h 406"/>
                  <a:gd name="T20" fmla="*/ 300 w 328"/>
                  <a:gd name="T21" fmla="*/ 334 h 406"/>
                  <a:gd name="T22" fmla="*/ 328 w 328"/>
                  <a:gd name="T23" fmla="*/ 242 h 406"/>
                  <a:gd name="T24" fmla="*/ 296 w 328"/>
                  <a:gd name="T25" fmla="*/ 144 h 406"/>
                  <a:gd name="T26" fmla="*/ 106 w 328"/>
                  <a:gd name="T27" fmla="*/ 378 h 406"/>
                  <a:gd name="T28" fmla="*/ 42 w 328"/>
                  <a:gd name="T29" fmla="*/ 324 h 406"/>
                  <a:gd name="T30" fmla="*/ 16 w 328"/>
                  <a:gd name="T31" fmla="*/ 242 h 406"/>
                  <a:gd name="T32" fmla="*/ 34 w 328"/>
                  <a:gd name="T33" fmla="*/ 172 h 406"/>
                  <a:gd name="T34" fmla="*/ 94 w 328"/>
                  <a:gd name="T35" fmla="*/ 112 h 406"/>
                  <a:gd name="T36" fmla="*/ 164 w 328"/>
                  <a:gd name="T37" fmla="*/ 94 h 406"/>
                  <a:gd name="T38" fmla="*/ 268 w 328"/>
                  <a:gd name="T39" fmla="*/ 138 h 406"/>
                  <a:gd name="T40" fmla="*/ 310 w 328"/>
                  <a:gd name="T41" fmla="*/ 218 h 406"/>
                  <a:gd name="T42" fmla="*/ 300 w 328"/>
                  <a:gd name="T43" fmla="*/ 300 h 406"/>
                  <a:gd name="T44" fmla="*/ 246 w 328"/>
                  <a:gd name="T45" fmla="*/ 364 h 406"/>
                  <a:gd name="T46" fmla="*/ 164 w 328"/>
                  <a:gd name="T47" fmla="*/ 390 h 406"/>
                  <a:gd name="T48" fmla="*/ 136 w 328"/>
                  <a:gd name="T49" fmla="*/ 4 h 406"/>
                  <a:gd name="T50" fmla="*/ 192 w 328"/>
                  <a:gd name="T51" fmla="*/ 4 h 406"/>
                  <a:gd name="T52" fmla="*/ 192 w 328"/>
                  <a:gd name="T53" fmla="*/ 48 h 406"/>
                  <a:gd name="T54" fmla="*/ 136 w 328"/>
                  <a:gd name="T55" fmla="*/ 48 h 406"/>
                  <a:gd name="T56" fmla="*/ 174 w 328"/>
                  <a:gd name="T57" fmla="*/ 246 h 406"/>
                  <a:gd name="T58" fmla="*/ 156 w 328"/>
                  <a:gd name="T59" fmla="*/ 250 h 406"/>
                  <a:gd name="T60" fmla="*/ 160 w 328"/>
                  <a:gd name="T61" fmla="*/ 232 h 406"/>
                  <a:gd name="T62" fmla="*/ 176 w 328"/>
                  <a:gd name="T63" fmla="*/ 242 h 406"/>
                  <a:gd name="T64" fmla="*/ 264 w 328"/>
                  <a:gd name="T65" fmla="*/ 246 h 406"/>
                  <a:gd name="T66" fmla="*/ 272 w 328"/>
                  <a:gd name="T67" fmla="*/ 234 h 406"/>
                  <a:gd name="T68" fmla="*/ 268 w 328"/>
                  <a:gd name="T69" fmla="*/ 166 h 406"/>
                  <a:gd name="T70" fmla="*/ 164 w 328"/>
                  <a:gd name="T71" fmla="*/ 114 h 406"/>
                  <a:gd name="T72" fmla="*/ 76 w 328"/>
                  <a:gd name="T73" fmla="*/ 148 h 406"/>
                  <a:gd name="T74" fmla="*/ 56 w 328"/>
                  <a:gd name="T75" fmla="*/ 234 h 406"/>
                  <a:gd name="T76" fmla="*/ 64 w 328"/>
                  <a:gd name="T77" fmla="*/ 242 h 406"/>
                  <a:gd name="T78" fmla="*/ 36 w 328"/>
                  <a:gd name="T79" fmla="*/ 250 h 406"/>
                  <a:gd name="T80" fmla="*/ 110 w 328"/>
                  <a:gd name="T81" fmla="*/ 360 h 406"/>
                  <a:gd name="T82" fmla="*/ 158 w 328"/>
                  <a:gd name="T83" fmla="*/ 344 h 406"/>
                  <a:gd name="T84" fmla="*/ 172 w 328"/>
                  <a:gd name="T85" fmla="*/ 346 h 406"/>
                  <a:gd name="T86" fmla="*/ 238 w 328"/>
                  <a:gd name="T87" fmla="*/ 348 h 406"/>
                  <a:gd name="T88" fmla="*/ 272 w 328"/>
                  <a:gd name="T89" fmla="*/ 250 h 406"/>
                  <a:gd name="T90" fmla="*/ 172 w 328"/>
                  <a:gd name="T91" fmla="*/ 182 h 406"/>
                  <a:gd name="T92" fmla="*/ 150 w 328"/>
                  <a:gd name="T93" fmla="*/ 176 h 406"/>
                  <a:gd name="T94" fmla="*/ 158 w 328"/>
                  <a:gd name="T95" fmla="*/ 156 h 406"/>
                  <a:gd name="T96" fmla="*/ 236 w 328"/>
                  <a:gd name="T97" fmla="*/ 324 h 406"/>
                  <a:gd name="T98" fmla="*/ 164 w 328"/>
                  <a:gd name="T99" fmla="*/ 270 h 406"/>
                  <a:gd name="T100" fmla="*/ 136 w 328"/>
                  <a:gd name="T101" fmla="*/ 240 h 406"/>
                  <a:gd name="T102" fmla="*/ 130 w 328"/>
                  <a:gd name="T103" fmla="*/ 212 h 406"/>
                  <a:gd name="T104" fmla="*/ 142 w 328"/>
                  <a:gd name="T105" fmla="*/ 210 h 406"/>
                  <a:gd name="T106" fmla="*/ 172 w 328"/>
                  <a:gd name="T107" fmla="*/ 216 h 406"/>
                  <a:gd name="T108" fmla="*/ 188 w 328"/>
                  <a:gd name="T109" fmla="*/ 256 h 406"/>
                  <a:gd name="T110" fmla="*/ 244 w 328"/>
                  <a:gd name="T111" fmla="*/ 322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28" h="406">
                    <a:moveTo>
                      <a:pt x="296" y="144"/>
                    </a:moveTo>
                    <a:lnTo>
                      <a:pt x="310" y="130"/>
                    </a:lnTo>
                    <a:lnTo>
                      <a:pt x="310" y="130"/>
                    </a:lnTo>
                    <a:lnTo>
                      <a:pt x="316" y="122"/>
                    </a:lnTo>
                    <a:lnTo>
                      <a:pt x="318" y="112"/>
                    </a:lnTo>
                    <a:lnTo>
                      <a:pt x="316" y="104"/>
                    </a:lnTo>
                    <a:lnTo>
                      <a:pt x="310" y="96"/>
                    </a:lnTo>
                    <a:lnTo>
                      <a:pt x="310" y="96"/>
                    </a:lnTo>
                    <a:lnTo>
                      <a:pt x="302" y="90"/>
                    </a:lnTo>
                    <a:lnTo>
                      <a:pt x="294" y="88"/>
                    </a:lnTo>
                    <a:lnTo>
                      <a:pt x="284" y="90"/>
                    </a:lnTo>
                    <a:lnTo>
                      <a:pt x="276" y="96"/>
                    </a:lnTo>
                    <a:lnTo>
                      <a:pt x="262" y="110"/>
                    </a:lnTo>
                    <a:lnTo>
                      <a:pt x="262" y="110"/>
                    </a:lnTo>
                    <a:lnTo>
                      <a:pt x="242" y="98"/>
                    </a:lnTo>
                    <a:lnTo>
                      <a:pt x="222" y="90"/>
                    </a:lnTo>
                    <a:lnTo>
                      <a:pt x="200" y="82"/>
                    </a:lnTo>
                    <a:lnTo>
                      <a:pt x="178" y="78"/>
                    </a:lnTo>
                    <a:lnTo>
                      <a:pt x="178" y="64"/>
                    </a:lnTo>
                    <a:lnTo>
                      <a:pt x="150" y="64"/>
                    </a:lnTo>
                    <a:lnTo>
                      <a:pt x="150" y="78"/>
                    </a:lnTo>
                    <a:lnTo>
                      <a:pt x="150" y="78"/>
                    </a:lnTo>
                    <a:lnTo>
                      <a:pt x="134" y="80"/>
                    </a:lnTo>
                    <a:lnTo>
                      <a:pt x="120" y="84"/>
                    </a:lnTo>
                    <a:lnTo>
                      <a:pt x="104" y="90"/>
                    </a:lnTo>
                    <a:lnTo>
                      <a:pt x="92" y="96"/>
                    </a:lnTo>
                    <a:lnTo>
                      <a:pt x="78" y="102"/>
                    </a:lnTo>
                    <a:lnTo>
                      <a:pt x="66" y="110"/>
                    </a:lnTo>
                    <a:lnTo>
                      <a:pt x="54" y="120"/>
                    </a:lnTo>
                    <a:lnTo>
                      <a:pt x="44" y="130"/>
                    </a:lnTo>
                    <a:lnTo>
                      <a:pt x="34" y="142"/>
                    </a:lnTo>
                    <a:lnTo>
                      <a:pt x="26" y="154"/>
                    </a:lnTo>
                    <a:lnTo>
                      <a:pt x="18" y="168"/>
                    </a:lnTo>
                    <a:lnTo>
                      <a:pt x="12" y="182"/>
                    </a:lnTo>
                    <a:lnTo>
                      <a:pt x="6" y="196"/>
                    </a:lnTo>
                    <a:lnTo>
                      <a:pt x="2" y="210"/>
                    </a:lnTo>
                    <a:lnTo>
                      <a:pt x="0" y="226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58"/>
                    </a:lnTo>
                    <a:lnTo>
                      <a:pt x="4" y="276"/>
                    </a:lnTo>
                    <a:lnTo>
                      <a:pt x="8" y="290"/>
                    </a:lnTo>
                    <a:lnTo>
                      <a:pt x="12" y="306"/>
                    </a:lnTo>
                    <a:lnTo>
                      <a:pt x="20" y="320"/>
                    </a:lnTo>
                    <a:lnTo>
                      <a:pt x="28" y="334"/>
                    </a:lnTo>
                    <a:lnTo>
                      <a:pt x="38" y="346"/>
                    </a:lnTo>
                    <a:lnTo>
                      <a:pt x="48" y="358"/>
                    </a:lnTo>
                    <a:lnTo>
                      <a:pt x="60" y="368"/>
                    </a:lnTo>
                    <a:lnTo>
                      <a:pt x="72" y="378"/>
                    </a:lnTo>
                    <a:lnTo>
                      <a:pt x="86" y="386"/>
                    </a:lnTo>
                    <a:lnTo>
                      <a:pt x="100" y="394"/>
                    </a:lnTo>
                    <a:lnTo>
                      <a:pt x="116" y="398"/>
                    </a:lnTo>
                    <a:lnTo>
                      <a:pt x="130" y="402"/>
                    </a:lnTo>
                    <a:lnTo>
                      <a:pt x="148" y="406"/>
                    </a:lnTo>
                    <a:lnTo>
                      <a:pt x="164" y="406"/>
                    </a:lnTo>
                    <a:lnTo>
                      <a:pt x="164" y="406"/>
                    </a:lnTo>
                    <a:lnTo>
                      <a:pt x="180" y="406"/>
                    </a:lnTo>
                    <a:lnTo>
                      <a:pt x="198" y="402"/>
                    </a:lnTo>
                    <a:lnTo>
                      <a:pt x="212" y="398"/>
                    </a:lnTo>
                    <a:lnTo>
                      <a:pt x="228" y="394"/>
                    </a:lnTo>
                    <a:lnTo>
                      <a:pt x="242" y="386"/>
                    </a:lnTo>
                    <a:lnTo>
                      <a:pt x="256" y="378"/>
                    </a:lnTo>
                    <a:lnTo>
                      <a:pt x="268" y="368"/>
                    </a:lnTo>
                    <a:lnTo>
                      <a:pt x="280" y="358"/>
                    </a:lnTo>
                    <a:lnTo>
                      <a:pt x="290" y="346"/>
                    </a:lnTo>
                    <a:lnTo>
                      <a:pt x="300" y="334"/>
                    </a:lnTo>
                    <a:lnTo>
                      <a:pt x="308" y="320"/>
                    </a:lnTo>
                    <a:lnTo>
                      <a:pt x="316" y="306"/>
                    </a:lnTo>
                    <a:lnTo>
                      <a:pt x="320" y="290"/>
                    </a:lnTo>
                    <a:lnTo>
                      <a:pt x="324" y="276"/>
                    </a:lnTo>
                    <a:lnTo>
                      <a:pt x="328" y="258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26" y="216"/>
                    </a:lnTo>
                    <a:lnTo>
                      <a:pt x="320" y="190"/>
                    </a:lnTo>
                    <a:lnTo>
                      <a:pt x="310" y="166"/>
                    </a:lnTo>
                    <a:lnTo>
                      <a:pt x="296" y="144"/>
                    </a:lnTo>
                    <a:lnTo>
                      <a:pt x="296" y="144"/>
                    </a:lnTo>
                    <a:close/>
                    <a:moveTo>
                      <a:pt x="164" y="390"/>
                    </a:moveTo>
                    <a:lnTo>
                      <a:pt x="164" y="390"/>
                    </a:lnTo>
                    <a:lnTo>
                      <a:pt x="148" y="390"/>
                    </a:lnTo>
                    <a:lnTo>
                      <a:pt x="134" y="388"/>
                    </a:lnTo>
                    <a:lnTo>
                      <a:pt x="120" y="384"/>
                    </a:lnTo>
                    <a:lnTo>
                      <a:pt x="106" y="378"/>
                    </a:lnTo>
                    <a:lnTo>
                      <a:pt x="94" y="372"/>
                    </a:lnTo>
                    <a:lnTo>
                      <a:pt x="82" y="364"/>
                    </a:lnTo>
                    <a:lnTo>
                      <a:pt x="70" y="356"/>
                    </a:lnTo>
                    <a:lnTo>
                      <a:pt x="60" y="346"/>
                    </a:lnTo>
                    <a:lnTo>
                      <a:pt x="50" y="336"/>
                    </a:lnTo>
                    <a:lnTo>
                      <a:pt x="42" y="324"/>
                    </a:lnTo>
                    <a:lnTo>
                      <a:pt x="34" y="312"/>
                    </a:lnTo>
                    <a:lnTo>
                      <a:pt x="28" y="300"/>
                    </a:lnTo>
                    <a:lnTo>
                      <a:pt x="22" y="286"/>
                    </a:lnTo>
                    <a:lnTo>
                      <a:pt x="18" y="272"/>
                    </a:lnTo>
                    <a:lnTo>
                      <a:pt x="16" y="258"/>
                    </a:lnTo>
                    <a:lnTo>
                      <a:pt x="16" y="242"/>
                    </a:lnTo>
                    <a:lnTo>
                      <a:pt x="16" y="242"/>
                    </a:lnTo>
                    <a:lnTo>
                      <a:pt x="16" y="228"/>
                    </a:lnTo>
                    <a:lnTo>
                      <a:pt x="18" y="212"/>
                    </a:lnTo>
                    <a:lnTo>
                      <a:pt x="22" y="198"/>
                    </a:lnTo>
                    <a:lnTo>
                      <a:pt x="28" y="184"/>
                    </a:lnTo>
                    <a:lnTo>
                      <a:pt x="34" y="172"/>
                    </a:lnTo>
                    <a:lnTo>
                      <a:pt x="42" y="160"/>
                    </a:lnTo>
                    <a:lnTo>
                      <a:pt x="50" y="148"/>
                    </a:lnTo>
                    <a:lnTo>
                      <a:pt x="60" y="138"/>
                    </a:lnTo>
                    <a:lnTo>
                      <a:pt x="70" y="128"/>
                    </a:lnTo>
                    <a:lnTo>
                      <a:pt x="82" y="120"/>
                    </a:lnTo>
                    <a:lnTo>
                      <a:pt x="94" y="112"/>
                    </a:lnTo>
                    <a:lnTo>
                      <a:pt x="106" y="106"/>
                    </a:lnTo>
                    <a:lnTo>
                      <a:pt x="120" y="100"/>
                    </a:lnTo>
                    <a:lnTo>
                      <a:pt x="134" y="98"/>
                    </a:lnTo>
                    <a:lnTo>
                      <a:pt x="148" y="94"/>
                    </a:lnTo>
                    <a:lnTo>
                      <a:pt x="164" y="94"/>
                    </a:lnTo>
                    <a:lnTo>
                      <a:pt x="164" y="94"/>
                    </a:lnTo>
                    <a:lnTo>
                      <a:pt x="188" y="96"/>
                    </a:lnTo>
                    <a:lnTo>
                      <a:pt x="212" y="102"/>
                    </a:lnTo>
                    <a:lnTo>
                      <a:pt x="232" y="112"/>
                    </a:lnTo>
                    <a:lnTo>
                      <a:pt x="252" y="124"/>
                    </a:lnTo>
                    <a:lnTo>
                      <a:pt x="252" y="124"/>
                    </a:lnTo>
                    <a:lnTo>
                      <a:pt x="268" y="138"/>
                    </a:lnTo>
                    <a:lnTo>
                      <a:pt x="282" y="154"/>
                    </a:lnTo>
                    <a:lnTo>
                      <a:pt x="282" y="154"/>
                    </a:lnTo>
                    <a:lnTo>
                      <a:pt x="282" y="154"/>
                    </a:lnTo>
                    <a:lnTo>
                      <a:pt x="294" y="174"/>
                    </a:lnTo>
                    <a:lnTo>
                      <a:pt x="304" y="194"/>
                    </a:lnTo>
                    <a:lnTo>
                      <a:pt x="310" y="218"/>
                    </a:lnTo>
                    <a:lnTo>
                      <a:pt x="312" y="242"/>
                    </a:lnTo>
                    <a:lnTo>
                      <a:pt x="312" y="242"/>
                    </a:lnTo>
                    <a:lnTo>
                      <a:pt x="312" y="258"/>
                    </a:lnTo>
                    <a:lnTo>
                      <a:pt x="310" y="272"/>
                    </a:lnTo>
                    <a:lnTo>
                      <a:pt x="306" y="286"/>
                    </a:lnTo>
                    <a:lnTo>
                      <a:pt x="300" y="300"/>
                    </a:lnTo>
                    <a:lnTo>
                      <a:pt x="294" y="312"/>
                    </a:lnTo>
                    <a:lnTo>
                      <a:pt x="286" y="324"/>
                    </a:lnTo>
                    <a:lnTo>
                      <a:pt x="278" y="336"/>
                    </a:lnTo>
                    <a:lnTo>
                      <a:pt x="268" y="346"/>
                    </a:lnTo>
                    <a:lnTo>
                      <a:pt x="258" y="356"/>
                    </a:lnTo>
                    <a:lnTo>
                      <a:pt x="246" y="364"/>
                    </a:lnTo>
                    <a:lnTo>
                      <a:pt x="234" y="372"/>
                    </a:lnTo>
                    <a:lnTo>
                      <a:pt x="222" y="378"/>
                    </a:lnTo>
                    <a:lnTo>
                      <a:pt x="208" y="384"/>
                    </a:lnTo>
                    <a:lnTo>
                      <a:pt x="194" y="388"/>
                    </a:lnTo>
                    <a:lnTo>
                      <a:pt x="180" y="390"/>
                    </a:lnTo>
                    <a:lnTo>
                      <a:pt x="164" y="390"/>
                    </a:lnTo>
                    <a:lnTo>
                      <a:pt x="164" y="390"/>
                    </a:lnTo>
                    <a:close/>
                    <a:moveTo>
                      <a:pt x="134" y="42"/>
                    </a:move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8"/>
                    </a:lnTo>
                    <a:lnTo>
                      <a:pt x="136" y="4"/>
                    </a:lnTo>
                    <a:lnTo>
                      <a:pt x="140" y="2"/>
                    </a:lnTo>
                    <a:lnTo>
                      <a:pt x="144" y="0"/>
                    </a:lnTo>
                    <a:lnTo>
                      <a:pt x="184" y="0"/>
                    </a:lnTo>
                    <a:lnTo>
                      <a:pt x="184" y="0"/>
                    </a:lnTo>
                    <a:lnTo>
                      <a:pt x="188" y="2"/>
                    </a:lnTo>
                    <a:lnTo>
                      <a:pt x="192" y="4"/>
                    </a:lnTo>
                    <a:lnTo>
                      <a:pt x="194" y="8"/>
                    </a:lnTo>
                    <a:lnTo>
                      <a:pt x="194" y="10"/>
                    </a:lnTo>
                    <a:lnTo>
                      <a:pt x="194" y="42"/>
                    </a:lnTo>
                    <a:lnTo>
                      <a:pt x="194" y="42"/>
                    </a:lnTo>
                    <a:lnTo>
                      <a:pt x="194" y="44"/>
                    </a:lnTo>
                    <a:lnTo>
                      <a:pt x="192" y="48"/>
                    </a:lnTo>
                    <a:lnTo>
                      <a:pt x="188" y="50"/>
                    </a:lnTo>
                    <a:lnTo>
                      <a:pt x="184" y="52"/>
                    </a:lnTo>
                    <a:lnTo>
                      <a:pt x="144" y="52"/>
                    </a:lnTo>
                    <a:lnTo>
                      <a:pt x="144" y="52"/>
                    </a:lnTo>
                    <a:lnTo>
                      <a:pt x="140" y="50"/>
                    </a:lnTo>
                    <a:lnTo>
                      <a:pt x="136" y="48"/>
                    </a:lnTo>
                    <a:lnTo>
                      <a:pt x="134" y="44"/>
                    </a:lnTo>
                    <a:lnTo>
                      <a:pt x="134" y="42"/>
                    </a:lnTo>
                    <a:lnTo>
                      <a:pt x="134" y="42"/>
                    </a:lnTo>
                    <a:close/>
                    <a:moveTo>
                      <a:pt x="176" y="242"/>
                    </a:moveTo>
                    <a:lnTo>
                      <a:pt x="176" y="242"/>
                    </a:lnTo>
                    <a:lnTo>
                      <a:pt x="174" y="246"/>
                    </a:lnTo>
                    <a:lnTo>
                      <a:pt x="172" y="250"/>
                    </a:lnTo>
                    <a:lnTo>
                      <a:pt x="168" y="254"/>
                    </a:lnTo>
                    <a:lnTo>
                      <a:pt x="164" y="254"/>
                    </a:lnTo>
                    <a:lnTo>
                      <a:pt x="164" y="254"/>
                    </a:lnTo>
                    <a:lnTo>
                      <a:pt x="160" y="254"/>
                    </a:lnTo>
                    <a:lnTo>
                      <a:pt x="156" y="250"/>
                    </a:lnTo>
                    <a:lnTo>
                      <a:pt x="154" y="246"/>
                    </a:lnTo>
                    <a:lnTo>
                      <a:pt x="152" y="242"/>
                    </a:lnTo>
                    <a:lnTo>
                      <a:pt x="152" y="242"/>
                    </a:lnTo>
                    <a:lnTo>
                      <a:pt x="154" y="238"/>
                    </a:lnTo>
                    <a:lnTo>
                      <a:pt x="156" y="234"/>
                    </a:lnTo>
                    <a:lnTo>
                      <a:pt x="160" y="232"/>
                    </a:lnTo>
                    <a:lnTo>
                      <a:pt x="164" y="230"/>
                    </a:lnTo>
                    <a:lnTo>
                      <a:pt x="164" y="230"/>
                    </a:lnTo>
                    <a:lnTo>
                      <a:pt x="168" y="232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6" y="242"/>
                    </a:lnTo>
                    <a:lnTo>
                      <a:pt x="176" y="242"/>
                    </a:lnTo>
                    <a:close/>
                    <a:moveTo>
                      <a:pt x="272" y="250"/>
                    </a:moveTo>
                    <a:lnTo>
                      <a:pt x="272" y="250"/>
                    </a:lnTo>
                    <a:lnTo>
                      <a:pt x="268" y="250"/>
                    </a:lnTo>
                    <a:lnTo>
                      <a:pt x="266" y="248"/>
                    </a:lnTo>
                    <a:lnTo>
                      <a:pt x="264" y="246"/>
                    </a:lnTo>
                    <a:lnTo>
                      <a:pt x="264" y="242"/>
                    </a:lnTo>
                    <a:lnTo>
                      <a:pt x="264" y="242"/>
                    </a:lnTo>
                    <a:lnTo>
                      <a:pt x="264" y="240"/>
                    </a:lnTo>
                    <a:lnTo>
                      <a:pt x="266" y="236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92" y="234"/>
                    </a:lnTo>
                    <a:lnTo>
                      <a:pt x="292" y="234"/>
                    </a:lnTo>
                    <a:lnTo>
                      <a:pt x="290" y="222"/>
                    </a:lnTo>
                    <a:lnTo>
                      <a:pt x="288" y="210"/>
                    </a:lnTo>
                    <a:lnTo>
                      <a:pt x="280" y="186"/>
                    </a:lnTo>
                    <a:lnTo>
                      <a:pt x="268" y="166"/>
                    </a:lnTo>
                    <a:lnTo>
                      <a:pt x="252" y="148"/>
                    </a:lnTo>
                    <a:lnTo>
                      <a:pt x="234" y="134"/>
                    </a:lnTo>
                    <a:lnTo>
                      <a:pt x="212" y="122"/>
                    </a:lnTo>
                    <a:lnTo>
                      <a:pt x="188" y="116"/>
                    </a:lnTo>
                    <a:lnTo>
                      <a:pt x="176" y="114"/>
                    </a:lnTo>
                    <a:lnTo>
                      <a:pt x="164" y="114"/>
                    </a:lnTo>
                    <a:lnTo>
                      <a:pt x="164" y="114"/>
                    </a:lnTo>
                    <a:lnTo>
                      <a:pt x="152" y="114"/>
                    </a:lnTo>
                    <a:lnTo>
                      <a:pt x="140" y="116"/>
                    </a:lnTo>
                    <a:lnTo>
                      <a:pt x="116" y="122"/>
                    </a:lnTo>
                    <a:lnTo>
                      <a:pt x="94" y="134"/>
                    </a:lnTo>
                    <a:lnTo>
                      <a:pt x="76" y="148"/>
                    </a:lnTo>
                    <a:lnTo>
                      <a:pt x="60" y="166"/>
                    </a:lnTo>
                    <a:lnTo>
                      <a:pt x="48" y="186"/>
                    </a:lnTo>
                    <a:lnTo>
                      <a:pt x="40" y="210"/>
                    </a:lnTo>
                    <a:lnTo>
                      <a:pt x="38" y="222"/>
                    </a:lnTo>
                    <a:lnTo>
                      <a:pt x="36" y="234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2" y="236"/>
                    </a:lnTo>
                    <a:lnTo>
                      <a:pt x="64" y="240"/>
                    </a:lnTo>
                    <a:lnTo>
                      <a:pt x="64" y="242"/>
                    </a:lnTo>
                    <a:lnTo>
                      <a:pt x="64" y="242"/>
                    </a:lnTo>
                    <a:lnTo>
                      <a:pt x="64" y="246"/>
                    </a:lnTo>
                    <a:lnTo>
                      <a:pt x="62" y="248"/>
                    </a:lnTo>
                    <a:lnTo>
                      <a:pt x="60" y="250"/>
                    </a:lnTo>
                    <a:lnTo>
                      <a:pt x="56" y="250"/>
                    </a:lnTo>
                    <a:lnTo>
                      <a:pt x="36" y="250"/>
                    </a:lnTo>
                    <a:lnTo>
                      <a:pt x="36" y="250"/>
                    </a:lnTo>
                    <a:lnTo>
                      <a:pt x="40" y="274"/>
                    </a:lnTo>
                    <a:lnTo>
                      <a:pt x="48" y="296"/>
                    </a:lnTo>
                    <a:lnTo>
                      <a:pt x="58" y="316"/>
                    </a:lnTo>
                    <a:lnTo>
                      <a:pt x="74" y="334"/>
                    </a:lnTo>
                    <a:lnTo>
                      <a:pt x="90" y="348"/>
                    </a:lnTo>
                    <a:lnTo>
                      <a:pt x="110" y="360"/>
                    </a:lnTo>
                    <a:lnTo>
                      <a:pt x="132" y="366"/>
                    </a:lnTo>
                    <a:lnTo>
                      <a:pt x="156" y="370"/>
                    </a:lnTo>
                    <a:lnTo>
                      <a:pt x="156" y="350"/>
                    </a:lnTo>
                    <a:lnTo>
                      <a:pt x="156" y="350"/>
                    </a:lnTo>
                    <a:lnTo>
                      <a:pt x="156" y="346"/>
                    </a:lnTo>
                    <a:lnTo>
                      <a:pt x="158" y="344"/>
                    </a:lnTo>
                    <a:lnTo>
                      <a:pt x="160" y="342"/>
                    </a:lnTo>
                    <a:lnTo>
                      <a:pt x="164" y="342"/>
                    </a:lnTo>
                    <a:lnTo>
                      <a:pt x="164" y="342"/>
                    </a:lnTo>
                    <a:lnTo>
                      <a:pt x="168" y="342"/>
                    </a:lnTo>
                    <a:lnTo>
                      <a:pt x="170" y="344"/>
                    </a:lnTo>
                    <a:lnTo>
                      <a:pt x="172" y="346"/>
                    </a:lnTo>
                    <a:lnTo>
                      <a:pt x="172" y="350"/>
                    </a:lnTo>
                    <a:lnTo>
                      <a:pt x="172" y="370"/>
                    </a:lnTo>
                    <a:lnTo>
                      <a:pt x="172" y="370"/>
                    </a:lnTo>
                    <a:lnTo>
                      <a:pt x="196" y="366"/>
                    </a:lnTo>
                    <a:lnTo>
                      <a:pt x="218" y="360"/>
                    </a:lnTo>
                    <a:lnTo>
                      <a:pt x="238" y="348"/>
                    </a:lnTo>
                    <a:lnTo>
                      <a:pt x="254" y="334"/>
                    </a:lnTo>
                    <a:lnTo>
                      <a:pt x="270" y="316"/>
                    </a:lnTo>
                    <a:lnTo>
                      <a:pt x="280" y="296"/>
                    </a:lnTo>
                    <a:lnTo>
                      <a:pt x="288" y="274"/>
                    </a:lnTo>
                    <a:lnTo>
                      <a:pt x="292" y="250"/>
                    </a:lnTo>
                    <a:lnTo>
                      <a:pt x="272" y="250"/>
                    </a:lnTo>
                    <a:close/>
                    <a:moveTo>
                      <a:pt x="158" y="156"/>
                    </a:moveTo>
                    <a:lnTo>
                      <a:pt x="200" y="134"/>
                    </a:lnTo>
                    <a:lnTo>
                      <a:pt x="178" y="176"/>
                    </a:lnTo>
                    <a:lnTo>
                      <a:pt x="178" y="176"/>
                    </a:lnTo>
                    <a:lnTo>
                      <a:pt x="176" y="178"/>
                    </a:lnTo>
                    <a:lnTo>
                      <a:pt x="172" y="182"/>
                    </a:lnTo>
                    <a:lnTo>
                      <a:pt x="168" y="184"/>
                    </a:lnTo>
                    <a:lnTo>
                      <a:pt x="164" y="184"/>
                    </a:lnTo>
                    <a:lnTo>
                      <a:pt x="164" y="184"/>
                    </a:lnTo>
                    <a:lnTo>
                      <a:pt x="158" y="184"/>
                    </a:lnTo>
                    <a:lnTo>
                      <a:pt x="154" y="180"/>
                    </a:lnTo>
                    <a:lnTo>
                      <a:pt x="150" y="176"/>
                    </a:lnTo>
                    <a:lnTo>
                      <a:pt x="150" y="170"/>
                    </a:lnTo>
                    <a:lnTo>
                      <a:pt x="150" y="170"/>
                    </a:lnTo>
                    <a:lnTo>
                      <a:pt x="150" y="166"/>
                    </a:lnTo>
                    <a:lnTo>
                      <a:pt x="152" y="162"/>
                    </a:lnTo>
                    <a:lnTo>
                      <a:pt x="158" y="156"/>
                    </a:lnTo>
                    <a:lnTo>
                      <a:pt x="158" y="156"/>
                    </a:lnTo>
                    <a:close/>
                    <a:moveTo>
                      <a:pt x="244" y="322"/>
                    </a:moveTo>
                    <a:lnTo>
                      <a:pt x="244" y="322"/>
                    </a:lnTo>
                    <a:lnTo>
                      <a:pt x="242" y="324"/>
                    </a:lnTo>
                    <a:lnTo>
                      <a:pt x="240" y="326"/>
                    </a:lnTo>
                    <a:lnTo>
                      <a:pt x="240" y="326"/>
                    </a:lnTo>
                    <a:lnTo>
                      <a:pt x="236" y="324"/>
                    </a:lnTo>
                    <a:lnTo>
                      <a:pt x="234" y="322"/>
                    </a:lnTo>
                    <a:lnTo>
                      <a:pt x="178" y="266"/>
                    </a:lnTo>
                    <a:lnTo>
                      <a:pt x="178" y="266"/>
                    </a:lnTo>
                    <a:lnTo>
                      <a:pt x="170" y="270"/>
                    </a:lnTo>
                    <a:lnTo>
                      <a:pt x="164" y="270"/>
                    </a:lnTo>
                    <a:lnTo>
                      <a:pt x="164" y="270"/>
                    </a:lnTo>
                    <a:lnTo>
                      <a:pt x="156" y="270"/>
                    </a:lnTo>
                    <a:lnTo>
                      <a:pt x="150" y="266"/>
                    </a:lnTo>
                    <a:lnTo>
                      <a:pt x="150" y="266"/>
                    </a:lnTo>
                    <a:lnTo>
                      <a:pt x="142" y="260"/>
                    </a:lnTo>
                    <a:lnTo>
                      <a:pt x="138" y="250"/>
                    </a:lnTo>
                    <a:lnTo>
                      <a:pt x="136" y="240"/>
                    </a:lnTo>
                    <a:lnTo>
                      <a:pt x="140" y="230"/>
                    </a:lnTo>
                    <a:lnTo>
                      <a:pt x="132" y="220"/>
                    </a:lnTo>
                    <a:lnTo>
                      <a:pt x="132" y="220"/>
                    </a:lnTo>
                    <a:lnTo>
                      <a:pt x="130" y="218"/>
                    </a:lnTo>
                    <a:lnTo>
                      <a:pt x="128" y="214"/>
                    </a:lnTo>
                    <a:lnTo>
                      <a:pt x="130" y="212"/>
                    </a:lnTo>
                    <a:lnTo>
                      <a:pt x="132" y="210"/>
                    </a:lnTo>
                    <a:lnTo>
                      <a:pt x="132" y="210"/>
                    </a:lnTo>
                    <a:lnTo>
                      <a:pt x="134" y="208"/>
                    </a:lnTo>
                    <a:lnTo>
                      <a:pt x="136" y="206"/>
                    </a:lnTo>
                    <a:lnTo>
                      <a:pt x="140" y="208"/>
                    </a:lnTo>
                    <a:lnTo>
                      <a:pt x="142" y="210"/>
                    </a:lnTo>
                    <a:lnTo>
                      <a:pt x="150" y="218"/>
                    </a:lnTo>
                    <a:lnTo>
                      <a:pt x="150" y="218"/>
                    </a:lnTo>
                    <a:lnTo>
                      <a:pt x="158" y="216"/>
                    </a:lnTo>
                    <a:lnTo>
                      <a:pt x="164" y="214"/>
                    </a:lnTo>
                    <a:lnTo>
                      <a:pt x="164" y="214"/>
                    </a:lnTo>
                    <a:lnTo>
                      <a:pt x="172" y="216"/>
                    </a:lnTo>
                    <a:lnTo>
                      <a:pt x="178" y="218"/>
                    </a:lnTo>
                    <a:lnTo>
                      <a:pt x="178" y="218"/>
                    </a:lnTo>
                    <a:lnTo>
                      <a:pt x="186" y="226"/>
                    </a:lnTo>
                    <a:lnTo>
                      <a:pt x="190" y="234"/>
                    </a:lnTo>
                    <a:lnTo>
                      <a:pt x="192" y="244"/>
                    </a:lnTo>
                    <a:lnTo>
                      <a:pt x="188" y="256"/>
                    </a:lnTo>
                    <a:lnTo>
                      <a:pt x="244" y="312"/>
                    </a:lnTo>
                    <a:lnTo>
                      <a:pt x="244" y="312"/>
                    </a:lnTo>
                    <a:lnTo>
                      <a:pt x="246" y="314"/>
                    </a:lnTo>
                    <a:lnTo>
                      <a:pt x="248" y="318"/>
                    </a:lnTo>
                    <a:lnTo>
                      <a:pt x="246" y="320"/>
                    </a:lnTo>
                    <a:lnTo>
                      <a:pt x="244" y="322"/>
                    </a:lnTo>
                    <a:lnTo>
                      <a:pt x="244" y="322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8283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600" b="0" i="0" u="none" strike="noStrike" kern="1200" cap="none" spc="0" normalizeH="0" baseline="0" noProof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12" name="Group 11"/>
              <p:cNvGrpSpPr/>
              <p:nvPr/>
            </p:nvGrpSpPr>
            <p:grpSpPr>
              <a:xfrm>
                <a:off x="10353994" y="5400983"/>
                <a:ext cx="1256513" cy="1220908"/>
                <a:chOff x="9454562" y="3909811"/>
                <a:chExt cx="392112" cy="381001"/>
              </a:xfrm>
              <a:solidFill>
                <a:srgbClr val="FF0000"/>
              </a:solidFill>
            </p:grpSpPr>
            <p:sp>
              <p:nvSpPr>
                <p:cNvPr id="15" name="Freeform 437"/>
                <p:cNvSpPr>
                  <a:spLocks/>
                </p:cNvSpPr>
                <p:nvPr/>
              </p:nvSpPr>
              <p:spPr bwMode="auto">
                <a:xfrm>
                  <a:off x="9527587" y="3909811"/>
                  <a:ext cx="44450" cy="79375"/>
                </a:xfrm>
                <a:custGeom>
                  <a:avLst/>
                  <a:gdLst>
                    <a:gd name="T0" fmla="*/ 24 w 140"/>
                    <a:gd name="T1" fmla="*/ 249 h 249"/>
                    <a:gd name="T2" fmla="*/ 115 w 140"/>
                    <a:gd name="T3" fmla="*/ 249 h 249"/>
                    <a:gd name="T4" fmla="*/ 115 w 140"/>
                    <a:gd name="T5" fmla="*/ 249 h 249"/>
                    <a:gd name="T6" fmla="*/ 121 w 140"/>
                    <a:gd name="T7" fmla="*/ 249 h 249"/>
                    <a:gd name="T8" fmla="*/ 125 w 140"/>
                    <a:gd name="T9" fmla="*/ 247 h 249"/>
                    <a:gd name="T10" fmla="*/ 129 w 140"/>
                    <a:gd name="T11" fmla="*/ 245 h 249"/>
                    <a:gd name="T12" fmla="*/ 133 w 140"/>
                    <a:gd name="T13" fmla="*/ 242 h 249"/>
                    <a:gd name="T14" fmla="*/ 136 w 140"/>
                    <a:gd name="T15" fmla="*/ 238 h 249"/>
                    <a:gd name="T16" fmla="*/ 138 w 140"/>
                    <a:gd name="T17" fmla="*/ 234 h 249"/>
                    <a:gd name="T18" fmla="*/ 140 w 140"/>
                    <a:gd name="T19" fmla="*/ 230 h 249"/>
                    <a:gd name="T20" fmla="*/ 140 w 140"/>
                    <a:gd name="T21" fmla="*/ 224 h 249"/>
                    <a:gd name="T22" fmla="*/ 140 w 140"/>
                    <a:gd name="T23" fmla="*/ 25 h 249"/>
                    <a:gd name="T24" fmla="*/ 140 w 140"/>
                    <a:gd name="T25" fmla="*/ 25 h 249"/>
                    <a:gd name="T26" fmla="*/ 140 w 140"/>
                    <a:gd name="T27" fmla="*/ 19 h 249"/>
                    <a:gd name="T28" fmla="*/ 138 w 140"/>
                    <a:gd name="T29" fmla="*/ 15 h 249"/>
                    <a:gd name="T30" fmla="*/ 136 w 140"/>
                    <a:gd name="T31" fmla="*/ 11 h 249"/>
                    <a:gd name="T32" fmla="*/ 133 w 140"/>
                    <a:gd name="T33" fmla="*/ 7 h 249"/>
                    <a:gd name="T34" fmla="*/ 129 w 140"/>
                    <a:gd name="T35" fmla="*/ 4 h 249"/>
                    <a:gd name="T36" fmla="*/ 125 w 140"/>
                    <a:gd name="T37" fmla="*/ 2 h 249"/>
                    <a:gd name="T38" fmla="*/ 121 w 140"/>
                    <a:gd name="T39" fmla="*/ 0 h 249"/>
                    <a:gd name="T40" fmla="*/ 115 w 140"/>
                    <a:gd name="T41" fmla="*/ 0 h 249"/>
                    <a:gd name="T42" fmla="*/ 24 w 140"/>
                    <a:gd name="T43" fmla="*/ 0 h 249"/>
                    <a:gd name="T44" fmla="*/ 24 w 140"/>
                    <a:gd name="T45" fmla="*/ 0 h 249"/>
                    <a:gd name="T46" fmla="*/ 20 w 140"/>
                    <a:gd name="T47" fmla="*/ 0 h 249"/>
                    <a:gd name="T48" fmla="*/ 16 w 140"/>
                    <a:gd name="T49" fmla="*/ 2 h 249"/>
                    <a:gd name="T50" fmla="*/ 11 w 140"/>
                    <a:gd name="T51" fmla="*/ 4 h 249"/>
                    <a:gd name="T52" fmla="*/ 7 w 140"/>
                    <a:gd name="T53" fmla="*/ 7 h 249"/>
                    <a:gd name="T54" fmla="*/ 4 w 140"/>
                    <a:gd name="T55" fmla="*/ 11 h 249"/>
                    <a:gd name="T56" fmla="*/ 1 w 140"/>
                    <a:gd name="T57" fmla="*/ 15 h 249"/>
                    <a:gd name="T58" fmla="*/ 0 w 140"/>
                    <a:gd name="T59" fmla="*/ 19 h 249"/>
                    <a:gd name="T60" fmla="*/ 0 w 140"/>
                    <a:gd name="T61" fmla="*/ 25 h 249"/>
                    <a:gd name="T62" fmla="*/ 0 w 140"/>
                    <a:gd name="T63" fmla="*/ 224 h 249"/>
                    <a:gd name="T64" fmla="*/ 0 w 140"/>
                    <a:gd name="T65" fmla="*/ 224 h 249"/>
                    <a:gd name="T66" fmla="*/ 0 w 140"/>
                    <a:gd name="T67" fmla="*/ 230 h 249"/>
                    <a:gd name="T68" fmla="*/ 1 w 140"/>
                    <a:gd name="T69" fmla="*/ 234 h 249"/>
                    <a:gd name="T70" fmla="*/ 4 w 140"/>
                    <a:gd name="T71" fmla="*/ 238 h 249"/>
                    <a:gd name="T72" fmla="*/ 7 w 140"/>
                    <a:gd name="T73" fmla="*/ 242 h 249"/>
                    <a:gd name="T74" fmla="*/ 11 w 140"/>
                    <a:gd name="T75" fmla="*/ 245 h 249"/>
                    <a:gd name="T76" fmla="*/ 16 w 140"/>
                    <a:gd name="T77" fmla="*/ 247 h 249"/>
                    <a:gd name="T78" fmla="*/ 20 w 140"/>
                    <a:gd name="T79" fmla="*/ 249 h 249"/>
                    <a:gd name="T80" fmla="*/ 24 w 140"/>
                    <a:gd name="T81" fmla="*/ 249 h 249"/>
                    <a:gd name="T82" fmla="*/ 24 w 140"/>
                    <a:gd name="T8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40" h="249">
                      <a:moveTo>
                        <a:pt x="24" y="249"/>
                      </a:moveTo>
                      <a:lnTo>
                        <a:pt x="115" y="249"/>
                      </a:lnTo>
                      <a:lnTo>
                        <a:pt x="115" y="249"/>
                      </a:lnTo>
                      <a:lnTo>
                        <a:pt x="121" y="249"/>
                      </a:lnTo>
                      <a:lnTo>
                        <a:pt x="125" y="247"/>
                      </a:lnTo>
                      <a:lnTo>
                        <a:pt x="129" y="245"/>
                      </a:lnTo>
                      <a:lnTo>
                        <a:pt x="133" y="242"/>
                      </a:lnTo>
                      <a:lnTo>
                        <a:pt x="136" y="238"/>
                      </a:lnTo>
                      <a:lnTo>
                        <a:pt x="138" y="234"/>
                      </a:lnTo>
                      <a:lnTo>
                        <a:pt x="140" y="230"/>
                      </a:lnTo>
                      <a:lnTo>
                        <a:pt x="140" y="224"/>
                      </a:lnTo>
                      <a:lnTo>
                        <a:pt x="140" y="25"/>
                      </a:lnTo>
                      <a:lnTo>
                        <a:pt x="140" y="25"/>
                      </a:lnTo>
                      <a:lnTo>
                        <a:pt x="140" y="19"/>
                      </a:lnTo>
                      <a:lnTo>
                        <a:pt x="138" y="15"/>
                      </a:lnTo>
                      <a:lnTo>
                        <a:pt x="136" y="11"/>
                      </a:lnTo>
                      <a:lnTo>
                        <a:pt x="133" y="7"/>
                      </a:lnTo>
                      <a:lnTo>
                        <a:pt x="129" y="4"/>
                      </a:lnTo>
                      <a:lnTo>
                        <a:pt x="125" y="2"/>
                      </a:lnTo>
                      <a:lnTo>
                        <a:pt x="121" y="0"/>
                      </a:lnTo>
                      <a:lnTo>
                        <a:pt x="115" y="0"/>
                      </a:lnTo>
                      <a:lnTo>
                        <a:pt x="24" y="0"/>
                      </a:lnTo>
                      <a:lnTo>
                        <a:pt x="24" y="0"/>
                      </a:lnTo>
                      <a:lnTo>
                        <a:pt x="20" y="0"/>
                      </a:lnTo>
                      <a:lnTo>
                        <a:pt x="16" y="2"/>
                      </a:lnTo>
                      <a:lnTo>
                        <a:pt x="11" y="4"/>
                      </a:lnTo>
                      <a:lnTo>
                        <a:pt x="7" y="7"/>
                      </a:lnTo>
                      <a:lnTo>
                        <a:pt x="4" y="11"/>
                      </a:lnTo>
                      <a:lnTo>
                        <a:pt x="1" y="15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0" y="224"/>
                      </a:lnTo>
                      <a:lnTo>
                        <a:pt x="0" y="224"/>
                      </a:lnTo>
                      <a:lnTo>
                        <a:pt x="0" y="230"/>
                      </a:lnTo>
                      <a:lnTo>
                        <a:pt x="1" y="234"/>
                      </a:lnTo>
                      <a:lnTo>
                        <a:pt x="4" y="238"/>
                      </a:lnTo>
                      <a:lnTo>
                        <a:pt x="7" y="242"/>
                      </a:lnTo>
                      <a:lnTo>
                        <a:pt x="11" y="245"/>
                      </a:lnTo>
                      <a:lnTo>
                        <a:pt x="16" y="247"/>
                      </a:lnTo>
                      <a:lnTo>
                        <a:pt x="20" y="249"/>
                      </a:lnTo>
                      <a:lnTo>
                        <a:pt x="24" y="249"/>
                      </a:lnTo>
                      <a:lnTo>
                        <a:pt x="24" y="2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7119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71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" name="Freeform 438"/>
                <p:cNvSpPr>
                  <a:spLocks/>
                </p:cNvSpPr>
                <p:nvPr/>
              </p:nvSpPr>
              <p:spPr bwMode="auto">
                <a:xfrm>
                  <a:off x="9730787" y="3909811"/>
                  <a:ext cx="44450" cy="79375"/>
                </a:xfrm>
                <a:custGeom>
                  <a:avLst/>
                  <a:gdLst>
                    <a:gd name="T0" fmla="*/ 25 w 141"/>
                    <a:gd name="T1" fmla="*/ 249 h 249"/>
                    <a:gd name="T2" fmla="*/ 116 w 141"/>
                    <a:gd name="T3" fmla="*/ 249 h 249"/>
                    <a:gd name="T4" fmla="*/ 116 w 141"/>
                    <a:gd name="T5" fmla="*/ 249 h 249"/>
                    <a:gd name="T6" fmla="*/ 121 w 141"/>
                    <a:gd name="T7" fmla="*/ 249 h 249"/>
                    <a:gd name="T8" fmla="*/ 126 w 141"/>
                    <a:gd name="T9" fmla="*/ 247 h 249"/>
                    <a:gd name="T10" fmla="*/ 130 w 141"/>
                    <a:gd name="T11" fmla="*/ 245 h 249"/>
                    <a:gd name="T12" fmla="*/ 133 w 141"/>
                    <a:gd name="T13" fmla="*/ 242 h 249"/>
                    <a:gd name="T14" fmla="*/ 137 w 141"/>
                    <a:gd name="T15" fmla="*/ 238 h 249"/>
                    <a:gd name="T16" fmla="*/ 139 w 141"/>
                    <a:gd name="T17" fmla="*/ 234 h 249"/>
                    <a:gd name="T18" fmla="*/ 140 w 141"/>
                    <a:gd name="T19" fmla="*/ 230 h 249"/>
                    <a:gd name="T20" fmla="*/ 141 w 141"/>
                    <a:gd name="T21" fmla="*/ 224 h 249"/>
                    <a:gd name="T22" fmla="*/ 141 w 141"/>
                    <a:gd name="T23" fmla="*/ 25 h 249"/>
                    <a:gd name="T24" fmla="*/ 141 w 141"/>
                    <a:gd name="T25" fmla="*/ 25 h 249"/>
                    <a:gd name="T26" fmla="*/ 140 w 141"/>
                    <a:gd name="T27" fmla="*/ 19 h 249"/>
                    <a:gd name="T28" fmla="*/ 139 w 141"/>
                    <a:gd name="T29" fmla="*/ 15 h 249"/>
                    <a:gd name="T30" fmla="*/ 137 w 141"/>
                    <a:gd name="T31" fmla="*/ 11 h 249"/>
                    <a:gd name="T32" fmla="*/ 133 w 141"/>
                    <a:gd name="T33" fmla="*/ 7 h 249"/>
                    <a:gd name="T34" fmla="*/ 130 w 141"/>
                    <a:gd name="T35" fmla="*/ 4 h 249"/>
                    <a:gd name="T36" fmla="*/ 126 w 141"/>
                    <a:gd name="T37" fmla="*/ 2 h 249"/>
                    <a:gd name="T38" fmla="*/ 121 w 141"/>
                    <a:gd name="T39" fmla="*/ 0 h 249"/>
                    <a:gd name="T40" fmla="*/ 116 w 141"/>
                    <a:gd name="T41" fmla="*/ 0 h 249"/>
                    <a:gd name="T42" fmla="*/ 25 w 141"/>
                    <a:gd name="T43" fmla="*/ 0 h 249"/>
                    <a:gd name="T44" fmla="*/ 25 w 141"/>
                    <a:gd name="T45" fmla="*/ 0 h 249"/>
                    <a:gd name="T46" fmla="*/ 21 w 141"/>
                    <a:gd name="T47" fmla="*/ 0 h 249"/>
                    <a:gd name="T48" fmla="*/ 15 w 141"/>
                    <a:gd name="T49" fmla="*/ 2 h 249"/>
                    <a:gd name="T50" fmla="*/ 11 w 141"/>
                    <a:gd name="T51" fmla="*/ 4 h 249"/>
                    <a:gd name="T52" fmla="*/ 8 w 141"/>
                    <a:gd name="T53" fmla="*/ 7 h 249"/>
                    <a:gd name="T54" fmla="*/ 4 w 141"/>
                    <a:gd name="T55" fmla="*/ 11 h 249"/>
                    <a:gd name="T56" fmla="*/ 2 w 141"/>
                    <a:gd name="T57" fmla="*/ 15 h 249"/>
                    <a:gd name="T58" fmla="*/ 1 w 141"/>
                    <a:gd name="T59" fmla="*/ 19 h 249"/>
                    <a:gd name="T60" fmla="*/ 0 w 141"/>
                    <a:gd name="T61" fmla="*/ 25 h 249"/>
                    <a:gd name="T62" fmla="*/ 0 w 141"/>
                    <a:gd name="T63" fmla="*/ 224 h 249"/>
                    <a:gd name="T64" fmla="*/ 0 w 141"/>
                    <a:gd name="T65" fmla="*/ 224 h 249"/>
                    <a:gd name="T66" fmla="*/ 1 w 141"/>
                    <a:gd name="T67" fmla="*/ 230 h 249"/>
                    <a:gd name="T68" fmla="*/ 2 w 141"/>
                    <a:gd name="T69" fmla="*/ 234 h 249"/>
                    <a:gd name="T70" fmla="*/ 4 w 141"/>
                    <a:gd name="T71" fmla="*/ 238 h 249"/>
                    <a:gd name="T72" fmla="*/ 8 w 141"/>
                    <a:gd name="T73" fmla="*/ 242 h 249"/>
                    <a:gd name="T74" fmla="*/ 11 w 141"/>
                    <a:gd name="T75" fmla="*/ 245 h 249"/>
                    <a:gd name="T76" fmla="*/ 15 w 141"/>
                    <a:gd name="T77" fmla="*/ 247 h 249"/>
                    <a:gd name="T78" fmla="*/ 21 w 141"/>
                    <a:gd name="T79" fmla="*/ 249 h 249"/>
                    <a:gd name="T80" fmla="*/ 25 w 141"/>
                    <a:gd name="T81" fmla="*/ 249 h 249"/>
                    <a:gd name="T82" fmla="*/ 25 w 141"/>
                    <a:gd name="T83" fmla="*/ 249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41" h="249">
                      <a:moveTo>
                        <a:pt x="25" y="249"/>
                      </a:moveTo>
                      <a:lnTo>
                        <a:pt x="116" y="249"/>
                      </a:lnTo>
                      <a:lnTo>
                        <a:pt x="116" y="249"/>
                      </a:lnTo>
                      <a:lnTo>
                        <a:pt x="121" y="249"/>
                      </a:lnTo>
                      <a:lnTo>
                        <a:pt x="126" y="247"/>
                      </a:lnTo>
                      <a:lnTo>
                        <a:pt x="130" y="245"/>
                      </a:lnTo>
                      <a:lnTo>
                        <a:pt x="133" y="242"/>
                      </a:lnTo>
                      <a:lnTo>
                        <a:pt x="137" y="238"/>
                      </a:lnTo>
                      <a:lnTo>
                        <a:pt x="139" y="234"/>
                      </a:lnTo>
                      <a:lnTo>
                        <a:pt x="140" y="230"/>
                      </a:lnTo>
                      <a:lnTo>
                        <a:pt x="141" y="224"/>
                      </a:lnTo>
                      <a:lnTo>
                        <a:pt x="141" y="25"/>
                      </a:lnTo>
                      <a:lnTo>
                        <a:pt x="141" y="25"/>
                      </a:lnTo>
                      <a:lnTo>
                        <a:pt x="140" y="19"/>
                      </a:lnTo>
                      <a:lnTo>
                        <a:pt x="139" y="15"/>
                      </a:lnTo>
                      <a:lnTo>
                        <a:pt x="137" y="11"/>
                      </a:lnTo>
                      <a:lnTo>
                        <a:pt x="133" y="7"/>
                      </a:lnTo>
                      <a:lnTo>
                        <a:pt x="130" y="4"/>
                      </a:lnTo>
                      <a:lnTo>
                        <a:pt x="126" y="2"/>
                      </a:lnTo>
                      <a:lnTo>
                        <a:pt x="121" y="0"/>
                      </a:lnTo>
                      <a:lnTo>
                        <a:pt x="116" y="0"/>
                      </a:lnTo>
                      <a:lnTo>
                        <a:pt x="25" y="0"/>
                      </a:lnTo>
                      <a:lnTo>
                        <a:pt x="25" y="0"/>
                      </a:lnTo>
                      <a:lnTo>
                        <a:pt x="21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8" y="7"/>
                      </a:lnTo>
                      <a:lnTo>
                        <a:pt x="4" y="11"/>
                      </a:lnTo>
                      <a:lnTo>
                        <a:pt x="2" y="15"/>
                      </a:lnTo>
                      <a:lnTo>
                        <a:pt x="1" y="19"/>
                      </a:lnTo>
                      <a:lnTo>
                        <a:pt x="0" y="25"/>
                      </a:lnTo>
                      <a:lnTo>
                        <a:pt x="0" y="224"/>
                      </a:lnTo>
                      <a:lnTo>
                        <a:pt x="0" y="224"/>
                      </a:lnTo>
                      <a:lnTo>
                        <a:pt x="1" y="230"/>
                      </a:lnTo>
                      <a:lnTo>
                        <a:pt x="2" y="234"/>
                      </a:lnTo>
                      <a:lnTo>
                        <a:pt x="4" y="238"/>
                      </a:lnTo>
                      <a:lnTo>
                        <a:pt x="8" y="242"/>
                      </a:lnTo>
                      <a:lnTo>
                        <a:pt x="11" y="245"/>
                      </a:lnTo>
                      <a:lnTo>
                        <a:pt x="15" y="247"/>
                      </a:lnTo>
                      <a:lnTo>
                        <a:pt x="21" y="249"/>
                      </a:lnTo>
                      <a:lnTo>
                        <a:pt x="25" y="249"/>
                      </a:lnTo>
                      <a:lnTo>
                        <a:pt x="25" y="249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7119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71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" name="Freeform 439"/>
                <p:cNvSpPr>
                  <a:spLocks noEditPoints="1"/>
                </p:cNvSpPr>
                <p:nvPr/>
              </p:nvSpPr>
              <p:spPr bwMode="auto">
                <a:xfrm>
                  <a:off x="9454562" y="3939974"/>
                  <a:ext cx="392112" cy="350838"/>
                </a:xfrm>
                <a:custGeom>
                  <a:avLst/>
                  <a:gdLst>
                    <a:gd name="T0" fmla="*/ 1058 w 1235"/>
                    <a:gd name="T1" fmla="*/ 129 h 1105"/>
                    <a:gd name="T2" fmla="*/ 1057 w 1235"/>
                    <a:gd name="T3" fmla="*/ 145 h 1105"/>
                    <a:gd name="T4" fmla="*/ 1049 w 1235"/>
                    <a:gd name="T5" fmla="*/ 165 h 1105"/>
                    <a:gd name="T6" fmla="*/ 1036 w 1235"/>
                    <a:gd name="T7" fmla="*/ 182 h 1105"/>
                    <a:gd name="T8" fmla="*/ 1019 w 1235"/>
                    <a:gd name="T9" fmla="*/ 195 h 1105"/>
                    <a:gd name="T10" fmla="*/ 998 w 1235"/>
                    <a:gd name="T11" fmla="*/ 203 h 1105"/>
                    <a:gd name="T12" fmla="*/ 892 w 1235"/>
                    <a:gd name="T13" fmla="*/ 205 h 1105"/>
                    <a:gd name="T14" fmla="*/ 877 w 1235"/>
                    <a:gd name="T15" fmla="*/ 203 h 1105"/>
                    <a:gd name="T16" fmla="*/ 856 w 1235"/>
                    <a:gd name="T17" fmla="*/ 195 h 1105"/>
                    <a:gd name="T18" fmla="*/ 839 w 1235"/>
                    <a:gd name="T19" fmla="*/ 182 h 1105"/>
                    <a:gd name="T20" fmla="*/ 826 w 1235"/>
                    <a:gd name="T21" fmla="*/ 165 h 1105"/>
                    <a:gd name="T22" fmla="*/ 818 w 1235"/>
                    <a:gd name="T23" fmla="*/ 145 h 1105"/>
                    <a:gd name="T24" fmla="*/ 817 w 1235"/>
                    <a:gd name="T25" fmla="*/ 0 h 1105"/>
                    <a:gd name="T26" fmla="*/ 418 w 1235"/>
                    <a:gd name="T27" fmla="*/ 129 h 1105"/>
                    <a:gd name="T28" fmla="*/ 414 w 1235"/>
                    <a:gd name="T29" fmla="*/ 152 h 1105"/>
                    <a:gd name="T30" fmla="*/ 405 w 1235"/>
                    <a:gd name="T31" fmla="*/ 172 h 1105"/>
                    <a:gd name="T32" fmla="*/ 390 w 1235"/>
                    <a:gd name="T33" fmla="*/ 188 h 1105"/>
                    <a:gd name="T34" fmla="*/ 372 w 1235"/>
                    <a:gd name="T35" fmla="*/ 199 h 1105"/>
                    <a:gd name="T36" fmla="*/ 350 w 1235"/>
                    <a:gd name="T37" fmla="*/ 204 h 1105"/>
                    <a:gd name="T38" fmla="*/ 251 w 1235"/>
                    <a:gd name="T39" fmla="*/ 205 h 1105"/>
                    <a:gd name="T40" fmla="*/ 230 w 1235"/>
                    <a:gd name="T41" fmla="*/ 201 h 1105"/>
                    <a:gd name="T42" fmla="*/ 210 w 1235"/>
                    <a:gd name="T43" fmla="*/ 192 h 1105"/>
                    <a:gd name="T44" fmla="*/ 194 w 1235"/>
                    <a:gd name="T45" fmla="*/ 177 h 1105"/>
                    <a:gd name="T46" fmla="*/ 183 w 1235"/>
                    <a:gd name="T47" fmla="*/ 159 h 1105"/>
                    <a:gd name="T48" fmla="*/ 176 w 1235"/>
                    <a:gd name="T49" fmla="*/ 137 h 1105"/>
                    <a:gd name="T50" fmla="*/ 144 w 1235"/>
                    <a:gd name="T51" fmla="*/ 0 h 1105"/>
                    <a:gd name="T52" fmla="*/ 116 w 1235"/>
                    <a:gd name="T53" fmla="*/ 4 h 1105"/>
                    <a:gd name="T54" fmla="*/ 76 w 1235"/>
                    <a:gd name="T55" fmla="*/ 18 h 1105"/>
                    <a:gd name="T56" fmla="*/ 42 w 1235"/>
                    <a:gd name="T57" fmla="*/ 43 h 1105"/>
                    <a:gd name="T58" fmla="*/ 17 w 1235"/>
                    <a:gd name="T59" fmla="*/ 76 h 1105"/>
                    <a:gd name="T60" fmla="*/ 3 w 1235"/>
                    <a:gd name="T61" fmla="*/ 116 h 1105"/>
                    <a:gd name="T62" fmla="*/ 0 w 1235"/>
                    <a:gd name="T63" fmla="*/ 413 h 1105"/>
                    <a:gd name="T64" fmla="*/ 1 w 1235"/>
                    <a:gd name="T65" fmla="*/ 975 h 1105"/>
                    <a:gd name="T66" fmla="*/ 12 w 1235"/>
                    <a:gd name="T67" fmla="*/ 1016 h 1105"/>
                    <a:gd name="T68" fmla="*/ 33 w 1235"/>
                    <a:gd name="T69" fmla="*/ 1052 h 1105"/>
                    <a:gd name="T70" fmla="*/ 64 w 1235"/>
                    <a:gd name="T71" fmla="*/ 1080 h 1105"/>
                    <a:gd name="T72" fmla="*/ 102 w 1235"/>
                    <a:gd name="T73" fmla="*/ 1099 h 1105"/>
                    <a:gd name="T74" fmla="*/ 144 w 1235"/>
                    <a:gd name="T75" fmla="*/ 1105 h 1105"/>
                    <a:gd name="T76" fmla="*/ 1104 w 1235"/>
                    <a:gd name="T77" fmla="*/ 1104 h 1105"/>
                    <a:gd name="T78" fmla="*/ 1147 w 1235"/>
                    <a:gd name="T79" fmla="*/ 1093 h 1105"/>
                    <a:gd name="T80" fmla="*/ 1183 w 1235"/>
                    <a:gd name="T81" fmla="*/ 1072 h 1105"/>
                    <a:gd name="T82" fmla="*/ 1210 w 1235"/>
                    <a:gd name="T83" fmla="*/ 1041 h 1105"/>
                    <a:gd name="T84" fmla="*/ 1228 w 1235"/>
                    <a:gd name="T85" fmla="*/ 1003 h 1105"/>
                    <a:gd name="T86" fmla="*/ 1235 w 1235"/>
                    <a:gd name="T87" fmla="*/ 960 h 1105"/>
                    <a:gd name="T88" fmla="*/ 1235 w 1235"/>
                    <a:gd name="T89" fmla="*/ 146 h 1105"/>
                    <a:gd name="T90" fmla="*/ 1228 w 1235"/>
                    <a:gd name="T91" fmla="*/ 102 h 1105"/>
                    <a:gd name="T92" fmla="*/ 1210 w 1235"/>
                    <a:gd name="T93" fmla="*/ 64 h 1105"/>
                    <a:gd name="T94" fmla="*/ 1183 w 1235"/>
                    <a:gd name="T95" fmla="*/ 34 h 1105"/>
                    <a:gd name="T96" fmla="*/ 1147 w 1235"/>
                    <a:gd name="T97" fmla="*/ 12 h 1105"/>
                    <a:gd name="T98" fmla="*/ 1104 w 1235"/>
                    <a:gd name="T99" fmla="*/ 1 h 1105"/>
                    <a:gd name="T100" fmla="*/ 1144 w 1235"/>
                    <a:gd name="T101" fmla="*/ 960 h 1105"/>
                    <a:gd name="T102" fmla="*/ 1139 w 1235"/>
                    <a:gd name="T103" fmla="*/ 980 h 1105"/>
                    <a:gd name="T104" fmla="*/ 1120 w 1235"/>
                    <a:gd name="T105" fmla="*/ 1004 h 1105"/>
                    <a:gd name="T106" fmla="*/ 1090 w 1235"/>
                    <a:gd name="T107" fmla="*/ 1013 h 1105"/>
                    <a:gd name="T108" fmla="*/ 134 w 1235"/>
                    <a:gd name="T109" fmla="*/ 1012 h 1105"/>
                    <a:gd name="T110" fmla="*/ 107 w 1235"/>
                    <a:gd name="T111" fmla="*/ 998 h 1105"/>
                    <a:gd name="T112" fmla="*/ 92 w 1235"/>
                    <a:gd name="T113" fmla="*/ 971 h 1105"/>
                    <a:gd name="T114" fmla="*/ 1144 w 1235"/>
                    <a:gd name="T115" fmla="*/ 413 h 1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1235" h="1105">
                      <a:moveTo>
                        <a:pt x="1090" y="0"/>
                      </a:moveTo>
                      <a:lnTo>
                        <a:pt x="1058" y="0"/>
                      </a:lnTo>
                      <a:lnTo>
                        <a:pt x="1058" y="129"/>
                      </a:lnTo>
                      <a:lnTo>
                        <a:pt x="1058" y="129"/>
                      </a:lnTo>
                      <a:lnTo>
                        <a:pt x="1058" y="137"/>
                      </a:lnTo>
                      <a:lnTo>
                        <a:pt x="1057" y="145"/>
                      </a:lnTo>
                      <a:lnTo>
                        <a:pt x="1055" y="152"/>
                      </a:lnTo>
                      <a:lnTo>
                        <a:pt x="1052" y="159"/>
                      </a:lnTo>
                      <a:lnTo>
                        <a:pt x="1049" y="165"/>
                      </a:lnTo>
                      <a:lnTo>
                        <a:pt x="1045" y="172"/>
                      </a:lnTo>
                      <a:lnTo>
                        <a:pt x="1041" y="177"/>
                      </a:lnTo>
                      <a:lnTo>
                        <a:pt x="1036" y="182"/>
                      </a:lnTo>
                      <a:lnTo>
                        <a:pt x="1031" y="188"/>
                      </a:lnTo>
                      <a:lnTo>
                        <a:pt x="1025" y="192"/>
                      </a:lnTo>
                      <a:lnTo>
                        <a:pt x="1019" y="195"/>
                      </a:lnTo>
                      <a:lnTo>
                        <a:pt x="1012" y="199"/>
                      </a:lnTo>
                      <a:lnTo>
                        <a:pt x="1006" y="201"/>
                      </a:lnTo>
                      <a:lnTo>
                        <a:pt x="998" y="203"/>
                      </a:lnTo>
                      <a:lnTo>
                        <a:pt x="991" y="204"/>
                      </a:lnTo>
                      <a:lnTo>
                        <a:pt x="983" y="205"/>
                      </a:lnTo>
                      <a:lnTo>
                        <a:pt x="892" y="205"/>
                      </a:lnTo>
                      <a:lnTo>
                        <a:pt x="892" y="205"/>
                      </a:lnTo>
                      <a:lnTo>
                        <a:pt x="884" y="204"/>
                      </a:lnTo>
                      <a:lnTo>
                        <a:pt x="877" y="203"/>
                      </a:lnTo>
                      <a:lnTo>
                        <a:pt x="870" y="201"/>
                      </a:lnTo>
                      <a:lnTo>
                        <a:pt x="863" y="199"/>
                      </a:lnTo>
                      <a:lnTo>
                        <a:pt x="856" y="195"/>
                      </a:lnTo>
                      <a:lnTo>
                        <a:pt x="850" y="192"/>
                      </a:lnTo>
                      <a:lnTo>
                        <a:pt x="844" y="188"/>
                      </a:lnTo>
                      <a:lnTo>
                        <a:pt x="839" y="182"/>
                      </a:lnTo>
                      <a:lnTo>
                        <a:pt x="835" y="177"/>
                      </a:lnTo>
                      <a:lnTo>
                        <a:pt x="830" y="172"/>
                      </a:lnTo>
                      <a:lnTo>
                        <a:pt x="826" y="165"/>
                      </a:lnTo>
                      <a:lnTo>
                        <a:pt x="823" y="159"/>
                      </a:lnTo>
                      <a:lnTo>
                        <a:pt x="820" y="152"/>
                      </a:lnTo>
                      <a:lnTo>
                        <a:pt x="818" y="145"/>
                      </a:lnTo>
                      <a:lnTo>
                        <a:pt x="817" y="137"/>
                      </a:lnTo>
                      <a:lnTo>
                        <a:pt x="817" y="129"/>
                      </a:lnTo>
                      <a:lnTo>
                        <a:pt x="817" y="0"/>
                      </a:lnTo>
                      <a:lnTo>
                        <a:pt x="418" y="0"/>
                      </a:lnTo>
                      <a:lnTo>
                        <a:pt x="418" y="129"/>
                      </a:lnTo>
                      <a:lnTo>
                        <a:pt x="418" y="129"/>
                      </a:lnTo>
                      <a:lnTo>
                        <a:pt x="417" y="137"/>
                      </a:lnTo>
                      <a:lnTo>
                        <a:pt x="416" y="145"/>
                      </a:lnTo>
                      <a:lnTo>
                        <a:pt x="414" y="152"/>
                      </a:lnTo>
                      <a:lnTo>
                        <a:pt x="412" y="159"/>
                      </a:lnTo>
                      <a:lnTo>
                        <a:pt x="408" y="165"/>
                      </a:lnTo>
                      <a:lnTo>
                        <a:pt x="405" y="172"/>
                      </a:lnTo>
                      <a:lnTo>
                        <a:pt x="401" y="177"/>
                      </a:lnTo>
                      <a:lnTo>
                        <a:pt x="395" y="182"/>
                      </a:lnTo>
                      <a:lnTo>
                        <a:pt x="390" y="188"/>
                      </a:lnTo>
                      <a:lnTo>
                        <a:pt x="385" y="192"/>
                      </a:lnTo>
                      <a:lnTo>
                        <a:pt x="378" y="195"/>
                      </a:lnTo>
                      <a:lnTo>
                        <a:pt x="372" y="199"/>
                      </a:lnTo>
                      <a:lnTo>
                        <a:pt x="365" y="201"/>
                      </a:lnTo>
                      <a:lnTo>
                        <a:pt x="357" y="203"/>
                      </a:lnTo>
                      <a:lnTo>
                        <a:pt x="350" y="204"/>
                      </a:lnTo>
                      <a:lnTo>
                        <a:pt x="342" y="205"/>
                      </a:lnTo>
                      <a:lnTo>
                        <a:pt x="251" y="205"/>
                      </a:lnTo>
                      <a:lnTo>
                        <a:pt x="251" y="205"/>
                      </a:lnTo>
                      <a:lnTo>
                        <a:pt x="244" y="204"/>
                      </a:lnTo>
                      <a:lnTo>
                        <a:pt x="236" y="203"/>
                      </a:lnTo>
                      <a:lnTo>
                        <a:pt x="230" y="201"/>
                      </a:lnTo>
                      <a:lnTo>
                        <a:pt x="222" y="199"/>
                      </a:lnTo>
                      <a:lnTo>
                        <a:pt x="215" y="195"/>
                      </a:lnTo>
                      <a:lnTo>
                        <a:pt x="210" y="192"/>
                      </a:lnTo>
                      <a:lnTo>
                        <a:pt x="203" y="188"/>
                      </a:lnTo>
                      <a:lnTo>
                        <a:pt x="198" y="182"/>
                      </a:lnTo>
                      <a:lnTo>
                        <a:pt x="194" y="177"/>
                      </a:lnTo>
                      <a:lnTo>
                        <a:pt x="189" y="172"/>
                      </a:lnTo>
                      <a:lnTo>
                        <a:pt x="185" y="165"/>
                      </a:lnTo>
                      <a:lnTo>
                        <a:pt x="183" y="159"/>
                      </a:lnTo>
                      <a:lnTo>
                        <a:pt x="180" y="152"/>
                      </a:lnTo>
                      <a:lnTo>
                        <a:pt x="177" y="145"/>
                      </a:lnTo>
                      <a:lnTo>
                        <a:pt x="176" y="137"/>
                      </a:lnTo>
                      <a:lnTo>
                        <a:pt x="176" y="129"/>
                      </a:lnTo>
                      <a:lnTo>
                        <a:pt x="176" y="0"/>
                      </a:lnTo>
                      <a:lnTo>
                        <a:pt x="144" y="0"/>
                      </a:lnTo>
                      <a:lnTo>
                        <a:pt x="144" y="0"/>
                      </a:lnTo>
                      <a:lnTo>
                        <a:pt x="130" y="1"/>
                      </a:lnTo>
                      <a:lnTo>
                        <a:pt x="116" y="4"/>
                      </a:lnTo>
                      <a:lnTo>
                        <a:pt x="102" y="7"/>
                      </a:lnTo>
                      <a:lnTo>
                        <a:pt x="89" y="12"/>
                      </a:lnTo>
                      <a:lnTo>
                        <a:pt x="76" y="18"/>
                      </a:lnTo>
                      <a:lnTo>
                        <a:pt x="64" y="25"/>
                      </a:lnTo>
                      <a:lnTo>
                        <a:pt x="53" y="34"/>
                      </a:lnTo>
                      <a:lnTo>
                        <a:pt x="42" y="43"/>
                      </a:lnTo>
                      <a:lnTo>
                        <a:pt x="33" y="53"/>
                      </a:lnTo>
                      <a:lnTo>
                        <a:pt x="25" y="64"/>
                      </a:lnTo>
                      <a:lnTo>
                        <a:pt x="17" y="76"/>
                      </a:lnTo>
                      <a:lnTo>
                        <a:pt x="12" y="89"/>
                      </a:lnTo>
                      <a:lnTo>
                        <a:pt x="6" y="102"/>
                      </a:lnTo>
                      <a:lnTo>
                        <a:pt x="3" y="116"/>
                      </a:lnTo>
                      <a:lnTo>
                        <a:pt x="1" y="130"/>
                      </a:lnTo>
                      <a:lnTo>
                        <a:pt x="0" y="146"/>
                      </a:lnTo>
                      <a:lnTo>
                        <a:pt x="0" y="413"/>
                      </a:lnTo>
                      <a:lnTo>
                        <a:pt x="0" y="960"/>
                      </a:lnTo>
                      <a:lnTo>
                        <a:pt x="0" y="960"/>
                      </a:lnTo>
                      <a:lnTo>
                        <a:pt x="1" y="975"/>
                      </a:lnTo>
                      <a:lnTo>
                        <a:pt x="3" y="989"/>
                      </a:lnTo>
                      <a:lnTo>
                        <a:pt x="6" y="1003"/>
                      </a:lnTo>
                      <a:lnTo>
                        <a:pt x="12" y="1016"/>
                      </a:lnTo>
                      <a:lnTo>
                        <a:pt x="17" y="1029"/>
                      </a:lnTo>
                      <a:lnTo>
                        <a:pt x="25" y="1041"/>
                      </a:lnTo>
                      <a:lnTo>
                        <a:pt x="33" y="1052"/>
                      </a:lnTo>
                      <a:lnTo>
                        <a:pt x="42" y="1063"/>
                      </a:lnTo>
                      <a:lnTo>
                        <a:pt x="53" y="1072"/>
                      </a:lnTo>
                      <a:lnTo>
                        <a:pt x="64" y="1080"/>
                      </a:lnTo>
                      <a:lnTo>
                        <a:pt x="76" y="1088"/>
                      </a:lnTo>
                      <a:lnTo>
                        <a:pt x="89" y="1093"/>
                      </a:lnTo>
                      <a:lnTo>
                        <a:pt x="102" y="1099"/>
                      </a:lnTo>
                      <a:lnTo>
                        <a:pt x="116" y="1102"/>
                      </a:lnTo>
                      <a:lnTo>
                        <a:pt x="130" y="1104"/>
                      </a:lnTo>
                      <a:lnTo>
                        <a:pt x="144" y="1105"/>
                      </a:lnTo>
                      <a:lnTo>
                        <a:pt x="1090" y="1105"/>
                      </a:lnTo>
                      <a:lnTo>
                        <a:pt x="1090" y="1105"/>
                      </a:lnTo>
                      <a:lnTo>
                        <a:pt x="1104" y="1104"/>
                      </a:lnTo>
                      <a:lnTo>
                        <a:pt x="1120" y="1102"/>
                      </a:lnTo>
                      <a:lnTo>
                        <a:pt x="1134" y="1099"/>
                      </a:lnTo>
                      <a:lnTo>
                        <a:pt x="1147" y="1093"/>
                      </a:lnTo>
                      <a:lnTo>
                        <a:pt x="1159" y="1088"/>
                      </a:lnTo>
                      <a:lnTo>
                        <a:pt x="1171" y="1080"/>
                      </a:lnTo>
                      <a:lnTo>
                        <a:pt x="1183" y="1072"/>
                      </a:lnTo>
                      <a:lnTo>
                        <a:pt x="1192" y="1063"/>
                      </a:lnTo>
                      <a:lnTo>
                        <a:pt x="1202" y="1052"/>
                      </a:lnTo>
                      <a:lnTo>
                        <a:pt x="1210" y="1041"/>
                      </a:lnTo>
                      <a:lnTo>
                        <a:pt x="1217" y="1029"/>
                      </a:lnTo>
                      <a:lnTo>
                        <a:pt x="1224" y="1016"/>
                      </a:lnTo>
                      <a:lnTo>
                        <a:pt x="1228" y="1003"/>
                      </a:lnTo>
                      <a:lnTo>
                        <a:pt x="1232" y="989"/>
                      </a:lnTo>
                      <a:lnTo>
                        <a:pt x="1235" y="975"/>
                      </a:lnTo>
                      <a:lnTo>
                        <a:pt x="1235" y="960"/>
                      </a:lnTo>
                      <a:lnTo>
                        <a:pt x="1235" y="413"/>
                      </a:lnTo>
                      <a:lnTo>
                        <a:pt x="1235" y="146"/>
                      </a:lnTo>
                      <a:lnTo>
                        <a:pt x="1235" y="146"/>
                      </a:lnTo>
                      <a:lnTo>
                        <a:pt x="1235" y="130"/>
                      </a:lnTo>
                      <a:lnTo>
                        <a:pt x="1232" y="116"/>
                      </a:lnTo>
                      <a:lnTo>
                        <a:pt x="1228" y="102"/>
                      </a:lnTo>
                      <a:lnTo>
                        <a:pt x="1224" y="89"/>
                      </a:lnTo>
                      <a:lnTo>
                        <a:pt x="1217" y="76"/>
                      </a:lnTo>
                      <a:lnTo>
                        <a:pt x="1210" y="64"/>
                      </a:lnTo>
                      <a:lnTo>
                        <a:pt x="1202" y="53"/>
                      </a:lnTo>
                      <a:lnTo>
                        <a:pt x="1192" y="43"/>
                      </a:lnTo>
                      <a:lnTo>
                        <a:pt x="1183" y="34"/>
                      </a:lnTo>
                      <a:lnTo>
                        <a:pt x="1171" y="25"/>
                      </a:lnTo>
                      <a:lnTo>
                        <a:pt x="1159" y="18"/>
                      </a:lnTo>
                      <a:lnTo>
                        <a:pt x="1147" y="12"/>
                      </a:lnTo>
                      <a:lnTo>
                        <a:pt x="1134" y="7"/>
                      </a:lnTo>
                      <a:lnTo>
                        <a:pt x="1120" y="4"/>
                      </a:lnTo>
                      <a:lnTo>
                        <a:pt x="1104" y="1"/>
                      </a:lnTo>
                      <a:lnTo>
                        <a:pt x="1090" y="0"/>
                      </a:lnTo>
                      <a:lnTo>
                        <a:pt x="1090" y="0"/>
                      </a:lnTo>
                      <a:close/>
                      <a:moveTo>
                        <a:pt x="1144" y="960"/>
                      </a:moveTo>
                      <a:lnTo>
                        <a:pt x="1144" y="960"/>
                      </a:lnTo>
                      <a:lnTo>
                        <a:pt x="1142" y="971"/>
                      </a:lnTo>
                      <a:lnTo>
                        <a:pt x="1139" y="980"/>
                      </a:lnTo>
                      <a:lnTo>
                        <a:pt x="1134" y="990"/>
                      </a:lnTo>
                      <a:lnTo>
                        <a:pt x="1128" y="998"/>
                      </a:lnTo>
                      <a:lnTo>
                        <a:pt x="1120" y="1004"/>
                      </a:lnTo>
                      <a:lnTo>
                        <a:pt x="1111" y="1010"/>
                      </a:lnTo>
                      <a:lnTo>
                        <a:pt x="1101" y="1012"/>
                      </a:lnTo>
                      <a:lnTo>
                        <a:pt x="1090" y="1013"/>
                      </a:lnTo>
                      <a:lnTo>
                        <a:pt x="144" y="1013"/>
                      </a:lnTo>
                      <a:lnTo>
                        <a:pt x="144" y="1013"/>
                      </a:lnTo>
                      <a:lnTo>
                        <a:pt x="134" y="1012"/>
                      </a:lnTo>
                      <a:lnTo>
                        <a:pt x="123" y="1010"/>
                      </a:lnTo>
                      <a:lnTo>
                        <a:pt x="115" y="1004"/>
                      </a:lnTo>
                      <a:lnTo>
                        <a:pt x="107" y="998"/>
                      </a:lnTo>
                      <a:lnTo>
                        <a:pt x="100" y="990"/>
                      </a:lnTo>
                      <a:lnTo>
                        <a:pt x="95" y="980"/>
                      </a:lnTo>
                      <a:lnTo>
                        <a:pt x="92" y="971"/>
                      </a:lnTo>
                      <a:lnTo>
                        <a:pt x="91" y="960"/>
                      </a:lnTo>
                      <a:lnTo>
                        <a:pt x="91" y="413"/>
                      </a:lnTo>
                      <a:lnTo>
                        <a:pt x="1144" y="413"/>
                      </a:lnTo>
                      <a:lnTo>
                        <a:pt x="1144" y="96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87119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71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" name="Rectangle 20"/>
              <p:cNvSpPr/>
              <p:nvPr/>
            </p:nvSpPr>
            <p:spPr>
              <a:xfrm>
                <a:off x="9629636" y="6732903"/>
                <a:ext cx="2742447" cy="7075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C2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7 måneder</a:t>
                </a: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4125149" y="6732903"/>
                <a:ext cx="2742447" cy="7075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81C2C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7 sekunder</a:t>
                </a:r>
                <a:endPara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281C2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" name="Right Arrow 21"/>
              <p:cNvSpPr/>
              <p:nvPr/>
            </p:nvSpPr>
            <p:spPr>
              <a:xfrm>
                <a:off x="12458566" y="5262081"/>
                <a:ext cx="1820167" cy="1529233"/>
              </a:xfrm>
              <a:prstGeom prst="rightArrow">
                <a:avLst/>
              </a:prstGeom>
              <a:solidFill>
                <a:schemeClr val="bg1"/>
              </a:solidFill>
              <a:ln w="28575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8283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27" name="Rectangle 26"/>
            <p:cNvSpPr/>
            <p:nvPr/>
          </p:nvSpPr>
          <p:spPr>
            <a:xfrm>
              <a:off x="9204902" y="6653792"/>
              <a:ext cx="1025719" cy="56599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17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31744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260078" y="3960495"/>
            <a:ext cx="15130111" cy="6000750"/>
          </a:xfrm>
        </p:spPr>
        <p:txBody>
          <a:bodyPr>
            <a:normAutofit/>
          </a:bodyPr>
          <a:lstStyle/>
          <a:p>
            <a:r>
              <a:rPr lang="nb-NO" sz="6000" dirty="0">
                <a:hlinkClick r:id="rId3"/>
              </a:rPr>
              <a:t>https://ehelse.no/helsedataprogrammet</a:t>
            </a:r>
            <a:endParaRPr lang="nb-NO" sz="6000" dirty="0"/>
          </a:p>
          <a:p>
            <a:endParaRPr lang="nb-NO" sz="6000" dirty="0"/>
          </a:p>
        </p:txBody>
      </p:sp>
    </p:spTree>
    <p:extLst>
      <p:ext uri="{BB962C8B-B14F-4D97-AF65-F5344CB8AC3E}">
        <p14:creationId xmlns:p14="http://schemas.microsoft.com/office/powerpoint/2010/main" val="912120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kstSylinder 5"/>
          <p:cNvSpPr txBox="1"/>
          <p:nvPr/>
        </p:nvSpPr>
        <p:spPr>
          <a:xfrm>
            <a:off x="15386726" y="5382268"/>
            <a:ext cx="5271250" cy="2160000"/>
          </a:xfrm>
          <a:prstGeom prst="wedgeEllipseCallou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>
            <a:defPPr>
              <a:defRPr lang="nb-NO"/>
            </a:defPPr>
            <a:lvl1pPr algn="ctr" defTabSz="914400" fontAlgn="base">
              <a:spcBef>
                <a:spcPct val="0"/>
              </a:spcBef>
              <a:spcAft>
                <a:spcPct val="0"/>
              </a:spcAft>
              <a:defRPr sz="2800" i="1">
                <a:cs typeface="Arial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ordan kan jeg begrense hvem som ser mine data? </a:t>
            </a:r>
          </a:p>
        </p:txBody>
      </p:sp>
      <p:sp>
        <p:nvSpPr>
          <p:cNvPr id="25" name="TekstSylinder 6"/>
          <p:cNvSpPr txBox="1"/>
          <p:nvPr/>
        </p:nvSpPr>
        <p:spPr>
          <a:xfrm>
            <a:off x="15386726" y="2069967"/>
            <a:ext cx="5271250" cy="2160000"/>
          </a:xfrm>
          <a:prstGeom prst="wedgeEllipseCallou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>
            <a:defPPr>
              <a:defRPr lang="nb-NO"/>
            </a:defPPr>
            <a:lvl1pPr algn="ctr" defTabSz="914400" fontAlgn="base">
              <a:spcBef>
                <a:spcPct val="0"/>
              </a:spcBef>
              <a:spcAft>
                <a:spcPct val="0"/>
              </a:spcAft>
              <a:defRPr sz="2800" i="1">
                <a:cs typeface="Arial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a betyr disse helseopplysningene?</a:t>
            </a:r>
          </a:p>
        </p:txBody>
      </p:sp>
      <p:sp>
        <p:nvSpPr>
          <p:cNvPr id="26" name="TekstSylinder 7"/>
          <p:cNvSpPr txBox="1"/>
          <p:nvPr/>
        </p:nvSpPr>
        <p:spPr>
          <a:xfrm flipH="1">
            <a:off x="3664942" y="2069967"/>
            <a:ext cx="5143804" cy="2160000"/>
          </a:xfrm>
          <a:prstGeom prst="wedgeEllipseCallou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>
            <a:defPPr>
              <a:defRPr lang="nb-NO"/>
            </a:defPPr>
            <a:lvl1pPr algn="ctr" defTabSz="914400" fontAlgn="base">
              <a:spcBef>
                <a:spcPct val="0"/>
              </a:spcBef>
              <a:spcAft>
                <a:spcPct val="0"/>
              </a:spcAft>
              <a:defRPr sz="2800" i="1">
                <a:cs typeface="Arial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or er mine data?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3901" y="2465699"/>
            <a:ext cx="3074611" cy="8784603"/>
          </a:xfrm>
          <a:prstGeom prst="rect">
            <a:avLst/>
          </a:prstGeom>
        </p:spPr>
      </p:pic>
      <p:sp>
        <p:nvSpPr>
          <p:cNvPr id="38" name="TekstSylinder 7"/>
          <p:cNvSpPr txBox="1"/>
          <p:nvPr/>
        </p:nvSpPr>
        <p:spPr>
          <a:xfrm flipH="1">
            <a:off x="3664943" y="5382269"/>
            <a:ext cx="5271250" cy="2160000"/>
          </a:xfrm>
          <a:prstGeom prst="wedgeEllipseCallou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>
            <a:defPPr>
              <a:defRPr lang="nb-NO"/>
            </a:defPPr>
            <a:lvl1pPr algn="ctr" defTabSz="914400" fontAlgn="base">
              <a:spcBef>
                <a:spcPct val="0"/>
              </a:spcBef>
              <a:spcAft>
                <a:spcPct val="0"/>
              </a:spcAft>
              <a:defRPr sz="2800" i="1">
                <a:cs typeface="Arial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ordan kan jeg bidra til forskning på min sykdom?</a:t>
            </a:r>
          </a:p>
        </p:txBody>
      </p:sp>
      <p:sp>
        <p:nvSpPr>
          <p:cNvPr id="20" name="TekstSylinder 7"/>
          <p:cNvSpPr txBox="1"/>
          <p:nvPr/>
        </p:nvSpPr>
        <p:spPr>
          <a:xfrm>
            <a:off x="15560425" y="8694570"/>
            <a:ext cx="5271250" cy="2160000"/>
          </a:xfrm>
          <a:prstGeom prst="wedgeEllipseCallou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>
            <a:defPPr>
              <a:defRPr lang="nb-NO"/>
            </a:defPPr>
            <a:lvl1pPr algn="ctr" defTabSz="914400" fontAlgn="base">
              <a:spcBef>
                <a:spcPct val="0"/>
              </a:spcBef>
              <a:spcAft>
                <a:spcPct val="0"/>
              </a:spcAft>
              <a:defRPr sz="2800" i="1">
                <a:cs typeface="Arial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em kan se mine helseopplysninger?</a:t>
            </a:r>
          </a:p>
        </p:txBody>
      </p:sp>
      <p:sp>
        <p:nvSpPr>
          <p:cNvPr id="27" name="TekstSylinder 7"/>
          <p:cNvSpPr txBox="1"/>
          <p:nvPr/>
        </p:nvSpPr>
        <p:spPr>
          <a:xfrm flipH="1">
            <a:off x="3664943" y="8694570"/>
            <a:ext cx="5271250" cy="2160000"/>
          </a:xfrm>
          <a:prstGeom prst="wedgeEllipseCallou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108000" bIns="72000" rtlCol="0" anchor="ctr">
            <a:noAutofit/>
          </a:bodyPr>
          <a:lstStyle>
            <a:defPPr>
              <a:defRPr lang="nb-NO"/>
            </a:defPPr>
            <a:lvl1pPr algn="ctr" defTabSz="914400" fontAlgn="base">
              <a:spcBef>
                <a:spcPct val="0"/>
              </a:spcBef>
              <a:spcAft>
                <a:spcPct val="0"/>
              </a:spcAft>
              <a:defRPr sz="2800" i="1">
                <a:cs typeface="Arial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1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Hva betyr egentlig dette samtykket?</a:t>
            </a:r>
          </a:p>
        </p:txBody>
      </p:sp>
    </p:spTree>
    <p:extLst>
      <p:ext uri="{BB962C8B-B14F-4D97-AF65-F5344CB8AC3E}">
        <p14:creationId xmlns:p14="http://schemas.microsoft.com/office/powerpoint/2010/main" val="1854686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Rectangle 235"/>
          <p:cNvSpPr/>
          <p:nvPr/>
        </p:nvSpPr>
        <p:spPr>
          <a:xfrm>
            <a:off x="657235" y="11990432"/>
            <a:ext cx="6493194" cy="14158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itle 2"/>
          <p:cNvSpPr>
            <a:spLocks noGrp="1"/>
          </p:cNvSpPr>
          <p:nvPr>
            <p:ph type="title"/>
          </p:nvPr>
        </p:nvSpPr>
        <p:spPr>
          <a:xfrm>
            <a:off x="1592579" y="-238671"/>
            <a:ext cx="22159956" cy="1440180"/>
          </a:xfrm>
        </p:spPr>
        <p:txBody>
          <a:bodyPr/>
          <a:lstStyle/>
          <a:p>
            <a:r>
              <a:rPr lang="nb-NO" dirty="0">
                <a:solidFill>
                  <a:schemeClr val="tx1"/>
                </a:solidFill>
              </a:rPr>
              <a:t>Helsedatakilder med helseopplysninger på individnivå</a:t>
            </a:r>
          </a:p>
        </p:txBody>
      </p:sp>
      <p:sp>
        <p:nvSpPr>
          <p:cNvPr id="78" name="Left Brace 77"/>
          <p:cNvSpPr/>
          <p:nvPr/>
        </p:nvSpPr>
        <p:spPr>
          <a:xfrm>
            <a:off x="2373975" y="3972846"/>
            <a:ext cx="288000" cy="280609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2" name="Left Brace 91"/>
          <p:cNvSpPr/>
          <p:nvPr/>
        </p:nvSpPr>
        <p:spPr>
          <a:xfrm>
            <a:off x="2373975" y="1074320"/>
            <a:ext cx="288000" cy="133510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4" name="Left Brace 233"/>
          <p:cNvSpPr/>
          <p:nvPr/>
        </p:nvSpPr>
        <p:spPr>
          <a:xfrm>
            <a:off x="2373975" y="2659162"/>
            <a:ext cx="288000" cy="1063951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21525" y="657987"/>
            <a:ext cx="2079389" cy="11910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ient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journaler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ntrale 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se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registre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sjonale 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sinske kvalitetsregistre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re medisinske kvalitetsregistre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obanker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et</a:t>
            </a:r>
          </a:p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2" name="Left Brace 421"/>
          <p:cNvSpPr/>
          <p:nvPr/>
        </p:nvSpPr>
        <p:spPr>
          <a:xfrm>
            <a:off x="2373975" y="7028669"/>
            <a:ext cx="288000" cy="1547646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5" name="Left Brace 884"/>
          <p:cNvSpPr/>
          <p:nvPr/>
        </p:nvSpPr>
        <p:spPr>
          <a:xfrm>
            <a:off x="2373975" y="8826048"/>
            <a:ext cx="288000" cy="1652348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11" name="Left Brace 1510"/>
          <p:cNvSpPr/>
          <p:nvPr/>
        </p:nvSpPr>
        <p:spPr>
          <a:xfrm>
            <a:off x="2373975" y="10728127"/>
            <a:ext cx="288000" cy="2696683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4368" y="1063215"/>
            <a:ext cx="21721931" cy="12394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0870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/>
          <p:cNvSpPr/>
          <p:nvPr/>
        </p:nvSpPr>
        <p:spPr>
          <a:xfrm>
            <a:off x="13583539" y="7206814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esisjonsmedisin</a:t>
            </a:r>
            <a:endParaRPr lang="en-US" sz="2400" b="1" kern="1200" dirty="0">
              <a:solidFill>
                <a:schemeClr val="bg1"/>
              </a:solidFill>
            </a:endParaRPr>
          </a:p>
        </p:txBody>
      </p:sp>
      <p:sp>
        <p:nvSpPr>
          <p:cNvPr id="68" name="Freeform 67"/>
          <p:cNvSpPr/>
          <p:nvPr/>
        </p:nvSpPr>
        <p:spPr>
          <a:xfrm>
            <a:off x="14326003" y="7974341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forskning</a:t>
            </a:r>
            <a:endParaRPr lang="en-US" sz="2400" b="1" kern="1200">
              <a:solidFill>
                <a:schemeClr val="bg1"/>
              </a:solidFill>
            </a:endParaRPr>
          </a:p>
        </p:txBody>
      </p:sp>
      <p:sp>
        <p:nvSpPr>
          <p:cNvPr id="69" name="Freeform 68"/>
          <p:cNvSpPr/>
          <p:nvPr/>
        </p:nvSpPr>
        <p:spPr>
          <a:xfrm>
            <a:off x="15019458" y="8758188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lkehelse</a:t>
            </a:r>
            <a:endParaRPr lang="nb-NO" sz="2400" b="1" kern="12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1" name="Freeform 70"/>
          <p:cNvSpPr/>
          <p:nvPr/>
        </p:nvSpPr>
        <p:spPr>
          <a:xfrm>
            <a:off x="17099823" y="11109729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yring og økonomi</a:t>
            </a:r>
            <a:endParaRPr lang="nb-NO" sz="2400" b="1" kern="12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Freeform 71"/>
          <p:cNvSpPr/>
          <p:nvPr/>
        </p:nvSpPr>
        <p:spPr>
          <a:xfrm>
            <a:off x="15712913" y="9542035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atistikk</a:t>
            </a:r>
            <a:endParaRPr lang="nb-NO" sz="2400" b="1" kern="12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3" name="Freeform 72"/>
          <p:cNvSpPr/>
          <p:nvPr/>
        </p:nvSpPr>
        <p:spPr>
          <a:xfrm>
            <a:off x="16406368" y="10325882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gemiddelutvikling</a:t>
            </a:r>
            <a:endParaRPr lang="nb-NO" sz="2400" b="1" kern="12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" name="Freeform 73"/>
          <p:cNvSpPr/>
          <p:nvPr/>
        </p:nvSpPr>
        <p:spPr>
          <a:xfrm>
            <a:off x="17793276" y="11893576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 Innovasjon og næringsutvikling</a:t>
            </a:r>
          </a:p>
        </p:txBody>
      </p:sp>
      <p:sp>
        <p:nvSpPr>
          <p:cNvPr id="35" name="Freeform 34"/>
          <p:cNvSpPr/>
          <p:nvPr/>
        </p:nvSpPr>
        <p:spPr>
          <a:xfrm>
            <a:off x="12967581" y="6454884"/>
            <a:ext cx="5820885" cy="652021"/>
          </a:xfrm>
          <a:custGeom>
            <a:avLst/>
            <a:gdLst>
              <a:gd name="connsiteX0" fmla="*/ 0 w 5079669"/>
              <a:gd name="connsiteY0" fmla="*/ 0 h 3047801"/>
              <a:gd name="connsiteX1" fmla="*/ 5079669 w 5079669"/>
              <a:gd name="connsiteY1" fmla="*/ 0 h 3047801"/>
              <a:gd name="connsiteX2" fmla="*/ 5079669 w 5079669"/>
              <a:gd name="connsiteY2" fmla="*/ 3047801 h 3047801"/>
              <a:gd name="connsiteX3" fmla="*/ 0 w 5079669"/>
              <a:gd name="connsiteY3" fmla="*/ 3047801 h 3047801"/>
              <a:gd name="connsiteX4" fmla="*/ 0 w 5079669"/>
              <a:gd name="connsiteY4" fmla="*/ 0 h 304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79669" h="3047801">
                <a:moveTo>
                  <a:pt x="0" y="0"/>
                </a:moveTo>
                <a:lnTo>
                  <a:pt x="5079669" y="0"/>
                </a:lnTo>
                <a:lnTo>
                  <a:pt x="5079669" y="3047801"/>
                </a:lnTo>
                <a:lnTo>
                  <a:pt x="0" y="3047801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68000" tIns="160020" rIns="160020" bIns="160020" numCol="1" spcCol="1270" anchor="ctr" anchorCtr="0">
            <a:noAutofit/>
          </a:bodyPr>
          <a:lstStyle/>
          <a:p>
            <a:pPr lvl="0" defTabSz="1866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nb-NO" sz="2400" b="1" kern="12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behandling</a:t>
            </a:r>
            <a:endParaRPr lang="en-US" sz="2400" b="1" kern="1200" dirty="0">
              <a:solidFill>
                <a:schemeClr val="bg1"/>
              </a:solidFill>
            </a:endParaRPr>
          </a:p>
        </p:txBody>
      </p:sp>
      <p:sp>
        <p:nvSpPr>
          <p:cNvPr id="60" name="Trapezoid 59"/>
          <p:cNvSpPr/>
          <p:nvPr/>
        </p:nvSpPr>
        <p:spPr>
          <a:xfrm>
            <a:off x="855576" y="7727512"/>
            <a:ext cx="17632730" cy="4980782"/>
          </a:xfrm>
          <a:prstGeom prst="trapezoid">
            <a:avLst>
              <a:gd name="adj" fmla="val 88387"/>
            </a:avLst>
          </a:prstGeom>
          <a:solidFill>
            <a:schemeClr val="tx2"/>
          </a:solidFill>
          <a:ln w="6350"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1828635"/>
            <a:r>
              <a:rPr lang="nb-NO" sz="28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data for sekundærbruk</a:t>
            </a:r>
            <a:endParaRPr lang="nb-NO" sz="16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Trapezoid 60"/>
          <p:cNvSpPr/>
          <p:nvPr/>
        </p:nvSpPr>
        <p:spPr>
          <a:xfrm>
            <a:off x="5299788" y="4958775"/>
            <a:ext cx="8733453" cy="2718953"/>
          </a:xfrm>
          <a:prstGeom prst="trapezoid">
            <a:avLst>
              <a:gd name="adj" fmla="val 87458"/>
            </a:avLst>
          </a:prstGeom>
          <a:solidFill>
            <a:schemeClr val="accent4"/>
          </a:solidFill>
          <a:ln w="6350">
            <a:solidFill>
              <a:schemeClr val="tx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1828635"/>
            <a:r>
              <a:rPr lang="nb-NO" sz="28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data for primærbruk</a:t>
            </a:r>
            <a:endParaRPr lang="en-US" sz="24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6325" y="663777"/>
            <a:ext cx="21566696" cy="1673620"/>
          </a:xfrm>
        </p:spPr>
        <p:txBody>
          <a:bodyPr/>
          <a:lstStyle/>
          <a:p>
            <a:r>
              <a:rPr lang="nb-NO" dirty="0"/>
              <a:t>«Sekundærbruk» er bruk av helsedata der formålet </a:t>
            </a:r>
            <a:r>
              <a:rPr lang="nb-NO" u="sng" dirty="0"/>
              <a:t>ikke</a:t>
            </a:r>
            <a:r>
              <a:rPr lang="nb-NO" dirty="0"/>
              <a:t> er helsebehandling</a:t>
            </a:r>
            <a:endParaRPr lang="en-US" dirty="0"/>
          </a:p>
        </p:txBody>
      </p:sp>
      <p:sp>
        <p:nvSpPr>
          <p:cNvPr id="14" name="Rektangel 74"/>
          <p:cNvSpPr/>
          <p:nvPr/>
        </p:nvSpPr>
        <p:spPr>
          <a:xfrm>
            <a:off x="8358661" y="9805354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b" anchorCtr="0">
            <a:noAutofit/>
          </a:bodyPr>
          <a:lstStyle/>
          <a:p>
            <a:pPr algn="ctr" defTabSz="1828635"/>
            <a:r>
              <a:rPr lang="nb-NO" sz="20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ledere</a:t>
            </a:r>
          </a:p>
        </p:txBody>
      </p:sp>
      <p:sp>
        <p:nvSpPr>
          <p:cNvPr id="15" name="Freeform 4843"/>
          <p:cNvSpPr>
            <a:spLocks noEditPoints="1"/>
          </p:cNvSpPr>
          <p:nvPr/>
        </p:nvSpPr>
        <p:spPr bwMode="auto">
          <a:xfrm>
            <a:off x="9176532" y="10239123"/>
            <a:ext cx="836612" cy="812245"/>
          </a:xfrm>
          <a:custGeom>
            <a:avLst/>
            <a:gdLst>
              <a:gd name="T0" fmla="*/ 376 w 412"/>
              <a:gd name="T1" fmla="*/ 96 h 400"/>
              <a:gd name="T2" fmla="*/ 382 w 412"/>
              <a:gd name="T3" fmla="*/ 126 h 400"/>
              <a:gd name="T4" fmla="*/ 356 w 412"/>
              <a:gd name="T5" fmla="*/ 144 h 400"/>
              <a:gd name="T6" fmla="*/ 328 w 412"/>
              <a:gd name="T7" fmla="*/ 116 h 400"/>
              <a:gd name="T8" fmla="*/ 344 w 412"/>
              <a:gd name="T9" fmla="*/ 90 h 400"/>
              <a:gd name="T10" fmla="*/ 374 w 412"/>
              <a:gd name="T11" fmla="*/ 156 h 400"/>
              <a:gd name="T12" fmla="*/ 320 w 412"/>
              <a:gd name="T13" fmla="*/ 156 h 400"/>
              <a:gd name="T14" fmla="*/ 314 w 412"/>
              <a:gd name="T15" fmla="*/ 204 h 400"/>
              <a:gd name="T16" fmla="*/ 370 w 412"/>
              <a:gd name="T17" fmla="*/ 268 h 400"/>
              <a:gd name="T18" fmla="*/ 404 w 412"/>
              <a:gd name="T19" fmla="*/ 246 h 400"/>
              <a:gd name="T20" fmla="*/ 410 w 412"/>
              <a:gd name="T21" fmla="*/ 166 h 400"/>
              <a:gd name="T22" fmla="*/ 398 w 412"/>
              <a:gd name="T23" fmla="*/ 156 h 400"/>
              <a:gd name="T24" fmla="*/ 98 w 412"/>
              <a:gd name="T25" fmla="*/ 156 h 400"/>
              <a:gd name="T26" fmla="*/ 56 w 412"/>
              <a:gd name="T27" fmla="*/ 182 h 400"/>
              <a:gd name="T28" fmla="*/ 14 w 412"/>
              <a:gd name="T29" fmla="*/ 156 h 400"/>
              <a:gd name="T30" fmla="*/ 2 w 412"/>
              <a:gd name="T31" fmla="*/ 166 h 400"/>
              <a:gd name="T32" fmla="*/ 8 w 412"/>
              <a:gd name="T33" fmla="*/ 246 h 400"/>
              <a:gd name="T34" fmla="*/ 42 w 412"/>
              <a:gd name="T35" fmla="*/ 268 h 400"/>
              <a:gd name="T36" fmla="*/ 98 w 412"/>
              <a:gd name="T37" fmla="*/ 204 h 400"/>
              <a:gd name="T38" fmla="*/ 172 w 412"/>
              <a:gd name="T39" fmla="*/ 50 h 400"/>
              <a:gd name="T40" fmla="*/ 192 w 412"/>
              <a:gd name="T41" fmla="*/ 68 h 400"/>
              <a:gd name="T42" fmla="*/ 214 w 412"/>
              <a:gd name="T43" fmla="*/ 70 h 400"/>
              <a:gd name="T44" fmla="*/ 236 w 412"/>
              <a:gd name="T45" fmla="*/ 56 h 400"/>
              <a:gd name="T46" fmla="*/ 242 w 412"/>
              <a:gd name="T47" fmla="*/ 36 h 400"/>
              <a:gd name="T48" fmla="*/ 232 w 412"/>
              <a:gd name="T49" fmla="*/ 10 h 400"/>
              <a:gd name="T50" fmla="*/ 206 w 412"/>
              <a:gd name="T51" fmla="*/ 0 h 400"/>
              <a:gd name="T52" fmla="*/ 186 w 412"/>
              <a:gd name="T53" fmla="*/ 6 h 400"/>
              <a:gd name="T54" fmla="*/ 170 w 412"/>
              <a:gd name="T55" fmla="*/ 28 h 400"/>
              <a:gd name="T56" fmla="*/ 206 w 412"/>
              <a:gd name="T57" fmla="*/ 400 h 400"/>
              <a:gd name="T58" fmla="*/ 296 w 412"/>
              <a:gd name="T59" fmla="*/ 378 h 400"/>
              <a:gd name="T60" fmla="*/ 366 w 412"/>
              <a:gd name="T61" fmla="*/ 322 h 400"/>
              <a:gd name="T62" fmla="*/ 320 w 412"/>
              <a:gd name="T63" fmla="*/ 250 h 400"/>
              <a:gd name="T64" fmla="*/ 244 w 412"/>
              <a:gd name="T65" fmla="*/ 200 h 400"/>
              <a:gd name="T66" fmla="*/ 206 w 412"/>
              <a:gd name="T67" fmla="*/ 194 h 400"/>
              <a:gd name="T68" fmla="*/ 158 w 412"/>
              <a:gd name="T69" fmla="*/ 234 h 400"/>
              <a:gd name="T70" fmla="*/ 140 w 412"/>
              <a:gd name="T71" fmla="*/ 262 h 400"/>
              <a:gd name="T72" fmla="*/ 118 w 412"/>
              <a:gd name="T73" fmla="*/ 262 h 400"/>
              <a:gd name="T74" fmla="*/ 100 w 412"/>
              <a:gd name="T75" fmla="*/ 244 h 400"/>
              <a:gd name="T76" fmla="*/ 46 w 412"/>
              <a:gd name="T77" fmla="*/ 322 h 400"/>
              <a:gd name="T78" fmla="*/ 96 w 412"/>
              <a:gd name="T79" fmla="*/ 368 h 400"/>
              <a:gd name="T80" fmla="*/ 182 w 412"/>
              <a:gd name="T81" fmla="*/ 398 h 400"/>
              <a:gd name="T82" fmla="*/ 28 w 412"/>
              <a:gd name="T83" fmla="*/ 116 h 400"/>
              <a:gd name="T84" fmla="*/ 56 w 412"/>
              <a:gd name="T85" fmla="*/ 144 h 400"/>
              <a:gd name="T86" fmla="*/ 82 w 412"/>
              <a:gd name="T87" fmla="*/ 126 h 400"/>
              <a:gd name="T88" fmla="*/ 76 w 412"/>
              <a:gd name="T89" fmla="*/ 96 h 400"/>
              <a:gd name="T90" fmla="*/ 46 w 412"/>
              <a:gd name="T91" fmla="*/ 90 h 400"/>
              <a:gd name="T92" fmla="*/ 28 w 412"/>
              <a:gd name="T93" fmla="*/ 116 h 400"/>
              <a:gd name="T94" fmla="*/ 300 w 412"/>
              <a:gd name="T95" fmla="*/ 116 h 400"/>
              <a:gd name="T96" fmla="*/ 298 w 412"/>
              <a:gd name="T97" fmla="*/ 102 h 400"/>
              <a:gd name="T98" fmla="*/ 268 w 412"/>
              <a:gd name="T99" fmla="*/ 82 h 400"/>
              <a:gd name="T100" fmla="*/ 144 w 412"/>
              <a:gd name="T101" fmla="*/ 82 h 400"/>
              <a:gd name="T102" fmla="*/ 122 w 412"/>
              <a:gd name="T103" fmla="*/ 92 h 400"/>
              <a:gd name="T104" fmla="*/ 112 w 412"/>
              <a:gd name="T105" fmla="*/ 116 h 400"/>
              <a:gd name="T106" fmla="*/ 114 w 412"/>
              <a:gd name="T107" fmla="*/ 240 h 400"/>
              <a:gd name="T108" fmla="*/ 128 w 412"/>
              <a:gd name="T109" fmla="*/ 248 h 400"/>
              <a:gd name="T110" fmla="*/ 144 w 412"/>
              <a:gd name="T111" fmla="*/ 234 h 400"/>
              <a:gd name="T112" fmla="*/ 154 w 412"/>
              <a:gd name="T113" fmla="*/ 140 h 400"/>
              <a:gd name="T114" fmla="*/ 158 w 412"/>
              <a:gd name="T115" fmla="*/ 170 h 400"/>
              <a:gd name="T116" fmla="*/ 230 w 412"/>
              <a:gd name="T117" fmla="*/ 164 h 400"/>
              <a:gd name="T118" fmla="*/ 254 w 412"/>
              <a:gd name="T119" fmla="*/ 150 h 400"/>
              <a:gd name="T120" fmla="*/ 268 w 412"/>
              <a:gd name="T121" fmla="*/ 176 h 400"/>
              <a:gd name="T122" fmla="*/ 300 w 412"/>
              <a:gd name="T123" fmla="*/ 192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12" h="400">
                <a:moveTo>
                  <a:pt x="356" y="88"/>
                </a:moveTo>
                <a:lnTo>
                  <a:pt x="356" y="88"/>
                </a:lnTo>
                <a:lnTo>
                  <a:pt x="366" y="90"/>
                </a:lnTo>
                <a:lnTo>
                  <a:pt x="376" y="96"/>
                </a:lnTo>
                <a:lnTo>
                  <a:pt x="382" y="104"/>
                </a:lnTo>
                <a:lnTo>
                  <a:pt x="384" y="116"/>
                </a:lnTo>
                <a:lnTo>
                  <a:pt x="384" y="116"/>
                </a:lnTo>
                <a:lnTo>
                  <a:pt x="382" y="126"/>
                </a:lnTo>
                <a:lnTo>
                  <a:pt x="376" y="136"/>
                </a:lnTo>
                <a:lnTo>
                  <a:pt x="366" y="142"/>
                </a:lnTo>
                <a:lnTo>
                  <a:pt x="356" y="144"/>
                </a:lnTo>
                <a:lnTo>
                  <a:pt x="356" y="144"/>
                </a:lnTo>
                <a:lnTo>
                  <a:pt x="344" y="142"/>
                </a:lnTo>
                <a:lnTo>
                  <a:pt x="336" y="136"/>
                </a:lnTo>
                <a:lnTo>
                  <a:pt x="330" y="126"/>
                </a:lnTo>
                <a:lnTo>
                  <a:pt x="328" y="116"/>
                </a:lnTo>
                <a:lnTo>
                  <a:pt x="328" y="116"/>
                </a:lnTo>
                <a:lnTo>
                  <a:pt x="330" y="104"/>
                </a:lnTo>
                <a:lnTo>
                  <a:pt x="336" y="96"/>
                </a:lnTo>
                <a:lnTo>
                  <a:pt x="344" y="90"/>
                </a:lnTo>
                <a:lnTo>
                  <a:pt x="356" y="88"/>
                </a:lnTo>
                <a:lnTo>
                  <a:pt x="356" y="88"/>
                </a:lnTo>
                <a:close/>
                <a:moveTo>
                  <a:pt x="392" y="156"/>
                </a:moveTo>
                <a:lnTo>
                  <a:pt x="374" y="156"/>
                </a:lnTo>
                <a:lnTo>
                  <a:pt x="356" y="182"/>
                </a:lnTo>
                <a:lnTo>
                  <a:pt x="338" y="156"/>
                </a:lnTo>
                <a:lnTo>
                  <a:pt x="320" y="156"/>
                </a:lnTo>
                <a:lnTo>
                  <a:pt x="320" y="156"/>
                </a:lnTo>
                <a:lnTo>
                  <a:pt x="314" y="156"/>
                </a:lnTo>
                <a:lnTo>
                  <a:pt x="314" y="156"/>
                </a:lnTo>
                <a:lnTo>
                  <a:pt x="314" y="158"/>
                </a:lnTo>
                <a:lnTo>
                  <a:pt x="314" y="204"/>
                </a:lnTo>
                <a:lnTo>
                  <a:pt x="314" y="204"/>
                </a:lnTo>
                <a:lnTo>
                  <a:pt x="336" y="224"/>
                </a:lnTo>
                <a:lnTo>
                  <a:pt x="354" y="244"/>
                </a:lnTo>
                <a:lnTo>
                  <a:pt x="370" y="268"/>
                </a:lnTo>
                <a:lnTo>
                  <a:pt x="386" y="294"/>
                </a:lnTo>
                <a:lnTo>
                  <a:pt x="386" y="294"/>
                </a:lnTo>
                <a:lnTo>
                  <a:pt x="396" y="270"/>
                </a:lnTo>
                <a:lnTo>
                  <a:pt x="404" y="246"/>
                </a:lnTo>
                <a:lnTo>
                  <a:pt x="410" y="220"/>
                </a:lnTo>
                <a:lnTo>
                  <a:pt x="412" y="194"/>
                </a:lnTo>
                <a:lnTo>
                  <a:pt x="412" y="194"/>
                </a:lnTo>
                <a:lnTo>
                  <a:pt x="410" y="166"/>
                </a:lnTo>
                <a:lnTo>
                  <a:pt x="410" y="166"/>
                </a:lnTo>
                <a:lnTo>
                  <a:pt x="406" y="162"/>
                </a:lnTo>
                <a:lnTo>
                  <a:pt x="402" y="158"/>
                </a:lnTo>
                <a:lnTo>
                  <a:pt x="398" y="156"/>
                </a:lnTo>
                <a:lnTo>
                  <a:pt x="392" y="156"/>
                </a:lnTo>
                <a:lnTo>
                  <a:pt x="392" y="156"/>
                </a:lnTo>
                <a:close/>
                <a:moveTo>
                  <a:pt x="98" y="204"/>
                </a:moveTo>
                <a:lnTo>
                  <a:pt x="98" y="156"/>
                </a:lnTo>
                <a:lnTo>
                  <a:pt x="98" y="156"/>
                </a:lnTo>
                <a:lnTo>
                  <a:pt x="92" y="156"/>
                </a:lnTo>
                <a:lnTo>
                  <a:pt x="74" y="156"/>
                </a:lnTo>
                <a:lnTo>
                  <a:pt x="56" y="182"/>
                </a:lnTo>
                <a:lnTo>
                  <a:pt x="38" y="156"/>
                </a:lnTo>
                <a:lnTo>
                  <a:pt x="20" y="156"/>
                </a:lnTo>
                <a:lnTo>
                  <a:pt x="20" y="156"/>
                </a:lnTo>
                <a:lnTo>
                  <a:pt x="14" y="156"/>
                </a:lnTo>
                <a:lnTo>
                  <a:pt x="10" y="158"/>
                </a:lnTo>
                <a:lnTo>
                  <a:pt x="6" y="162"/>
                </a:lnTo>
                <a:lnTo>
                  <a:pt x="2" y="166"/>
                </a:lnTo>
                <a:lnTo>
                  <a:pt x="2" y="166"/>
                </a:lnTo>
                <a:lnTo>
                  <a:pt x="0" y="194"/>
                </a:lnTo>
                <a:lnTo>
                  <a:pt x="0" y="194"/>
                </a:lnTo>
                <a:lnTo>
                  <a:pt x="2" y="220"/>
                </a:lnTo>
                <a:lnTo>
                  <a:pt x="8" y="246"/>
                </a:lnTo>
                <a:lnTo>
                  <a:pt x="16" y="270"/>
                </a:lnTo>
                <a:lnTo>
                  <a:pt x="26" y="294"/>
                </a:lnTo>
                <a:lnTo>
                  <a:pt x="26" y="294"/>
                </a:lnTo>
                <a:lnTo>
                  <a:pt x="42" y="268"/>
                </a:lnTo>
                <a:lnTo>
                  <a:pt x="58" y="244"/>
                </a:lnTo>
                <a:lnTo>
                  <a:pt x="76" y="224"/>
                </a:lnTo>
                <a:lnTo>
                  <a:pt x="98" y="204"/>
                </a:lnTo>
                <a:lnTo>
                  <a:pt x="98" y="204"/>
                </a:lnTo>
                <a:close/>
                <a:moveTo>
                  <a:pt x="170" y="36"/>
                </a:moveTo>
                <a:lnTo>
                  <a:pt x="170" y="36"/>
                </a:lnTo>
                <a:lnTo>
                  <a:pt x="170" y="42"/>
                </a:lnTo>
                <a:lnTo>
                  <a:pt x="172" y="50"/>
                </a:lnTo>
                <a:lnTo>
                  <a:pt x="176" y="56"/>
                </a:lnTo>
                <a:lnTo>
                  <a:pt x="180" y="60"/>
                </a:lnTo>
                <a:lnTo>
                  <a:pt x="186" y="66"/>
                </a:lnTo>
                <a:lnTo>
                  <a:pt x="192" y="68"/>
                </a:lnTo>
                <a:lnTo>
                  <a:pt x="198" y="70"/>
                </a:lnTo>
                <a:lnTo>
                  <a:pt x="206" y="72"/>
                </a:lnTo>
                <a:lnTo>
                  <a:pt x="206" y="72"/>
                </a:lnTo>
                <a:lnTo>
                  <a:pt x="214" y="70"/>
                </a:lnTo>
                <a:lnTo>
                  <a:pt x="220" y="68"/>
                </a:lnTo>
                <a:lnTo>
                  <a:pt x="226" y="66"/>
                </a:lnTo>
                <a:lnTo>
                  <a:pt x="232" y="60"/>
                </a:lnTo>
                <a:lnTo>
                  <a:pt x="236" y="56"/>
                </a:lnTo>
                <a:lnTo>
                  <a:pt x="240" y="50"/>
                </a:lnTo>
                <a:lnTo>
                  <a:pt x="242" y="42"/>
                </a:lnTo>
                <a:lnTo>
                  <a:pt x="242" y="36"/>
                </a:lnTo>
                <a:lnTo>
                  <a:pt x="242" y="36"/>
                </a:lnTo>
                <a:lnTo>
                  <a:pt x="242" y="28"/>
                </a:lnTo>
                <a:lnTo>
                  <a:pt x="240" y="22"/>
                </a:lnTo>
                <a:lnTo>
                  <a:pt x="236" y="16"/>
                </a:lnTo>
                <a:lnTo>
                  <a:pt x="232" y="10"/>
                </a:lnTo>
                <a:lnTo>
                  <a:pt x="226" y="6"/>
                </a:lnTo>
                <a:lnTo>
                  <a:pt x="220" y="2"/>
                </a:lnTo>
                <a:lnTo>
                  <a:pt x="214" y="0"/>
                </a:lnTo>
                <a:lnTo>
                  <a:pt x="206" y="0"/>
                </a:lnTo>
                <a:lnTo>
                  <a:pt x="206" y="0"/>
                </a:lnTo>
                <a:lnTo>
                  <a:pt x="198" y="0"/>
                </a:lnTo>
                <a:lnTo>
                  <a:pt x="192" y="2"/>
                </a:lnTo>
                <a:lnTo>
                  <a:pt x="186" y="6"/>
                </a:lnTo>
                <a:lnTo>
                  <a:pt x="180" y="10"/>
                </a:lnTo>
                <a:lnTo>
                  <a:pt x="176" y="16"/>
                </a:lnTo>
                <a:lnTo>
                  <a:pt x="172" y="22"/>
                </a:lnTo>
                <a:lnTo>
                  <a:pt x="170" y="28"/>
                </a:lnTo>
                <a:lnTo>
                  <a:pt x="170" y="36"/>
                </a:lnTo>
                <a:lnTo>
                  <a:pt x="170" y="36"/>
                </a:lnTo>
                <a:close/>
                <a:moveTo>
                  <a:pt x="206" y="400"/>
                </a:moveTo>
                <a:lnTo>
                  <a:pt x="206" y="400"/>
                </a:lnTo>
                <a:lnTo>
                  <a:pt x="230" y="398"/>
                </a:lnTo>
                <a:lnTo>
                  <a:pt x="254" y="394"/>
                </a:lnTo>
                <a:lnTo>
                  <a:pt x="276" y="388"/>
                </a:lnTo>
                <a:lnTo>
                  <a:pt x="296" y="378"/>
                </a:lnTo>
                <a:lnTo>
                  <a:pt x="316" y="368"/>
                </a:lnTo>
                <a:lnTo>
                  <a:pt x="334" y="354"/>
                </a:lnTo>
                <a:lnTo>
                  <a:pt x="352" y="338"/>
                </a:lnTo>
                <a:lnTo>
                  <a:pt x="366" y="322"/>
                </a:lnTo>
                <a:lnTo>
                  <a:pt x="366" y="322"/>
                </a:lnTo>
                <a:lnTo>
                  <a:pt x="352" y="296"/>
                </a:lnTo>
                <a:lnTo>
                  <a:pt x="336" y="272"/>
                </a:lnTo>
                <a:lnTo>
                  <a:pt x="320" y="250"/>
                </a:lnTo>
                <a:lnTo>
                  <a:pt x="300" y="232"/>
                </a:lnTo>
                <a:lnTo>
                  <a:pt x="280" y="216"/>
                </a:lnTo>
                <a:lnTo>
                  <a:pt x="256" y="204"/>
                </a:lnTo>
                <a:lnTo>
                  <a:pt x="244" y="200"/>
                </a:lnTo>
                <a:lnTo>
                  <a:pt x="232" y="196"/>
                </a:lnTo>
                <a:lnTo>
                  <a:pt x="220" y="194"/>
                </a:lnTo>
                <a:lnTo>
                  <a:pt x="206" y="194"/>
                </a:lnTo>
                <a:lnTo>
                  <a:pt x="206" y="194"/>
                </a:lnTo>
                <a:lnTo>
                  <a:pt x="182" y="196"/>
                </a:lnTo>
                <a:lnTo>
                  <a:pt x="158" y="202"/>
                </a:lnTo>
                <a:lnTo>
                  <a:pt x="158" y="234"/>
                </a:lnTo>
                <a:lnTo>
                  <a:pt x="158" y="234"/>
                </a:lnTo>
                <a:lnTo>
                  <a:pt x="158" y="240"/>
                </a:lnTo>
                <a:lnTo>
                  <a:pt x="156" y="244"/>
                </a:lnTo>
                <a:lnTo>
                  <a:pt x="150" y="254"/>
                </a:lnTo>
                <a:lnTo>
                  <a:pt x="140" y="262"/>
                </a:lnTo>
                <a:lnTo>
                  <a:pt x="134" y="264"/>
                </a:lnTo>
                <a:lnTo>
                  <a:pt x="128" y="264"/>
                </a:lnTo>
                <a:lnTo>
                  <a:pt x="128" y="264"/>
                </a:lnTo>
                <a:lnTo>
                  <a:pt x="118" y="262"/>
                </a:lnTo>
                <a:lnTo>
                  <a:pt x="110" y="258"/>
                </a:lnTo>
                <a:lnTo>
                  <a:pt x="104" y="252"/>
                </a:lnTo>
                <a:lnTo>
                  <a:pt x="100" y="244"/>
                </a:lnTo>
                <a:lnTo>
                  <a:pt x="100" y="244"/>
                </a:lnTo>
                <a:lnTo>
                  <a:pt x="84" y="260"/>
                </a:lnTo>
                <a:lnTo>
                  <a:pt x="70" y="280"/>
                </a:lnTo>
                <a:lnTo>
                  <a:pt x="58" y="300"/>
                </a:lnTo>
                <a:lnTo>
                  <a:pt x="46" y="322"/>
                </a:lnTo>
                <a:lnTo>
                  <a:pt x="46" y="322"/>
                </a:lnTo>
                <a:lnTo>
                  <a:pt x="60" y="338"/>
                </a:lnTo>
                <a:lnTo>
                  <a:pt x="78" y="354"/>
                </a:lnTo>
                <a:lnTo>
                  <a:pt x="96" y="368"/>
                </a:lnTo>
                <a:lnTo>
                  <a:pt x="116" y="378"/>
                </a:lnTo>
                <a:lnTo>
                  <a:pt x="136" y="388"/>
                </a:lnTo>
                <a:lnTo>
                  <a:pt x="158" y="394"/>
                </a:lnTo>
                <a:lnTo>
                  <a:pt x="182" y="398"/>
                </a:lnTo>
                <a:lnTo>
                  <a:pt x="206" y="400"/>
                </a:lnTo>
                <a:lnTo>
                  <a:pt x="206" y="400"/>
                </a:lnTo>
                <a:close/>
                <a:moveTo>
                  <a:pt x="28" y="116"/>
                </a:moveTo>
                <a:lnTo>
                  <a:pt x="28" y="116"/>
                </a:lnTo>
                <a:lnTo>
                  <a:pt x="30" y="126"/>
                </a:lnTo>
                <a:lnTo>
                  <a:pt x="36" y="136"/>
                </a:lnTo>
                <a:lnTo>
                  <a:pt x="46" y="142"/>
                </a:lnTo>
                <a:lnTo>
                  <a:pt x="56" y="144"/>
                </a:lnTo>
                <a:lnTo>
                  <a:pt x="56" y="144"/>
                </a:lnTo>
                <a:lnTo>
                  <a:pt x="68" y="142"/>
                </a:lnTo>
                <a:lnTo>
                  <a:pt x="76" y="136"/>
                </a:lnTo>
                <a:lnTo>
                  <a:pt x="82" y="126"/>
                </a:lnTo>
                <a:lnTo>
                  <a:pt x="84" y="116"/>
                </a:lnTo>
                <a:lnTo>
                  <a:pt x="84" y="116"/>
                </a:lnTo>
                <a:lnTo>
                  <a:pt x="82" y="104"/>
                </a:lnTo>
                <a:lnTo>
                  <a:pt x="76" y="96"/>
                </a:lnTo>
                <a:lnTo>
                  <a:pt x="68" y="90"/>
                </a:lnTo>
                <a:lnTo>
                  <a:pt x="56" y="88"/>
                </a:lnTo>
                <a:lnTo>
                  <a:pt x="56" y="88"/>
                </a:lnTo>
                <a:lnTo>
                  <a:pt x="46" y="90"/>
                </a:lnTo>
                <a:lnTo>
                  <a:pt x="36" y="96"/>
                </a:lnTo>
                <a:lnTo>
                  <a:pt x="30" y="104"/>
                </a:lnTo>
                <a:lnTo>
                  <a:pt x="28" y="116"/>
                </a:lnTo>
                <a:lnTo>
                  <a:pt x="28" y="116"/>
                </a:lnTo>
                <a:close/>
                <a:moveTo>
                  <a:pt x="300" y="192"/>
                </a:moveTo>
                <a:lnTo>
                  <a:pt x="300" y="116"/>
                </a:lnTo>
                <a:lnTo>
                  <a:pt x="300" y="116"/>
                </a:lnTo>
                <a:lnTo>
                  <a:pt x="300" y="116"/>
                </a:lnTo>
                <a:lnTo>
                  <a:pt x="300" y="114"/>
                </a:lnTo>
                <a:lnTo>
                  <a:pt x="300" y="114"/>
                </a:lnTo>
                <a:lnTo>
                  <a:pt x="300" y="108"/>
                </a:lnTo>
                <a:lnTo>
                  <a:pt x="298" y="102"/>
                </a:lnTo>
                <a:lnTo>
                  <a:pt x="290" y="92"/>
                </a:lnTo>
                <a:lnTo>
                  <a:pt x="280" y="84"/>
                </a:lnTo>
                <a:lnTo>
                  <a:pt x="274" y="82"/>
                </a:lnTo>
                <a:lnTo>
                  <a:pt x="268" y="82"/>
                </a:lnTo>
                <a:lnTo>
                  <a:pt x="232" y="82"/>
                </a:lnTo>
                <a:lnTo>
                  <a:pt x="206" y="116"/>
                </a:lnTo>
                <a:lnTo>
                  <a:pt x="180" y="82"/>
                </a:lnTo>
                <a:lnTo>
                  <a:pt x="144" y="82"/>
                </a:lnTo>
                <a:lnTo>
                  <a:pt x="144" y="82"/>
                </a:lnTo>
                <a:lnTo>
                  <a:pt x="138" y="82"/>
                </a:lnTo>
                <a:lnTo>
                  <a:pt x="132" y="84"/>
                </a:lnTo>
                <a:lnTo>
                  <a:pt x="122" y="92"/>
                </a:lnTo>
                <a:lnTo>
                  <a:pt x="114" y="102"/>
                </a:lnTo>
                <a:lnTo>
                  <a:pt x="112" y="108"/>
                </a:lnTo>
                <a:lnTo>
                  <a:pt x="112" y="114"/>
                </a:lnTo>
                <a:lnTo>
                  <a:pt x="112" y="116"/>
                </a:lnTo>
                <a:lnTo>
                  <a:pt x="112" y="130"/>
                </a:lnTo>
                <a:lnTo>
                  <a:pt x="112" y="234"/>
                </a:lnTo>
                <a:lnTo>
                  <a:pt x="112" y="234"/>
                </a:lnTo>
                <a:lnTo>
                  <a:pt x="114" y="240"/>
                </a:lnTo>
                <a:lnTo>
                  <a:pt x="116" y="244"/>
                </a:lnTo>
                <a:lnTo>
                  <a:pt x="122" y="248"/>
                </a:lnTo>
                <a:lnTo>
                  <a:pt x="128" y="248"/>
                </a:lnTo>
                <a:lnTo>
                  <a:pt x="128" y="248"/>
                </a:lnTo>
                <a:lnTo>
                  <a:pt x="134" y="248"/>
                </a:lnTo>
                <a:lnTo>
                  <a:pt x="138" y="244"/>
                </a:lnTo>
                <a:lnTo>
                  <a:pt x="142" y="240"/>
                </a:lnTo>
                <a:lnTo>
                  <a:pt x="144" y="234"/>
                </a:lnTo>
                <a:lnTo>
                  <a:pt x="144" y="130"/>
                </a:lnTo>
                <a:lnTo>
                  <a:pt x="144" y="130"/>
                </a:lnTo>
                <a:lnTo>
                  <a:pt x="150" y="134"/>
                </a:lnTo>
                <a:lnTo>
                  <a:pt x="154" y="140"/>
                </a:lnTo>
                <a:lnTo>
                  <a:pt x="158" y="148"/>
                </a:lnTo>
                <a:lnTo>
                  <a:pt x="158" y="156"/>
                </a:lnTo>
                <a:lnTo>
                  <a:pt x="158" y="170"/>
                </a:lnTo>
                <a:lnTo>
                  <a:pt x="158" y="170"/>
                </a:lnTo>
                <a:lnTo>
                  <a:pt x="182" y="164"/>
                </a:lnTo>
                <a:lnTo>
                  <a:pt x="206" y="162"/>
                </a:lnTo>
                <a:lnTo>
                  <a:pt x="206" y="162"/>
                </a:lnTo>
                <a:lnTo>
                  <a:pt x="230" y="164"/>
                </a:lnTo>
                <a:lnTo>
                  <a:pt x="254" y="170"/>
                </a:lnTo>
                <a:lnTo>
                  <a:pt x="254" y="158"/>
                </a:lnTo>
                <a:lnTo>
                  <a:pt x="254" y="158"/>
                </a:lnTo>
                <a:lnTo>
                  <a:pt x="254" y="150"/>
                </a:lnTo>
                <a:lnTo>
                  <a:pt x="258" y="142"/>
                </a:lnTo>
                <a:lnTo>
                  <a:pt x="262" y="136"/>
                </a:lnTo>
                <a:lnTo>
                  <a:pt x="268" y="132"/>
                </a:lnTo>
                <a:lnTo>
                  <a:pt x="268" y="176"/>
                </a:lnTo>
                <a:lnTo>
                  <a:pt x="268" y="176"/>
                </a:lnTo>
                <a:lnTo>
                  <a:pt x="284" y="184"/>
                </a:lnTo>
                <a:lnTo>
                  <a:pt x="300" y="192"/>
                </a:lnTo>
                <a:lnTo>
                  <a:pt x="300" y="192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vert="horz" wrap="square" lIns="152348" tIns="76175" rIns="152348" bIns="76175" numCol="1" anchor="t" anchorCtr="0" compatLnSpc="1">
            <a:prstTxWarp prst="textNoShape">
              <a:avLst/>
            </a:prstTxWarp>
          </a:bodyPr>
          <a:lstStyle/>
          <a:p>
            <a:pPr defTabSz="1828635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16" name="Rektangel 81"/>
          <p:cNvSpPr/>
          <p:nvPr/>
        </p:nvSpPr>
        <p:spPr>
          <a:xfrm>
            <a:off x="5699112" y="9790196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b" anchorCtr="0">
            <a:noAutofit/>
          </a:bodyPr>
          <a:lstStyle/>
          <a:p>
            <a:pPr algn="ctr" defTabSz="1828635"/>
            <a:r>
              <a:rPr lang="nb-NO" sz="20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personell</a:t>
            </a:r>
          </a:p>
        </p:txBody>
      </p:sp>
      <p:sp>
        <p:nvSpPr>
          <p:cNvPr id="17" name="Freeform 4859"/>
          <p:cNvSpPr>
            <a:spLocks noEditPoints="1"/>
          </p:cNvSpPr>
          <p:nvPr/>
        </p:nvSpPr>
        <p:spPr bwMode="auto">
          <a:xfrm>
            <a:off x="6661693" y="10229346"/>
            <a:ext cx="593563" cy="831798"/>
          </a:xfrm>
          <a:custGeom>
            <a:avLst/>
            <a:gdLst>
              <a:gd name="T0" fmla="*/ 184 w 294"/>
              <a:gd name="T1" fmla="*/ 408 h 412"/>
              <a:gd name="T2" fmla="*/ 112 w 294"/>
              <a:gd name="T3" fmla="*/ 410 h 412"/>
              <a:gd name="T4" fmla="*/ 54 w 294"/>
              <a:gd name="T5" fmla="*/ 390 h 412"/>
              <a:gd name="T6" fmla="*/ 0 w 294"/>
              <a:gd name="T7" fmla="*/ 350 h 412"/>
              <a:gd name="T8" fmla="*/ 14 w 294"/>
              <a:gd name="T9" fmla="*/ 202 h 412"/>
              <a:gd name="T10" fmla="*/ 80 w 294"/>
              <a:gd name="T11" fmla="*/ 166 h 412"/>
              <a:gd name="T12" fmla="*/ 74 w 294"/>
              <a:gd name="T13" fmla="*/ 210 h 412"/>
              <a:gd name="T14" fmla="*/ 78 w 294"/>
              <a:gd name="T15" fmla="*/ 240 h 412"/>
              <a:gd name="T16" fmla="*/ 112 w 294"/>
              <a:gd name="T17" fmla="*/ 240 h 412"/>
              <a:gd name="T18" fmla="*/ 114 w 294"/>
              <a:gd name="T19" fmla="*/ 210 h 412"/>
              <a:gd name="T20" fmla="*/ 170 w 294"/>
              <a:gd name="T21" fmla="*/ 166 h 412"/>
              <a:gd name="T22" fmla="*/ 150 w 294"/>
              <a:gd name="T23" fmla="*/ 226 h 412"/>
              <a:gd name="T24" fmla="*/ 122 w 294"/>
              <a:gd name="T25" fmla="*/ 266 h 412"/>
              <a:gd name="T26" fmla="*/ 124 w 294"/>
              <a:gd name="T27" fmla="*/ 340 h 412"/>
              <a:gd name="T28" fmla="*/ 156 w 294"/>
              <a:gd name="T29" fmla="*/ 344 h 412"/>
              <a:gd name="T30" fmla="*/ 162 w 294"/>
              <a:gd name="T31" fmla="*/ 328 h 412"/>
              <a:gd name="T32" fmla="*/ 144 w 294"/>
              <a:gd name="T33" fmla="*/ 276 h 412"/>
              <a:gd name="T34" fmla="*/ 154 w 294"/>
              <a:gd name="T35" fmla="*/ 250 h 412"/>
              <a:gd name="T36" fmla="*/ 180 w 294"/>
              <a:gd name="T37" fmla="*/ 240 h 412"/>
              <a:gd name="T38" fmla="*/ 212 w 294"/>
              <a:gd name="T39" fmla="*/ 256 h 412"/>
              <a:gd name="T40" fmla="*/ 218 w 294"/>
              <a:gd name="T41" fmla="*/ 322 h 412"/>
              <a:gd name="T42" fmla="*/ 200 w 294"/>
              <a:gd name="T43" fmla="*/ 328 h 412"/>
              <a:gd name="T44" fmla="*/ 206 w 294"/>
              <a:gd name="T45" fmla="*/ 344 h 412"/>
              <a:gd name="T46" fmla="*/ 240 w 294"/>
              <a:gd name="T47" fmla="*/ 390 h 412"/>
              <a:gd name="T48" fmla="*/ 294 w 294"/>
              <a:gd name="T49" fmla="*/ 250 h 412"/>
              <a:gd name="T50" fmla="*/ 272 w 294"/>
              <a:gd name="T51" fmla="*/ 192 h 412"/>
              <a:gd name="T52" fmla="*/ 192 w 294"/>
              <a:gd name="T53" fmla="*/ 166 h 412"/>
              <a:gd name="T54" fmla="*/ 202 w 294"/>
              <a:gd name="T55" fmla="*/ 222 h 412"/>
              <a:gd name="T56" fmla="*/ 236 w 294"/>
              <a:gd name="T57" fmla="*/ 256 h 412"/>
              <a:gd name="T58" fmla="*/ 240 w 294"/>
              <a:gd name="T59" fmla="*/ 334 h 412"/>
              <a:gd name="T60" fmla="*/ 92 w 294"/>
              <a:gd name="T61" fmla="*/ 122 h 412"/>
              <a:gd name="T62" fmla="*/ 136 w 294"/>
              <a:gd name="T63" fmla="*/ 146 h 412"/>
              <a:gd name="T64" fmla="*/ 178 w 294"/>
              <a:gd name="T65" fmla="*/ 140 h 412"/>
              <a:gd name="T66" fmla="*/ 214 w 294"/>
              <a:gd name="T67" fmla="*/ 106 h 412"/>
              <a:gd name="T68" fmla="*/ 148 w 294"/>
              <a:gd name="T69" fmla="*/ 84 h 412"/>
              <a:gd name="T70" fmla="*/ 82 w 294"/>
              <a:gd name="T71" fmla="*/ 106 h 412"/>
              <a:gd name="T72" fmla="*/ 148 w 294"/>
              <a:gd name="T73" fmla="*/ 0 h 412"/>
              <a:gd name="T74" fmla="*/ 208 w 294"/>
              <a:gd name="T75" fmla="*/ 32 h 412"/>
              <a:gd name="T76" fmla="*/ 220 w 294"/>
              <a:gd name="T77" fmla="*/ 90 h 412"/>
              <a:gd name="T78" fmla="*/ 148 w 294"/>
              <a:gd name="T79" fmla="*/ 68 h 412"/>
              <a:gd name="T80" fmla="*/ 76 w 294"/>
              <a:gd name="T81" fmla="*/ 90 h 412"/>
              <a:gd name="T82" fmla="*/ 80 w 294"/>
              <a:gd name="T83" fmla="*/ 44 h 412"/>
              <a:gd name="T84" fmla="*/ 132 w 294"/>
              <a:gd name="T85" fmla="*/ 2 h 412"/>
              <a:gd name="T86" fmla="*/ 156 w 294"/>
              <a:gd name="T87" fmla="*/ 18 h 412"/>
              <a:gd name="T88" fmla="*/ 148 w 294"/>
              <a:gd name="T89" fmla="*/ 10 h 412"/>
              <a:gd name="T90" fmla="*/ 140 w 294"/>
              <a:gd name="T91" fmla="*/ 28 h 412"/>
              <a:gd name="T92" fmla="*/ 122 w 294"/>
              <a:gd name="T93" fmla="*/ 34 h 412"/>
              <a:gd name="T94" fmla="*/ 126 w 294"/>
              <a:gd name="T95" fmla="*/ 44 h 412"/>
              <a:gd name="T96" fmla="*/ 140 w 294"/>
              <a:gd name="T97" fmla="*/ 58 h 412"/>
              <a:gd name="T98" fmla="*/ 150 w 294"/>
              <a:gd name="T99" fmla="*/ 62 h 412"/>
              <a:gd name="T100" fmla="*/ 166 w 294"/>
              <a:gd name="T101" fmla="*/ 44 h 412"/>
              <a:gd name="T102" fmla="*/ 174 w 294"/>
              <a:gd name="T103" fmla="*/ 36 h 412"/>
              <a:gd name="T104" fmla="*/ 166 w 294"/>
              <a:gd name="T105" fmla="*/ 28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94" h="412">
                <a:moveTo>
                  <a:pt x="218" y="344"/>
                </a:moveTo>
                <a:lnTo>
                  <a:pt x="218" y="400"/>
                </a:lnTo>
                <a:lnTo>
                  <a:pt x="218" y="400"/>
                </a:lnTo>
                <a:lnTo>
                  <a:pt x="202" y="404"/>
                </a:lnTo>
                <a:lnTo>
                  <a:pt x="184" y="408"/>
                </a:lnTo>
                <a:lnTo>
                  <a:pt x="166" y="412"/>
                </a:lnTo>
                <a:lnTo>
                  <a:pt x="148" y="412"/>
                </a:lnTo>
                <a:lnTo>
                  <a:pt x="148" y="412"/>
                </a:lnTo>
                <a:lnTo>
                  <a:pt x="130" y="412"/>
                </a:lnTo>
                <a:lnTo>
                  <a:pt x="112" y="410"/>
                </a:lnTo>
                <a:lnTo>
                  <a:pt x="94" y="406"/>
                </a:lnTo>
                <a:lnTo>
                  <a:pt x="78" y="400"/>
                </a:lnTo>
                <a:lnTo>
                  <a:pt x="78" y="264"/>
                </a:lnTo>
                <a:lnTo>
                  <a:pt x="54" y="264"/>
                </a:lnTo>
                <a:lnTo>
                  <a:pt x="54" y="390"/>
                </a:lnTo>
                <a:lnTo>
                  <a:pt x="54" y="390"/>
                </a:lnTo>
                <a:lnTo>
                  <a:pt x="40" y="382"/>
                </a:lnTo>
                <a:lnTo>
                  <a:pt x="26" y="372"/>
                </a:lnTo>
                <a:lnTo>
                  <a:pt x="12" y="362"/>
                </a:lnTo>
                <a:lnTo>
                  <a:pt x="0" y="350"/>
                </a:lnTo>
                <a:lnTo>
                  <a:pt x="0" y="248"/>
                </a:lnTo>
                <a:lnTo>
                  <a:pt x="0" y="248"/>
                </a:lnTo>
                <a:lnTo>
                  <a:pt x="2" y="232"/>
                </a:lnTo>
                <a:lnTo>
                  <a:pt x="6" y="216"/>
                </a:lnTo>
                <a:lnTo>
                  <a:pt x="14" y="202"/>
                </a:lnTo>
                <a:lnTo>
                  <a:pt x="24" y="190"/>
                </a:lnTo>
                <a:lnTo>
                  <a:pt x="36" y="180"/>
                </a:lnTo>
                <a:lnTo>
                  <a:pt x="48" y="172"/>
                </a:lnTo>
                <a:lnTo>
                  <a:pt x="64" y="168"/>
                </a:lnTo>
                <a:lnTo>
                  <a:pt x="80" y="166"/>
                </a:lnTo>
                <a:lnTo>
                  <a:pt x="84" y="166"/>
                </a:lnTo>
                <a:lnTo>
                  <a:pt x="84" y="200"/>
                </a:lnTo>
                <a:lnTo>
                  <a:pt x="84" y="200"/>
                </a:lnTo>
                <a:lnTo>
                  <a:pt x="78" y="204"/>
                </a:lnTo>
                <a:lnTo>
                  <a:pt x="74" y="210"/>
                </a:lnTo>
                <a:lnTo>
                  <a:pt x="72" y="216"/>
                </a:lnTo>
                <a:lnTo>
                  <a:pt x="70" y="222"/>
                </a:lnTo>
                <a:lnTo>
                  <a:pt x="70" y="222"/>
                </a:lnTo>
                <a:lnTo>
                  <a:pt x="72" y="232"/>
                </a:lnTo>
                <a:lnTo>
                  <a:pt x="78" y="240"/>
                </a:lnTo>
                <a:lnTo>
                  <a:pt x="84" y="246"/>
                </a:lnTo>
                <a:lnTo>
                  <a:pt x="94" y="248"/>
                </a:lnTo>
                <a:lnTo>
                  <a:pt x="94" y="248"/>
                </a:lnTo>
                <a:lnTo>
                  <a:pt x="104" y="246"/>
                </a:lnTo>
                <a:lnTo>
                  <a:pt x="112" y="240"/>
                </a:lnTo>
                <a:lnTo>
                  <a:pt x="116" y="232"/>
                </a:lnTo>
                <a:lnTo>
                  <a:pt x="118" y="222"/>
                </a:lnTo>
                <a:lnTo>
                  <a:pt x="118" y="222"/>
                </a:lnTo>
                <a:lnTo>
                  <a:pt x="118" y="216"/>
                </a:lnTo>
                <a:lnTo>
                  <a:pt x="114" y="210"/>
                </a:lnTo>
                <a:lnTo>
                  <a:pt x="110" y="204"/>
                </a:lnTo>
                <a:lnTo>
                  <a:pt x="104" y="200"/>
                </a:lnTo>
                <a:lnTo>
                  <a:pt x="104" y="166"/>
                </a:lnTo>
                <a:lnTo>
                  <a:pt x="170" y="166"/>
                </a:lnTo>
                <a:lnTo>
                  <a:pt x="170" y="166"/>
                </a:lnTo>
                <a:lnTo>
                  <a:pt x="170" y="168"/>
                </a:lnTo>
                <a:lnTo>
                  <a:pt x="170" y="218"/>
                </a:lnTo>
                <a:lnTo>
                  <a:pt x="170" y="218"/>
                </a:lnTo>
                <a:lnTo>
                  <a:pt x="160" y="222"/>
                </a:lnTo>
                <a:lnTo>
                  <a:pt x="150" y="226"/>
                </a:lnTo>
                <a:lnTo>
                  <a:pt x="142" y="232"/>
                </a:lnTo>
                <a:lnTo>
                  <a:pt x="136" y="238"/>
                </a:lnTo>
                <a:lnTo>
                  <a:pt x="130" y="248"/>
                </a:lnTo>
                <a:lnTo>
                  <a:pt x="126" y="256"/>
                </a:lnTo>
                <a:lnTo>
                  <a:pt x="122" y="266"/>
                </a:lnTo>
                <a:lnTo>
                  <a:pt x="122" y="276"/>
                </a:lnTo>
                <a:lnTo>
                  <a:pt x="122" y="332"/>
                </a:lnTo>
                <a:lnTo>
                  <a:pt x="122" y="332"/>
                </a:lnTo>
                <a:lnTo>
                  <a:pt x="122" y="338"/>
                </a:lnTo>
                <a:lnTo>
                  <a:pt x="124" y="340"/>
                </a:lnTo>
                <a:lnTo>
                  <a:pt x="128" y="344"/>
                </a:lnTo>
                <a:lnTo>
                  <a:pt x="132" y="344"/>
                </a:lnTo>
                <a:lnTo>
                  <a:pt x="152" y="344"/>
                </a:lnTo>
                <a:lnTo>
                  <a:pt x="152" y="344"/>
                </a:lnTo>
                <a:lnTo>
                  <a:pt x="156" y="344"/>
                </a:lnTo>
                <a:lnTo>
                  <a:pt x="160" y="340"/>
                </a:lnTo>
                <a:lnTo>
                  <a:pt x="162" y="338"/>
                </a:lnTo>
                <a:lnTo>
                  <a:pt x="164" y="332"/>
                </a:lnTo>
                <a:lnTo>
                  <a:pt x="164" y="332"/>
                </a:lnTo>
                <a:lnTo>
                  <a:pt x="162" y="328"/>
                </a:lnTo>
                <a:lnTo>
                  <a:pt x="160" y="326"/>
                </a:lnTo>
                <a:lnTo>
                  <a:pt x="156" y="322"/>
                </a:lnTo>
                <a:lnTo>
                  <a:pt x="152" y="322"/>
                </a:lnTo>
                <a:lnTo>
                  <a:pt x="144" y="322"/>
                </a:lnTo>
                <a:lnTo>
                  <a:pt x="144" y="276"/>
                </a:lnTo>
                <a:lnTo>
                  <a:pt x="144" y="276"/>
                </a:lnTo>
                <a:lnTo>
                  <a:pt x="144" y="270"/>
                </a:lnTo>
                <a:lnTo>
                  <a:pt x="146" y="262"/>
                </a:lnTo>
                <a:lnTo>
                  <a:pt x="150" y="256"/>
                </a:lnTo>
                <a:lnTo>
                  <a:pt x="154" y="250"/>
                </a:lnTo>
                <a:lnTo>
                  <a:pt x="160" y="246"/>
                </a:lnTo>
                <a:lnTo>
                  <a:pt x="166" y="242"/>
                </a:lnTo>
                <a:lnTo>
                  <a:pt x="174" y="240"/>
                </a:lnTo>
                <a:lnTo>
                  <a:pt x="180" y="240"/>
                </a:lnTo>
                <a:lnTo>
                  <a:pt x="180" y="240"/>
                </a:lnTo>
                <a:lnTo>
                  <a:pt x="188" y="240"/>
                </a:lnTo>
                <a:lnTo>
                  <a:pt x="196" y="242"/>
                </a:lnTo>
                <a:lnTo>
                  <a:pt x="202" y="246"/>
                </a:lnTo>
                <a:lnTo>
                  <a:pt x="208" y="250"/>
                </a:lnTo>
                <a:lnTo>
                  <a:pt x="212" y="256"/>
                </a:lnTo>
                <a:lnTo>
                  <a:pt x="216" y="262"/>
                </a:lnTo>
                <a:lnTo>
                  <a:pt x="218" y="270"/>
                </a:lnTo>
                <a:lnTo>
                  <a:pt x="218" y="276"/>
                </a:lnTo>
                <a:lnTo>
                  <a:pt x="218" y="278"/>
                </a:lnTo>
                <a:lnTo>
                  <a:pt x="218" y="322"/>
                </a:lnTo>
                <a:lnTo>
                  <a:pt x="210" y="322"/>
                </a:lnTo>
                <a:lnTo>
                  <a:pt x="210" y="322"/>
                </a:lnTo>
                <a:lnTo>
                  <a:pt x="206" y="322"/>
                </a:lnTo>
                <a:lnTo>
                  <a:pt x="202" y="326"/>
                </a:lnTo>
                <a:lnTo>
                  <a:pt x="200" y="328"/>
                </a:lnTo>
                <a:lnTo>
                  <a:pt x="198" y="332"/>
                </a:lnTo>
                <a:lnTo>
                  <a:pt x="198" y="332"/>
                </a:lnTo>
                <a:lnTo>
                  <a:pt x="200" y="338"/>
                </a:lnTo>
                <a:lnTo>
                  <a:pt x="202" y="340"/>
                </a:lnTo>
                <a:lnTo>
                  <a:pt x="206" y="344"/>
                </a:lnTo>
                <a:lnTo>
                  <a:pt x="210" y="344"/>
                </a:lnTo>
                <a:lnTo>
                  <a:pt x="218" y="344"/>
                </a:lnTo>
                <a:close/>
                <a:moveTo>
                  <a:pt x="240" y="334"/>
                </a:moveTo>
                <a:lnTo>
                  <a:pt x="240" y="390"/>
                </a:lnTo>
                <a:lnTo>
                  <a:pt x="240" y="390"/>
                </a:lnTo>
                <a:lnTo>
                  <a:pt x="254" y="382"/>
                </a:lnTo>
                <a:lnTo>
                  <a:pt x="270" y="372"/>
                </a:lnTo>
                <a:lnTo>
                  <a:pt x="282" y="362"/>
                </a:lnTo>
                <a:lnTo>
                  <a:pt x="294" y="350"/>
                </a:lnTo>
                <a:lnTo>
                  <a:pt x="294" y="250"/>
                </a:lnTo>
                <a:lnTo>
                  <a:pt x="294" y="250"/>
                </a:lnTo>
                <a:lnTo>
                  <a:pt x="294" y="234"/>
                </a:lnTo>
                <a:lnTo>
                  <a:pt x="288" y="218"/>
                </a:lnTo>
                <a:lnTo>
                  <a:pt x="282" y="204"/>
                </a:lnTo>
                <a:lnTo>
                  <a:pt x="272" y="192"/>
                </a:lnTo>
                <a:lnTo>
                  <a:pt x="260" y="182"/>
                </a:lnTo>
                <a:lnTo>
                  <a:pt x="246" y="174"/>
                </a:lnTo>
                <a:lnTo>
                  <a:pt x="230" y="168"/>
                </a:lnTo>
                <a:lnTo>
                  <a:pt x="214" y="166"/>
                </a:lnTo>
                <a:lnTo>
                  <a:pt x="192" y="166"/>
                </a:lnTo>
                <a:lnTo>
                  <a:pt x="192" y="166"/>
                </a:lnTo>
                <a:lnTo>
                  <a:pt x="192" y="168"/>
                </a:lnTo>
                <a:lnTo>
                  <a:pt x="192" y="218"/>
                </a:lnTo>
                <a:lnTo>
                  <a:pt x="192" y="218"/>
                </a:lnTo>
                <a:lnTo>
                  <a:pt x="202" y="222"/>
                </a:lnTo>
                <a:lnTo>
                  <a:pt x="212" y="226"/>
                </a:lnTo>
                <a:lnTo>
                  <a:pt x="220" y="232"/>
                </a:lnTo>
                <a:lnTo>
                  <a:pt x="226" y="238"/>
                </a:lnTo>
                <a:lnTo>
                  <a:pt x="232" y="248"/>
                </a:lnTo>
                <a:lnTo>
                  <a:pt x="236" y="256"/>
                </a:lnTo>
                <a:lnTo>
                  <a:pt x="240" y="266"/>
                </a:lnTo>
                <a:lnTo>
                  <a:pt x="240" y="276"/>
                </a:lnTo>
                <a:lnTo>
                  <a:pt x="240" y="332"/>
                </a:lnTo>
                <a:lnTo>
                  <a:pt x="240" y="332"/>
                </a:lnTo>
                <a:lnTo>
                  <a:pt x="240" y="334"/>
                </a:lnTo>
                <a:lnTo>
                  <a:pt x="240" y="334"/>
                </a:lnTo>
                <a:close/>
                <a:moveTo>
                  <a:pt x="82" y="106"/>
                </a:moveTo>
                <a:lnTo>
                  <a:pt x="82" y="106"/>
                </a:lnTo>
                <a:lnTo>
                  <a:pt x="86" y="116"/>
                </a:lnTo>
                <a:lnTo>
                  <a:pt x="92" y="122"/>
                </a:lnTo>
                <a:lnTo>
                  <a:pt x="100" y="130"/>
                </a:lnTo>
                <a:lnTo>
                  <a:pt x="108" y="136"/>
                </a:lnTo>
                <a:lnTo>
                  <a:pt x="118" y="140"/>
                </a:lnTo>
                <a:lnTo>
                  <a:pt x="126" y="144"/>
                </a:lnTo>
                <a:lnTo>
                  <a:pt x="136" y="146"/>
                </a:lnTo>
                <a:lnTo>
                  <a:pt x="148" y="148"/>
                </a:lnTo>
                <a:lnTo>
                  <a:pt x="148" y="148"/>
                </a:lnTo>
                <a:lnTo>
                  <a:pt x="158" y="146"/>
                </a:lnTo>
                <a:lnTo>
                  <a:pt x="168" y="144"/>
                </a:lnTo>
                <a:lnTo>
                  <a:pt x="178" y="140"/>
                </a:lnTo>
                <a:lnTo>
                  <a:pt x="186" y="136"/>
                </a:lnTo>
                <a:lnTo>
                  <a:pt x="196" y="130"/>
                </a:lnTo>
                <a:lnTo>
                  <a:pt x="202" y="122"/>
                </a:lnTo>
                <a:lnTo>
                  <a:pt x="208" y="116"/>
                </a:lnTo>
                <a:lnTo>
                  <a:pt x="214" y="106"/>
                </a:lnTo>
                <a:lnTo>
                  <a:pt x="214" y="106"/>
                </a:lnTo>
                <a:lnTo>
                  <a:pt x="200" y="96"/>
                </a:lnTo>
                <a:lnTo>
                  <a:pt x="184" y="90"/>
                </a:lnTo>
                <a:lnTo>
                  <a:pt x="166" y="84"/>
                </a:lnTo>
                <a:lnTo>
                  <a:pt x="148" y="84"/>
                </a:lnTo>
                <a:lnTo>
                  <a:pt x="148" y="84"/>
                </a:lnTo>
                <a:lnTo>
                  <a:pt x="130" y="84"/>
                </a:lnTo>
                <a:lnTo>
                  <a:pt x="112" y="90"/>
                </a:lnTo>
                <a:lnTo>
                  <a:pt x="96" y="96"/>
                </a:lnTo>
                <a:lnTo>
                  <a:pt x="82" y="106"/>
                </a:lnTo>
                <a:lnTo>
                  <a:pt x="82" y="106"/>
                </a:lnTo>
                <a:close/>
                <a:moveTo>
                  <a:pt x="148" y="0"/>
                </a:move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62" y="2"/>
                </a:lnTo>
                <a:lnTo>
                  <a:pt x="176" y="6"/>
                </a:lnTo>
                <a:lnTo>
                  <a:pt x="190" y="12"/>
                </a:lnTo>
                <a:lnTo>
                  <a:pt x="200" y="22"/>
                </a:lnTo>
                <a:lnTo>
                  <a:pt x="208" y="32"/>
                </a:lnTo>
                <a:lnTo>
                  <a:pt x="216" y="44"/>
                </a:lnTo>
                <a:lnTo>
                  <a:pt x="220" y="58"/>
                </a:lnTo>
                <a:lnTo>
                  <a:pt x="222" y="74"/>
                </a:lnTo>
                <a:lnTo>
                  <a:pt x="222" y="74"/>
                </a:lnTo>
                <a:lnTo>
                  <a:pt x="220" y="90"/>
                </a:lnTo>
                <a:lnTo>
                  <a:pt x="220" y="90"/>
                </a:lnTo>
                <a:lnTo>
                  <a:pt x="204" y="80"/>
                </a:lnTo>
                <a:lnTo>
                  <a:pt x="186" y="74"/>
                </a:lnTo>
                <a:lnTo>
                  <a:pt x="168" y="68"/>
                </a:lnTo>
                <a:lnTo>
                  <a:pt x="148" y="68"/>
                </a:lnTo>
                <a:lnTo>
                  <a:pt x="148" y="68"/>
                </a:lnTo>
                <a:lnTo>
                  <a:pt x="128" y="68"/>
                </a:lnTo>
                <a:lnTo>
                  <a:pt x="110" y="74"/>
                </a:lnTo>
                <a:lnTo>
                  <a:pt x="92" y="80"/>
                </a:lnTo>
                <a:lnTo>
                  <a:pt x="76" y="90"/>
                </a:lnTo>
                <a:lnTo>
                  <a:pt x="76" y="90"/>
                </a:lnTo>
                <a:lnTo>
                  <a:pt x="74" y="74"/>
                </a:lnTo>
                <a:lnTo>
                  <a:pt x="74" y="74"/>
                </a:lnTo>
                <a:lnTo>
                  <a:pt x="76" y="58"/>
                </a:lnTo>
                <a:lnTo>
                  <a:pt x="80" y="44"/>
                </a:lnTo>
                <a:lnTo>
                  <a:pt x="86" y="32"/>
                </a:lnTo>
                <a:lnTo>
                  <a:pt x="96" y="22"/>
                </a:lnTo>
                <a:lnTo>
                  <a:pt x="106" y="12"/>
                </a:lnTo>
                <a:lnTo>
                  <a:pt x="118" y="6"/>
                </a:lnTo>
                <a:lnTo>
                  <a:pt x="132" y="2"/>
                </a:lnTo>
                <a:lnTo>
                  <a:pt x="148" y="0"/>
                </a:lnTo>
                <a:lnTo>
                  <a:pt x="148" y="0"/>
                </a:lnTo>
                <a:close/>
                <a:moveTo>
                  <a:pt x="156" y="28"/>
                </a:moveTo>
                <a:lnTo>
                  <a:pt x="156" y="18"/>
                </a:lnTo>
                <a:lnTo>
                  <a:pt x="156" y="18"/>
                </a:lnTo>
                <a:lnTo>
                  <a:pt x="154" y="16"/>
                </a:lnTo>
                <a:lnTo>
                  <a:pt x="152" y="12"/>
                </a:lnTo>
                <a:lnTo>
                  <a:pt x="150" y="10"/>
                </a:lnTo>
                <a:lnTo>
                  <a:pt x="148" y="10"/>
                </a:lnTo>
                <a:lnTo>
                  <a:pt x="148" y="10"/>
                </a:lnTo>
                <a:lnTo>
                  <a:pt x="144" y="10"/>
                </a:lnTo>
                <a:lnTo>
                  <a:pt x="142" y="12"/>
                </a:lnTo>
                <a:lnTo>
                  <a:pt x="140" y="16"/>
                </a:lnTo>
                <a:lnTo>
                  <a:pt x="140" y="18"/>
                </a:lnTo>
                <a:lnTo>
                  <a:pt x="140" y="28"/>
                </a:lnTo>
                <a:lnTo>
                  <a:pt x="130" y="28"/>
                </a:lnTo>
                <a:lnTo>
                  <a:pt x="130" y="28"/>
                </a:lnTo>
                <a:lnTo>
                  <a:pt x="126" y="28"/>
                </a:lnTo>
                <a:lnTo>
                  <a:pt x="124" y="30"/>
                </a:lnTo>
                <a:lnTo>
                  <a:pt x="122" y="34"/>
                </a:lnTo>
                <a:lnTo>
                  <a:pt x="122" y="36"/>
                </a:lnTo>
                <a:lnTo>
                  <a:pt x="122" y="36"/>
                </a:lnTo>
                <a:lnTo>
                  <a:pt x="122" y="40"/>
                </a:lnTo>
                <a:lnTo>
                  <a:pt x="124" y="42"/>
                </a:lnTo>
                <a:lnTo>
                  <a:pt x="126" y="44"/>
                </a:lnTo>
                <a:lnTo>
                  <a:pt x="130" y="44"/>
                </a:lnTo>
                <a:lnTo>
                  <a:pt x="140" y="44"/>
                </a:lnTo>
                <a:lnTo>
                  <a:pt x="140" y="54"/>
                </a:lnTo>
                <a:lnTo>
                  <a:pt x="140" y="54"/>
                </a:lnTo>
                <a:lnTo>
                  <a:pt x="140" y="58"/>
                </a:lnTo>
                <a:lnTo>
                  <a:pt x="142" y="60"/>
                </a:lnTo>
                <a:lnTo>
                  <a:pt x="144" y="62"/>
                </a:lnTo>
                <a:lnTo>
                  <a:pt x="148" y="62"/>
                </a:lnTo>
                <a:lnTo>
                  <a:pt x="148" y="62"/>
                </a:lnTo>
                <a:lnTo>
                  <a:pt x="150" y="62"/>
                </a:lnTo>
                <a:lnTo>
                  <a:pt x="152" y="60"/>
                </a:lnTo>
                <a:lnTo>
                  <a:pt x="154" y="58"/>
                </a:lnTo>
                <a:lnTo>
                  <a:pt x="156" y="54"/>
                </a:lnTo>
                <a:lnTo>
                  <a:pt x="156" y="44"/>
                </a:lnTo>
                <a:lnTo>
                  <a:pt x="166" y="44"/>
                </a:lnTo>
                <a:lnTo>
                  <a:pt x="166" y="44"/>
                </a:lnTo>
                <a:lnTo>
                  <a:pt x="168" y="44"/>
                </a:lnTo>
                <a:lnTo>
                  <a:pt x="170" y="42"/>
                </a:lnTo>
                <a:lnTo>
                  <a:pt x="172" y="40"/>
                </a:lnTo>
                <a:lnTo>
                  <a:pt x="174" y="36"/>
                </a:lnTo>
                <a:lnTo>
                  <a:pt x="174" y="36"/>
                </a:lnTo>
                <a:lnTo>
                  <a:pt x="172" y="34"/>
                </a:lnTo>
                <a:lnTo>
                  <a:pt x="170" y="30"/>
                </a:lnTo>
                <a:lnTo>
                  <a:pt x="168" y="28"/>
                </a:lnTo>
                <a:lnTo>
                  <a:pt x="166" y="28"/>
                </a:lnTo>
                <a:lnTo>
                  <a:pt x="156" y="28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vert="horz" wrap="square" lIns="152348" tIns="76175" rIns="152348" bIns="76175" numCol="1" anchor="b" anchorCtr="0" compatLnSpc="1">
            <a:prstTxWarp prst="textNoShape">
              <a:avLst/>
            </a:prstTxWarp>
            <a:noAutofit/>
          </a:bodyPr>
          <a:lstStyle/>
          <a:p>
            <a:pPr defTabSz="1828635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20" name="Rektangel 84"/>
          <p:cNvSpPr/>
          <p:nvPr/>
        </p:nvSpPr>
        <p:spPr>
          <a:xfrm>
            <a:off x="3259439" y="9805354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b" anchorCtr="0">
            <a:noAutofit/>
          </a:bodyPr>
          <a:lstStyle/>
          <a:p>
            <a:pPr algn="ctr" defTabSz="1828635"/>
            <a:r>
              <a:rPr lang="nb-NO" sz="20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skere</a:t>
            </a:r>
          </a:p>
        </p:txBody>
      </p:sp>
      <p:sp>
        <p:nvSpPr>
          <p:cNvPr id="21" name="Rektangel 74"/>
          <p:cNvSpPr/>
          <p:nvPr/>
        </p:nvSpPr>
        <p:spPr>
          <a:xfrm>
            <a:off x="11118187" y="9805354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b" anchorCtr="0">
            <a:noAutofit/>
          </a:bodyPr>
          <a:lstStyle/>
          <a:p>
            <a:pPr algn="ctr" defTabSz="1828635"/>
            <a:r>
              <a:rPr lang="nb-NO" sz="20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yndigheter</a:t>
            </a:r>
          </a:p>
        </p:txBody>
      </p:sp>
      <p:sp>
        <p:nvSpPr>
          <p:cNvPr id="22" name="Freeform 4838"/>
          <p:cNvSpPr>
            <a:spLocks noEditPoints="1"/>
          </p:cNvSpPr>
          <p:nvPr/>
        </p:nvSpPr>
        <p:spPr bwMode="auto">
          <a:xfrm>
            <a:off x="11934419" y="10295509"/>
            <a:ext cx="703613" cy="699473"/>
          </a:xfrm>
          <a:custGeom>
            <a:avLst/>
            <a:gdLst>
              <a:gd name="T0" fmla="*/ 24 w 340"/>
              <a:gd name="T1" fmla="*/ 266 h 338"/>
              <a:gd name="T2" fmla="*/ 18 w 340"/>
              <a:gd name="T3" fmla="*/ 270 h 338"/>
              <a:gd name="T4" fmla="*/ 14 w 340"/>
              <a:gd name="T5" fmla="*/ 276 h 338"/>
              <a:gd name="T6" fmla="*/ 16 w 340"/>
              <a:gd name="T7" fmla="*/ 280 h 338"/>
              <a:gd name="T8" fmla="*/ 20 w 340"/>
              <a:gd name="T9" fmla="*/ 286 h 338"/>
              <a:gd name="T10" fmla="*/ 316 w 340"/>
              <a:gd name="T11" fmla="*/ 286 h 338"/>
              <a:gd name="T12" fmla="*/ 320 w 340"/>
              <a:gd name="T13" fmla="*/ 286 h 338"/>
              <a:gd name="T14" fmla="*/ 324 w 340"/>
              <a:gd name="T15" fmla="*/ 280 h 338"/>
              <a:gd name="T16" fmla="*/ 326 w 340"/>
              <a:gd name="T17" fmla="*/ 276 h 338"/>
              <a:gd name="T18" fmla="*/ 322 w 340"/>
              <a:gd name="T19" fmla="*/ 270 h 338"/>
              <a:gd name="T20" fmla="*/ 316 w 340"/>
              <a:gd name="T21" fmla="*/ 266 h 338"/>
              <a:gd name="T22" fmla="*/ 298 w 340"/>
              <a:gd name="T23" fmla="*/ 192 h 338"/>
              <a:gd name="T24" fmla="*/ 316 w 340"/>
              <a:gd name="T25" fmla="*/ 192 h 338"/>
              <a:gd name="T26" fmla="*/ 322 w 340"/>
              <a:gd name="T27" fmla="*/ 190 h 338"/>
              <a:gd name="T28" fmla="*/ 326 w 340"/>
              <a:gd name="T29" fmla="*/ 182 h 338"/>
              <a:gd name="T30" fmla="*/ 324 w 340"/>
              <a:gd name="T31" fmla="*/ 178 h 338"/>
              <a:gd name="T32" fmla="*/ 320 w 340"/>
              <a:gd name="T33" fmla="*/ 172 h 338"/>
              <a:gd name="T34" fmla="*/ 24 w 340"/>
              <a:gd name="T35" fmla="*/ 172 h 338"/>
              <a:gd name="T36" fmla="*/ 20 w 340"/>
              <a:gd name="T37" fmla="*/ 172 h 338"/>
              <a:gd name="T38" fmla="*/ 16 w 340"/>
              <a:gd name="T39" fmla="*/ 178 h 338"/>
              <a:gd name="T40" fmla="*/ 14 w 340"/>
              <a:gd name="T41" fmla="*/ 182 h 338"/>
              <a:gd name="T42" fmla="*/ 18 w 340"/>
              <a:gd name="T43" fmla="*/ 190 h 338"/>
              <a:gd name="T44" fmla="*/ 24 w 340"/>
              <a:gd name="T45" fmla="*/ 192 h 338"/>
              <a:gd name="T46" fmla="*/ 42 w 340"/>
              <a:gd name="T47" fmla="*/ 266 h 338"/>
              <a:gd name="T48" fmla="*/ 248 w 340"/>
              <a:gd name="T49" fmla="*/ 266 h 338"/>
              <a:gd name="T50" fmla="*/ 230 w 340"/>
              <a:gd name="T51" fmla="*/ 192 h 338"/>
              <a:gd name="T52" fmla="*/ 248 w 340"/>
              <a:gd name="T53" fmla="*/ 266 h 338"/>
              <a:gd name="T54" fmla="*/ 162 w 340"/>
              <a:gd name="T55" fmla="*/ 266 h 338"/>
              <a:gd name="T56" fmla="*/ 178 w 340"/>
              <a:gd name="T57" fmla="*/ 192 h 338"/>
              <a:gd name="T58" fmla="*/ 110 w 340"/>
              <a:gd name="T59" fmla="*/ 266 h 338"/>
              <a:gd name="T60" fmla="*/ 92 w 340"/>
              <a:gd name="T61" fmla="*/ 192 h 338"/>
              <a:gd name="T62" fmla="*/ 110 w 340"/>
              <a:gd name="T63" fmla="*/ 266 h 338"/>
              <a:gd name="T64" fmla="*/ 340 w 340"/>
              <a:gd name="T65" fmla="*/ 322 h 338"/>
              <a:gd name="T66" fmla="*/ 334 w 340"/>
              <a:gd name="T67" fmla="*/ 334 h 338"/>
              <a:gd name="T68" fmla="*/ 324 w 340"/>
              <a:gd name="T69" fmla="*/ 338 h 338"/>
              <a:gd name="T70" fmla="*/ 16 w 340"/>
              <a:gd name="T71" fmla="*/ 338 h 338"/>
              <a:gd name="T72" fmla="*/ 6 w 340"/>
              <a:gd name="T73" fmla="*/ 334 h 338"/>
              <a:gd name="T74" fmla="*/ 0 w 340"/>
              <a:gd name="T75" fmla="*/ 322 h 338"/>
              <a:gd name="T76" fmla="*/ 2 w 340"/>
              <a:gd name="T77" fmla="*/ 316 h 338"/>
              <a:gd name="T78" fmla="*/ 10 w 340"/>
              <a:gd name="T79" fmla="*/ 308 h 338"/>
              <a:gd name="T80" fmla="*/ 324 w 340"/>
              <a:gd name="T81" fmla="*/ 306 h 338"/>
              <a:gd name="T82" fmla="*/ 330 w 340"/>
              <a:gd name="T83" fmla="*/ 308 h 338"/>
              <a:gd name="T84" fmla="*/ 338 w 340"/>
              <a:gd name="T85" fmla="*/ 316 h 338"/>
              <a:gd name="T86" fmla="*/ 340 w 340"/>
              <a:gd name="T87" fmla="*/ 322 h 338"/>
              <a:gd name="T88" fmla="*/ 82 w 340"/>
              <a:gd name="T89" fmla="*/ 154 h 338"/>
              <a:gd name="T90" fmla="*/ 84 w 340"/>
              <a:gd name="T91" fmla="*/ 136 h 338"/>
              <a:gd name="T92" fmla="*/ 98 w 340"/>
              <a:gd name="T93" fmla="*/ 104 h 338"/>
              <a:gd name="T94" fmla="*/ 120 w 340"/>
              <a:gd name="T95" fmla="*/ 80 h 338"/>
              <a:gd name="T96" fmla="*/ 152 w 340"/>
              <a:gd name="T97" fmla="*/ 68 h 338"/>
              <a:gd name="T98" fmla="*/ 170 w 340"/>
              <a:gd name="T99" fmla="*/ 66 h 338"/>
              <a:gd name="T100" fmla="*/ 204 w 340"/>
              <a:gd name="T101" fmla="*/ 72 h 338"/>
              <a:gd name="T102" fmla="*/ 232 w 340"/>
              <a:gd name="T103" fmla="*/ 92 h 338"/>
              <a:gd name="T104" fmla="*/ 250 w 340"/>
              <a:gd name="T105" fmla="*/ 118 h 338"/>
              <a:gd name="T106" fmla="*/ 258 w 340"/>
              <a:gd name="T107" fmla="*/ 154 h 338"/>
              <a:gd name="T108" fmla="*/ 192 w 340"/>
              <a:gd name="T109" fmla="*/ 54 h 338"/>
              <a:gd name="T110" fmla="*/ 148 w 340"/>
              <a:gd name="T111" fmla="*/ 26 h 338"/>
              <a:gd name="T112" fmla="*/ 192 w 340"/>
              <a:gd name="T113" fmla="*/ 26 h 338"/>
              <a:gd name="T114" fmla="*/ 192 w 340"/>
              <a:gd name="T115" fmla="*/ 54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" h="338">
                <a:moveTo>
                  <a:pt x="24" y="266"/>
                </a:moveTo>
                <a:lnTo>
                  <a:pt x="24" y="266"/>
                </a:lnTo>
                <a:lnTo>
                  <a:pt x="20" y="268"/>
                </a:lnTo>
                <a:lnTo>
                  <a:pt x="18" y="270"/>
                </a:lnTo>
                <a:lnTo>
                  <a:pt x="16" y="272"/>
                </a:lnTo>
                <a:lnTo>
                  <a:pt x="14" y="276"/>
                </a:lnTo>
                <a:lnTo>
                  <a:pt x="14" y="276"/>
                </a:lnTo>
                <a:lnTo>
                  <a:pt x="16" y="280"/>
                </a:lnTo>
                <a:lnTo>
                  <a:pt x="18" y="284"/>
                </a:lnTo>
                <a:lnTo>
                  <a:pt x="20" y="286"/>
                </a:lnTo>
                <a:lnTo>
                  <a:pt x="24" y="286"/>
                </a:lnTo>
                <a:lnTo>
                  <a:pt x="316" y="286"/>
                </a:lnTo>
                <a:lnTo>
                  <a:pt x="316" y="286"/>
                </a:lnTo>
                <a:lnTo>
                  <a:pt x="320" y="286"/>
                </a:lnTo>
                <a:lnTo>
                  <a:pt x="322" y="284"/>
                </a:lnTo>
                <a:lnTo>
                  <a:pt x="324" y="280"/>
                </a:lnTo>
                <a:lnTo>
                  <a:pt x="326" y="276"/>
                </a:lnTo>
                <a:lnTo>
                  <a:pt x="326" y="276"/>
                </a:lnTo>
                <a:lnTo>
                  <a:pt x="324" y="272"/>
                </a:lnTo>
                <a:lnTo>
                  <a:pt x="322" y="270"/>
                </a:lnTo>
                <a:lnTo>
                  <a:pt x="320" y="268"/>
                </a:lnTo>
                <a:lnTo>
                  <a:pt x="316" y="266"/>
                </a:lnTo>
                <a:lnTo>
                  <a:pt x="298" y="266"/>
                </a:lnTo>
                <a:lnTo>
                  <a:pt x="298" y="192"/>
                </a:lnTo>
                <a:lnTo>
                  <a:pt x="316" y="192"/>
                </a:lnTo>
                <a:lnTo>
                  <a:pt x="316" y="192"/>
                </a:lnTo>
                <a:lnTo>
                  <a:pt x="320" y="192"/>
                </a:lnTo>
                <a:lnTo>
                  <a:pt x="322" y="190"/>
                </a:lnTo>
                <a:lnTo>
                  <a:pt x="324" y="186"/>
                </a:lnTo>
                <a:lnTo>
                  <a:pt x="326" y="182"/>
                </a:lnTo>
                <a:lnTo>
                  <a:pt x="326" y="182"/>
                </a:lnTo>
                <a:lnTo>
                  <a:pt x="324" y="178"/>
                </a:lnTo>
                <a:lnTo>
                  <a:pt x="322" y="176"/>
                </a:lnTo>
                <a:lnTo>
                  <a:pt x="320" y="172"/>
                </a:lnTo>
                <a:lnTo>
                  <a:pt x="316" y="172"/>
                </a:lnTo>
                <a:lnTo>
                  <a:pt x="24" y="172"/>
                </a:lnTo>
                <a:lnTo>
                  <a:pt x="24" y="172"/>
                </a:lnTo>
                <a:lnTo>
                  <a:pt x="20" y="172"/>
                </a:lnTo>
                <a:lnTo>
                  <a:pt x="18" y="176"/>
                </a:lnTo>
                <a:lnTo>
                  <a:pt x="16" y="178"/>
                </a:lnTo>
                <a:lnTo>
                  <a:pt x="14" y="182"/>
                </a:lnTo>
                <a:lnTo>
                  <a:pt x="14" y="182"/>
                </a:lnTo>
                <a:lnTo>
                  <a:pt x="16" y="186"/>
                </a:lnTo>
                <a:lnTo>
                  <a:pt x="18" y="190"/>
                </a:lnTo>
                <a:lnTo>
                  <a:pt x="20" y="192"/>
                </a:lnTo>
                <a:lnTo>
                  <a:pt x="24" y="192"/>
                </a:lnTo>
                <a:lnTo>
                  <a:pt x="42" y="192"/>
                </a:lnTo>
                <a:lnTo>
                  <a:pt x="42" y="266"/>
                </a:lnTo>
                <a:lnTo>
                  <a:pt x="24" y="266"/>
                </a:lnTo>
                <a:close/>
                <a:moveTo>
                  <a:pt x="248" y="266"/>
                </a:moveTo>
                <a:lnTo>
                  <a:pt x="230" y="266"/>
                </a:lnTo>
                <a:lnTo>
                  <a:pt x="230" y="192"/>
                </a:lnTo>
                <a:lnTo>
                  <a:pt x="248" y="192"/>
                </a:lnTo>
                <a:lnTo>
                  <a:pt x="248" y="266"/>
                </a:lnTo>
                <a:close/>
                <a:moveTo>
                  <a:pt x="178" y="266"/>
                </a:moveTo>
                <a:lnTo>
                  <a:pt x="162" y="266"/>
                </a:lnTo>
                <a:lnTo>
                  <a:pt x="162" y="192"/>
                </a:lnTo>
                <a:lnTo>
                  <a:pt x="178" y="192"/>
                </a:lnTo>
                <a:lnTo>
                  <a:pt x="178" y="266"/>
                </a:lnTo>
                <a:close/>
                <a:moveTo>
                  <a:pt x="110" y="266"/>
                </a:moveTo>
                <a:lnTo>
                  <a:pt x="92" y="266"/>
                </a:lnTo>
                <a:lnTo>
                  <a:pt x="92" y="192"/>
                </a:lnTo>
                <a:lnTo>
                  <a:pt x="110" y="192"/>
                </a:lnTo>
                <a:lnTo>
                  <a:pt x="110" y="266"/>
                </a:lnTo>
                <a:close/>
                <a:moveTo>
                  <a:pt x="340" y="322"/>
                </a:moveTo>
                <a:lnTo>
                  <a:pt x="340" y="322"/>
                </a:lnTo>
                <a:lnTo>
                  <a:pt x="338" y="328"/>
                </a:lnTo>
                <a:lnTo>
                  <a:pt x="334" y="334"/>
                </a:lnTo>
                <a:lnTo>
                  <a:pt x="330" y="336"/>
                </a:lnTo>
                <a:lnTo>
                  <a:pt x="324" y="338"/>
                </a:lnTo>
                <a:lnTo>
                  <a:pt x="16" y="338"/>
                </a:lnTo>
                <a:lnTo>
                  <a:pt x="16" y="338"/>
                </a:lnTo>
                <a:lnTo>
                  <a:pt x="10" y="336"/>
                </a:lnTo>
                <a:lnTo>
                  <a:pt x="6" y="334"/>
                </a:lnTo>
                <a:lnTo>
                  <a:pt x="2" y="328"/>
                </a:lnTo>
                <a:lnTo>
                  <a:pt x="0" y="322"/>
                </a:lnTo>
                <a:lnTo>
                  <a:pt x="0" y="322"/>
                </a:lnTo>
                <a:lnTo>
                  <a:pt x="2" y="316"/>
                </a:lnTo>
                <a:lnTo>
                  <a:pt x="6" y="310"/>
                </a:lnTo>
                <a:lnTo>
                  <a:pt x="10" y="308"/>
                </a:lnTo>
                <a:lnTo>
                  <a:pt x="16" y="306"/>
                </a:lnTo>
                <a:lnTo>
                  <a:pt x="324" y="306"/>
                </a:lnTo>
                <a:lnTo>
                  <a:pt x="324" y="306"/>
                </a:lnTo>
                <a:lnTo>
                  <a:pt x="330" y="308"/>
                </a:lnTo>
                <a:lnTo>
                  <a:pt x="334" y="310"/>
                </a:lnTo>
                <a:lnTo>
                  <a:pt x="338" y="316"/>
                </a:lnTo>
                <a:lnTo>
                  <a:pt x="340" y="322"/>
                </a:lnTo>
                <a:lnTo>
                  <a:pt x="340" y="322"/>
                </a:lnTo>
                <a:close/>
                <a:moveTo>
                  <a:pt x="258" y="154"/>
                </a:moveTo>
                <a:lnTo>
                  <a:pt x="82" y="154"/>
                </a:lnTo>
                <a:lnTo>
                  <a:pt x="82" y="154"/>
                </a:lnTo>
                <a:lnTo>
                  <a:pt x="84" y="136"/>
                </a:lnTo>
                <a:lnTo>
                  <a:pt x="90" y="118"/>
                </a:lnTo>
                <a:lnTo>
                  <a:pt x="98" y="104"/>
                </a:lnTo>
                <a:lnTo>
                  <a:pt x="108" y="92"/>
                </a:lnTo>
                <a:lnTo>
                  <a:pt x="120" y="80"/>
                </a:lnTo>
                <a:lnTo>
                  <a:pt x="136" y="72"/>
                </a:lnTo>
                <a:lnTo>
                  <a:pt x="152" y="68"/>
                </a:lnTo>
                <a:lnTo>
                  <a:pt x="170" y="66"/>
                </a:lnTo>
                <a:lnTo>
                  <a:pt x="170" y="66"/>
                </a:lnTo>
                <a:lnTo>
                  <a:pt x="188" y="68"/>
                </a:lnTo>
                <a:lnTo>
                  <a:pt x="204" y="72"/>
                </a:lnTo>
                <a:lnTo>
                  <a:pt x="220" y="80"/>
                </a:lnTo>
                <a:lnTo>
                  <a:pt x="232" y="92"/>
                </a:lnTo>
                <a:lnTo>
                  <a:pt x="242" y="104"/>
                </a:lnTo>
                <a:lnTo>
                  <a:pt x="250" y="118"/>
                </a:lnTo>
                <a:lnTo>
                  <a:pt x="256" y="136"/>
                </a:lnTo>
                <a:lnTo>
                  <a:pt x="258" y="154"/>
                </a:lnTo>
                <a:lnTo>
                  <a:pt x="258" y="154"/>
                </a:lnTo>
                <a:close/>
                <a:moveTo>
                  <a:pt x="192" y="54"/>
                </a:moveTo>
                <a:lnTo>
                  <a:pt x="148" y="54"/>
                </a:lnTo>
                <a:lnTo>
                  <a:pt x="148" y="26"/>
                </a:lnTo>
                <a:lnTo>
                  <a:pt x="170" y="0"/>
                </a:lnTo>
                <a:lnTo>
                  <a:pt x="192" y="26"/>
                </a:lnTo>
                <a:lnTo>
                  <a:pt x="192" y="26"/>
                </a:lnTo>
                <a:lnTo>
                  <a:pt x="192" y="54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vert="horz" wrap="square" lIns="152348" tIns="76175" rIns="152348" bIns="76175" numCol="1" anchor="t" anchorCtr="0" compatLnSpc="1">
            <a:prstTxWarp prst="textNoShape">
              <a:avLst/>
            </a:prstTxWarp>
          </a:bodyPr>
          <a:lstStyle/>
          <a:p>
            <a:pPr defTabSz="1828635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23" name="Rektangel 78"/>
          <p:cNvSpPr/>
          <p:nvPr/>
        </p:nvSpPr>
        <p:spPr>
          <a:xfrm>
            <a:off x="13681952" y="9805354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b" anchorCtr="0">
            <a:noAutofit/>
          </a:bodyPr>
          <a:lstStyle/>
          <a:p>
            <a:pPr algn="ctr" defTabSz="1828635"/>
            <a:r>
              <a:rPr lang="nb-NO" sz="20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æringsliv</a:t>
            </a:r>
          </a:p>
        </p:txBody>
      </p:sp>
      <p:sp>
        <p:nvSpPr>
          <p:cNvPr id="26" name="Freeform 4900"/>
          <p:cNvSpPr>
            <a:spLocks noEditPoints="1"/>
          </p:cNvSpPr>
          <p:nvPr/>
        </p:nvSpPr>
        <p:spPr bwMode="auto">
          <a:xfrm flipH="1">
            <a:off x="4118157" y="10319725"/>
            <a:ext cx="622261" cy="651041"/>
          </a:xfrm>
          <a:custGeom>
            <a:avLst/>
            <a:gdLst>
              <a:gd name="T0" fmla="*/ 76 w 336"/>
              <a:gd name="T1" fmla="*/ 356 h 396"/>
              <a:gd name="T2" fmla="*/ 66 w 336"/>
              <a:gd name="T3" fmla="*/ 356 h 396"/>
              <a:gd name="T4" fmla="*/ 62 w 336"/>
              <a:gd name="T5" fmla="*/ 342 h 396"/>
              <a:gd name="T6" fmla="*/ 110 w 336"/>
              <a:gd name="T7" fmla="*/ 266 h 396"/>
              <a:gd name="T8" fmla="*/ 120 w 336"/>
              <a:gd name="T9" fmla="*/ 270 h 396"/>
              <a:gd name="T10" fmla="*/ 120 w 336"/>
              <a:gd name="T11" fmla="*/ 280 h 396"/>
              <a:gd name="T12" fmla="*/ 164 w 336"/>
              <a:gd name="T13" fmla="*/ 296 h 396"/>
              <a:gd name="T14" fmla="*/ 160 w 336"/>
              <a:gd name="T15" fmla="*/ 386 h 396"/>
              <a:gd name="T16" fmla="*/ 170 w 336"/>
              <a:gd name="T17" fmla="*/ 396 h 396"/>
              <a:gd name="T18" fmla="*/ 180 w 336"/>
              <a:gd name="T19" fmla="*/ 390 h 396"/>
              <a:gd name="T20" fmla="*/ 180 w 336"/>
              <a:gd name="T21" fmla="*/ 298 h 396"/>
              <a:gd name="T22" fmla="*/ 170 w 336"/>
              <a:gd name="T23" fmla="*/ 292 h 396"/>
              <a:gd name="T24" fmla="*/ 76 w 336"/>
              <a:gd name="T25" fmla="*/ 18 h 396"/>
              <a:gd name="T26" fmla="*/ 34 w 336"/>
              <a:gd name="T27" fmla="*/ 0 h 396"/>
              <a:gd name="T28" fmla="*/ 2 w 336"/>
              <a:gd name="T29" fmla="*/ 48 h 396"/>
              <a:gd name="T30" fmla="*/ 2 w 336"/>
              <a:gd name="T31" fmla="*/ 66 h 396"/>
              <a:gd name="T32" fmla="*/ 44 w 336"/>
              <a:gd name="T33" fmla="*/ 88 h 396"/>
              <a:gd name="T34" fmla="*/ 82 w 336"/>
              <a:gd name="T35" fmla="*/ 40 h 396"/>
              <a:gd name="T36" fmla="*/ 82 w 336"/>
              <a:gd name="T37" fmla="*/ 28 h 396"/>
              <a:gd name="T38" fmla="*/ 242 w 336"/>
              <a:gd name="T39" fmla="*/ 130 h 396"/>
              <a:gd name="T40" fmla="*/ 238 w 336"/>
              <a:gd name="T41" fmla="*/ 120 h 396"/>
              <a:gd name="T42" fmla="*/ 98 w 336"/>
              <a:gd name="T43" fmla="*/ 42 h 396"/>
              <a:gd name="T44" fmla="*/ 70 w 336"/>
              <a:gd name="T45" fmla="*/ 86 h 396"/>
              <a:gd name="T46" fmla="*/ 70 w 336"/>
              <a:gd name="T47" fmla="*/ 98 h 396"/>
              <a:gd name="T48" fmla="*/ 146 w 336"/>
              <a:gd name="T49" fmla="*/ 132 h 396"/>
              <a:gd name="T50" fmla="*/ 170 w 336"/>
              <a:gd name="T51" fmla="*/ 120 h 396"/>
              <a:gd name="T52" fmla="*/ 194 w 336"/>
              <a:gd name="T53" fmla="*/ 130 h 396"/>
              <a:gd name="T54" fmla="*/ 204 w 336"/>
              <a:gd name="T55" fmla="*/ 154 h 396"/>
              <a:gd name="T56" fmla="*/ 204 w 336"/>
              <a:gd name="T57" fmla="*/ 176 h 396"/>
              <a:gd name="T58" fmla="*/ 214 w 336"/>
              <a:gd name="T59" fmla="*/ 176 h 396"/>
              <a:gd name="T60" fmla="*/ 304 w 336"/>
              <a:gd name="T61" fmla="*/ 180 h 396"/>
              <a:gd name="T62" fmla="*/ 188 w 336"/>
              <a:gd name="T63" fmla="*/ 184 h 396"/>
              <a:gd name="T64" fmla="*/ 162 w 336"/>
              <a:gd name="T65" fmla="*/ 188 h 396"/>
              <a:gd name="T66" fmla="*/ 118 w 336"/>
              <a:gd name="T67" fmla="*/ 248 h 396"/>
              <a:gd name="T68" fmla="*/ 122 w 336"/>
              <a:gd name="T69" fmla="*/ 258 h 396"/>
              <a:gd name="T70" fmla="*/ 136 w 336"/>
              <a:gd name="T71" fmla="*/ 254 h 396"/>
              <a:gd name="T72" fmla="*/ 162 w 336"/>
              <a:gd name="T73" fmla="*/ 274 h 396"/>
              <a:gd name="T74" fmla="*/ 170 w 336"/>
              <a:gd name="T75" fmla="*/ 280 h 396"/>
              <a:gd name="T76" fmla="*/ 180 w 336"/>
              <a:gd name="T77" fmla="*/ 270 h 396"/>
              <a:gd name="T78" fmla="*/ 208 w 336"/>
              <a:gd name="T79" fmla="*/ 258 h 396"/>
              <a:gd name="T80" fmla="*/ 218 w 336"/>
              <a:gd name="T81" fmla="*/ 258 h 396"/>
              <a:gd name="T82" fmla="*/ 222 w 336"/>
              <a:gd name="T83" fmla="*/ 244 h 396"/>
              <a:gd name="T84" fmla="*/ 328 w 336"/>
              <a:gd name="T85" fmla="*/ 172 h 396"/>
              <a:gd name="T86" fmla="*/ 294 w 336"/>
              <a:gd name="T87" fmla="*/ 216 h 396"/>
              <a:gd name="T88" fmla="*/ 296 w 336"/>
              <a:gd name="T89" fmla="*/ 228 h 396"/>
              <a:gd name="T90" fmla="*/ 304 w 336"/>
              <a:gd name="T91" fmla="*/ 232 h 396"/>
              <a:gd name="T92" fmla="*/ 334 w 336"/>
              <a:gd name="T93" fmla="*/ 186 h 396"/>
              <a:gd name="T94" fmla="*/ 332 w 336"/>
              <a:gd name="T95" fmla="*/ 172 h 396"/>
              <a:gd name="T96" fmla="*/ 234 w 336"/>
              <a:gd name="T97" fmla="*/ 268 h 396"/>
              <a:gd name="T98" fmla="*/ 224 w 336"/>
              <a:gd name="T99" fmla="*/ 266 h 396"/>
              <a:gd name="T100" fmla="*/ 220 w 336"/>
              <a:gd name="T101" fmla="*/ 280 h 396"/>
              <a:gd name="T102" fmla="*/ 270 w 336"/>
              <a:gd name="T103" fmla="*/ 358 h 396"/>
              <a:gd name="T104" fmla="*/ 278 w 336"/>
              <a:gd name="T105" fmla="*/ 354 h 396"/>
              <a:gd name="T106" fmla="*/ 238 w 336"/>
              <a:gd name="T107" fmla="*/ 270 h 396"/>
              <a:gd name="T108" fmla="*/ 182 w 336"/>
              <a:gd name="T109" fmla="*/ 168 h 396"/>
              <a:gd name="T110" fmla="*/ 164 w 336"/>
              <a:gd name="T111" fmla="*/ 170 h 396"/>
              <a:gd name="T112" fmla="*/ 152 w 336"/>
              <a:gd name="T113" fmla="*/ 154 h 396"/>
              <a:gd name="T114" fmla="*/ 170 w 336"/>
              <a:gd name="T115" fmla="*/ 136 h 396"/>
              <a:gd name="T116" fmla="*/ 186 w 336"/>
              <a:gd name="T117" fmla="*/ 148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" h="396">
                <a:moveTo>
                  <a:pt x="120" y="280"/>
                </a:moveTo>
                <a:lnTo>
                  <a:pt x="78" y="352"/>
                </a:lnTo>
                <a:lnTo>
                  <a:pt x="78" y="352"/>
                </a:lnTo>
                <a:lnTo>
                  <a:pt x="76" y="356"/>
                </a:lnTo>
                <a:lnTo>
                  <a:pt x="70" y="358"/>
                </a:lnTo>
                <a:lnTo>
                  <a:pt x="70" y="358"/>
                </a:lnTo>
                <a:lnTo>
                  <a:pt x="66" y="356"/>
                </a:lnTo>
                <a:lnTo>
                  <a:pt x="66" y="356"/>
                </a:lnTo>
                <a:lnTo>
                  <a:pt x="62" y="354"/>
                </a:lnTo>
                <a:lnTo>
                  <a:pt x="60" y="350"/>
                </a:lnTo>
                <a:lnTo>
                  <a:pt x="60" y="346"/>
                </a:lnTo>
                <a:lnTo>
                  <a:pt x="62" y="342"/>
                </a:lnTo>
                <a:lnTo>
                  <a:pt x="104" y="270"/>
                </a:lnTo>
                <a:lnTo>
                  <a:pt x="104" y="270"/>
                </a:lnTo>
                <a:lnTo>
                  <a:pt x="106" y="268"/>
                </a:lnTo>
                <a:lnTo>
                  <a:pt x="110" y="266"/>
                </a:lnTo>
                <a:lnTo>
                  <a:pt x="112" y="266"/>
                </a:lnTo>
                <a:lnTo>
                  <a:pt x="116" y="266"/>
                </a:lnTo>
                <a:lnTo>
                  <a:pt x="116" y="266"/>
                </a:lnTo>
                <a:lnTo>
                  <a:pt x="120" y="270"/>
                </a:lnTo>
                <a:lnTo>
                  <a:pt x="122" y="272"/>
                </a:lnTo>
                <a:lnTo>
                  <a:pt x="122" y="276"/>
                </a:lnTo>
                <a:lnTo>
                  <a:pt x="120" y="280"/>
                </a:lnTo>
                <a:lnTo>
                  <a:pt x="120" y="280"/>
                </a:lnTo>
                <a:close/>
                <a:moveTo>
                  <a:pt x="170" y="292"/>
                </a:moveTo>
                <a:lnTo>
                  <a:pt x="170" y="292"/>
                </a:lnTo>
                <a:lnTo>
                  <a:pt x="166" y="292"/>
                </a:lnTo>
                <a:lnTo>
                  <a:pt x="164" y="296"/>
                </a:lnTo>
                <a:lnTo>
                  <a:pt x="162" y="298"/>
                </a:lnTo>
                <a:lnTo>
                  <a:pt x="160" y="302"/>
                </a:lnTo>
                <a:lnTo>
                  <a:pt x="160" y="386"/>
                </a:lnTo>
                <a:lnTo>
                  <a:pt x="160" y="386"/>
                </a:lnTo>
                <a:lnTo>
                  <a:pt x="162" y="390"/>
                </a:lnTo>
                <a:lnTo>
                  <a:pt x="164" y="394"/>
                </a:lnTo>
                <a:lnTo>
                  <a:pt x="166" y="396"/>
                </a:lnTo>
                <a:lnTo>
                  <a:pt x="170" y="396"/>
                </a:lnTo>
                <a:lnTo>
                  <a:pt x="170" y="396"/>
                </a:lnTo>
                <a:lnTo>
                  <a:pt x="174" y="396"/>
                </a:lnTo>
                <a:lnTo>
                  <a:pt x="178" y="394"/>
                </a:lnTo>
                <a:lnTo>
                  <a:pt x="180" y="390"/>
                </a:lnTo>
                <a:lnTo>
                  <a:pt x="180" y="386"/>
                </a:lnTo>
                <a:lnTo>
                  <a:pt x="180" y="302"/>
                </a:lnTo>
                <a:lnTo>
                  <a:pt x="180" y="302"/>
                </a:lnTo>
                <a:lnTo>
                  <a:pt x="180" y="298"/>
                </a:lnTo>
                <a:lnTo>
                  <a:pt x="178" y="296"/>
                </a:lnTo>
                <a:lnTo>
                  <a:pt x="174" y="292"/>
                </a:lnTo>
                <a:lnTo>
                  <a:pt x="170" y="292"/>
                </a:lnTo>
                <a:lnTo>
                  <a:pt x="170" y="292"/>
                </a:lnTo>
                <a:close/>
                <a:moveTo>
                  <a:pt x="82" y="28"/>
                </a:moveTo>
                <a:lnTo>
                  <a:pt x="82" y="28"/>
                </a:lnTo>
                <a:lnTo>
                  <a:pt x="80" y="22"/>
                </a:lnTo>
                <a:lnTo>
                  <a:pt x="76" y="18"/>
                </a:lnTo>
                <a:lnTo>
                  <a:pt x="46" y="2"/>
                </a:lnTo>
                <a:lnTo>
                  <a:pt x="46" y="2"/>
                </a:lnTo>
                <a:lnTo>
                  <a:pt x="40" y="0"/>
                </a:lnTo>
                <a:lnTo>
                  <a:pt x="34" y="0"/>
                </a:lnTo>
                <a:lnTo>
                  <a:pt x="28" y="2"/>
                </a:lnTo>
                <a:lnTo>
                  <a:pt x="24" y="8"/>
                </a:lnTo>
                <a:lnTo>
                  <a:pt x="2" y="48"/>
                </a:lnTo>
                <a:lnTo>
                  <a:pt x="2" y="48"/>
                </a:lnTo>
                <a:lnTo>
                  <a:pt x="0" y="54"/>
                </a:lnTo>
                <a:lnTo>
                  <a:pt x="0" y="60"/>
                </a:lnTo>
                <a:lnTo>
                  <a:pt x="0" y="60"/>
                </a:lnTo>
                <a:lnTo>
                  <a:pt x="2" y="66"/>
                </a:lnTo>
                <a:lnTo>
                  <a:pt x="8" y="70"/>
                </a:lnTo>
                <a:lnTo>
                  <a:pt x="36" y="86"/>
                </a:lnTo>
                <a:lnTo>
                  <a:pt x="36" y="86"/>
                </a:lnTo>
                <a:lnTo>
                  <a:pt x="44" y="88"/>
                </a:lnTo>
                <a:lnTo>
                  <a:pt x="44" y="88"/>
                </a:lnTo>
                <a:lnTo>
                  <a:pt x="52" y="86"/>
                </a:lnTo>
                <a:lnTo>
                  <a:pt x="58" y="80"/>
                </a:lnTo>
                <a:lnTo>
                  <a:pt x="82" y="40"/>
                </a:lnTo>
                <a:lnTo>
                  <a:pt x="82" y="40"/>
                </a:lnTo>
                <a:lnTo>
                  <a:pt x="84" y="34"/>
                </a:lnTo>
                <a:lnTo>
                  <a:pt x="82" y="28"/>
                </a:lnTo>
                <a:lnTo>
                  <a:pt x="82" y="28"/>
                </a:lnTo>
                <a:close/>
                <a:moveTo>
                  <a:pt x="236" y="140"/>
                </a:moveTo>
                <a:lnTo>
                  <a:pt x="242" y="132"/>
                </a:lnTo>
                <a:lnTo>
                  <a:pt x="242" y="132"/>
                </a:lnTo>
                <a:lnTo>
                  <a:pt x="242" y="130"/>
                </a:lnTo>
                <a:lnTo>
                  <a:pt x="242" y="126"/>
                </a:lnTo>
                <a:lnTo>
                  <a:pt x="242" y="126"/>
                </a:lnTo>
                <a:lnTo>
                  <a:pt x="240" y="122"/>
                </a:lnTo>
                <a:lnTo>
                  <a:pt x="238" y="120"/>
                </a:lnTo>
                <a:lnTo>
                  <a:pt x="106" y="44"/>
                </a:lnTo>
                <a:lnTo>
                  <a:pt x="106" y="44"/>
                </a:lnTo>
                <a:lnTo>
                  <a:pt x="102" y="42"/>
                </a:lnTo>
                <a:lnTo>
                  <a:pt x="98" y="42"/>
                </a:lnTo>
                <a:lnTo>
                  <a:pt x="96" y="44"/>
                </a:lnTo>
                <a:lnTo>
                  <a:pt x="92" y="46"/>
                </a:lnTo>
                <a:lnTo>
                  <a:pt x="70" y="86"/>
                </a:lnTo>
                <a:lnTo>
                  <a:pt x="70" y="86"/>
                </a:lnTo>
                <a:lnTo>
                  <a:pt x="68" y="90"/>
                </a:lnTo>
                <a:lnTo>
                  <a:pt x="68" y="94"/>
                </a:lnTo>
                <a:lnTo>
                  <a:pt x="68" y="94"/>
                </a:lnTo>
                <a:lnTo>
                  <a:pt x="70" y="98"/>
                </a:lnTo>
                <a:lnTo>
                  <a:pt x="72" y="100"/>
                </a:lnTo>
                <a:lnTo>
                  <a:pt x="140" y="138"/>
                </a:lnTo>
                <a:lnTo>
                  <a:pt x="140" y="138"/>
                </a:lnTo>
                <a:lnTo>
                  <a:pt x="146" y="132"/>
                </a:lnTo>
                <a:lnTo>
                  <a:pt x="152" y="126"/>
                </a:lnTo>
                <a:lnTo>
                  <a:pt x="160" y="122"/>
                </a:lnTo>
                <a:lnTo>
                  <a:pt x="170" y="120"/>
                </a:lnTo>
                <a:lnTo>
                  <a:pt x="170" y="120"/>
                </a:lnTo>
                <a:lnTo>
                  <a:pt x="178" y="122"/>
                </a:lnTo>
                <a:lnTo>
                  <a:pt x="184" y="124"/>
                </a:lnTo>
                <a:lnTo>
                  <a:pt x="190" y="126"/>
                </a:lnTo>
                <a:lnTo>
                  <a:pt x="194" y="130"/>
                </a:lnTo>
                <a:lnTo>
                  <a:pt x="198" y="136"/>
                </a:lnTo>
                <a:lnTo>
                  <a:pt x="202" y="142"/>
                </a:lnTo>
                <a:lnTo>
                  <a:pt x="204" y="148"/>
                </a:lnTo>
                <a:lnTo>
                  <a:pt x="204" y="154"/>
                </a:lnTo>
                <a:lnTo>
                  <a:pt x="204" y="154"/>
                </a:lnTo>
                <a:lnTo>
                  <a:pt x="202" y="164"/>
                </a:lnTo>
                <a:lnTo>
                  <a:pt x="198" y="172"/>
                </a:lnTo>
                <a:lnTo>
                  <a:pt x="204" y="176"/>
                </a:lnTo>
                <a:lnTo>
                  <a:pt x="204" y="176"/>
                </a:lnTo>
                <a:lnTo>
                  <a:pt x="210" y="178"/>
                </a:lnTo>
                <a:lnTo>
                  <a:pt x="210" y="178"/>
                </a:lnTo>
                <a:lnTo>
                  <a:pt x="214" y="176"/>
                </a:lnTo>
                <a:lnTo>
                  <a:pt x="218" y="172"/>
                </a:lnTo>
                <a:lnTo>
                  <a:pt x="222" y="164"/>
                </a:lnTo>
                <a:lnTo>
                  <a:pt x="290" y="204"/>
                </a:lnTo>
                <a:lnTo>
                  <a:pt x="304" y="180"/>
                </a:lnTo>
                <a:lnTo>
                  <a:pt x="236" y="140"/>
                </a:lnTo>
                <a:close/>
                <a:moveTo>
                  <a:pt x="222" y="244"/>
                </a:moveTo>
                <a:lnTo>
                  <a:pt x="188" y="184"/>
                </a:lnTo>
                <a:lnTo>
                  <a:pt x="188" y="184"/>
                </a:lnTo>
                <a:lnTo>
                  <a:pt x="180" y="188"/>
                </a:lnTo>
                <a:lnTo>
                  <a:pt x="170" y="188"/>
                </a:lnTo>
                <a:lnTo>
                  <a:pt x="170" y="188"/>
                </a:lnTo>
                <a:lnTo>
                  <a:pt x="162" y="188"/>
                </a:lnTo>
                <a:lnTo>
                  <a:pt x="154" y="184"/>
                </a:lnTo>
                <a:lnTo>
                  <a:pt x="118" y="244"/>
                </a:lnTo>
                <a:lnTo>
                  <a:pt x="118" y="244"/>
                </a:lnTo>
                <a:lnTo>
                  <a:pt x="118" y="248"/>
                </a:lnTo>
                <a:lnTo>
                  <a:pt x="118" y="252"/>
                </a:lnTo>
                <a:lnTo>
                  <a:pt x="120" y="254"/>
                </a:lnTo>
                <a:lnTo>
                  <a:pt x="122" y="258"/>
                </a:lnTo>
                <a:lnTo>
                  <a:pt x="122" y="258"/>
                </a:lnTo>
                <a:lnTo>
                  <a:pt x="126" y="258"/>
                </a:lnTo>
                <a:lnTo>
                  <a:pt x="130" y="258"/>
                </a:lnTo>
                <a:lnTo>
                  <a:pt x="134" y="256"/>
                </a:lnTo>
                <a:lnTo>
                  <a:pt x="136" y="254"/>
                </a:lnTo>
                <a:lnTo>
                  <a:pt x="160" y="212"/>
                </a:lnTo>
                <a:lnTo>
                  <a:pt x="160" y="270"/>
                </a:lnTo>
                <a:lnTo>
                  <a:pt x="160" y="270"/>
                </a:lnTo>
                <a:lnTo>
                  <a:pt x="162" y="274"/>
                </a:lnTo>
                <a:lnTo>
                  <a:pt x="164" y="278"/>
                </a:lnTo>
                <a:lnTo>
                  <a:pt x="166" y="280"/>
                </a:lnTo>
                <a:lnTo>
                  <a:pt x="170" y="280"/>
                </a:lnTo>
                <a:lnTo>
                  <a:pt x="170" y="280"/>
                </a:lnTo>
                <a:lnTo>
                  <a:pt x="174" y="280"/>
                </a:lnTo>
                <a:lnTo>
                  <a:pt x="178" y="278"/>
                </a:lnTo>
                <a:lnTo>
                  <a:pt x="180" y="274"/>
                </a:lnTo>
                <a:lnTo>
                  <a:pt x="180" y="270"/>
                </a:lnTo>
                <a:lnTo>
                  <a:pt x="180" y="212"/>
                </a:lnTo>
                <a:lnTo>
                  <a:pt x="204" y="254"/>
                </a:lnTo>
                <a:lnTo>
                  <a:pt x="204" y="254"/>
                </a:lnTo>
                <a:lnTo>
                  <a:pt x="208" y="258"/>
                </a:lnTo>
                <a:lnTo>
                  <a:pt x="214" y="258"/>
                </a:lnTo>
                <a:lnTo>
                  <a:pt x="214" y="258"/>
                </a:lnTo>
                <a:lnTo>
                  <a:pt x="218" y="258"/>
                </a:lnTo>
                <a:lnTo>
                  <a:pt x="218" y="258"/>
                </a:lnTo>
                <a:lnTo>
                  <a:pt x="222" y="254"/>
                </a:lnTo>
                <a:lnTo>
                  <a:pt x="222" y="252"/>
                </a:lnTo>
                <a:lnTo>
                  <a:pt x="224" y="248"/>
                </a:lnTo>
                <a:lnTo>
                  <a:pt x="222" y="244"/>
                </a:lnTo>
                <a:lnTo>
                  <a:pt x="222" y="244"/>
                </a:lnTo>
                <a:close/>
                <a:moveTo>
                  <a:pt x="332" y="172"/>
                </a:moveTo>
                <a:lnTo>
                  <a:pt x="332" y="172"/>
                </a:lnTo>
                <a:lnTo>
                  <a:pt x="328" y="172"/>
                </a:lnTo>
                <a:lnTo>
                  <a:pt x="324" y="172"/>
                </a:lnTo>
                <a:lnTo>
                  <a:pt x="320" y="174"/>
                </a:lnTo>
                <a:lnTo>
                  <a:pt x="318" y="176"/>
                </a:lnTo>
                <a:lnTo>
                  <a:pt x="294" y="216"/>
                </a:lnTo>
                <a:lnTo>
                  <a:pt x="294" y="216"/>
                </a:lnTo>
                <a:lnTo>
                  <a:pt x="294" y="220"/>
                </a:lnTo>
                <a:lnTo>
                  <a:pt x="294" y="224"/>
                </a:lnTo>
                <a:lnTo>
                  <a:pt x="296" y="228"/>
                </a:lnTo>
                <a:lnTo>
                  <a:pt x="298" y="230"/>
                </a:lnTo>
                <a:lnTo>
                  <a:pt x="298" y="230"/>
                </a:lnTo>
                <a:lnTo>
                  <a:pt x="304" y="232"/>
                </a:lnTo>
                <a:lnTo>
                  <a:pt x="304" y="232"/>
                </a:lnTo>
                <a:lnTo>
                  <a:pt x="308" y="230"/>
                </a:lnTo>
                <a:lnTo>
                  <a:pt x="312" y="226"/>
                </a:lnTo>
                <a:lnTo>
                  <a:pt x="334" y="186"/>
                </a:lnTo>
                <a:lnTo>
                  <a:pt x="334" y="186"/>
                </a:lnTo>
                <a:lnTo>
                  <a:pt x="336" y="182"/>
                </a:lnTo>
                <a:lnTo>
                  <a:pt x="336" y="180"/>
                </a:lnTo>
                <a:lnTo>
                  <a:pt x="334" y="176"/>
                </a:lnTo>
                <a:lnTo>
                  <a:pt x="332" y="172"/>
                </a:lnTo>
                <a:lnTo>
                  <a:pt x="332" y="172"/>
                </a:lnTo>
                <a:close/>
                <a:moveTo>
                  <a:pt x="238" y="270"/>
                </a:moveTo>
                <a:lnTo>
                  <a:pt x="238" y="270"/>
                </a:lnTo>
                <a:lnTo>
                  <a:pt x="234" y="268"/>
                </a:lnTo>
                <a:lnTo>
                  <a:pt x="232" y="266"/>
                </a:lnTo>
                <a:lnTo>
                  <a:pt x="228" y="266"/>
                </a:lnTo>
                <a:lnTo>
                  <a:pt x="224" y="266"/>
                </a:lnTo>
                <a:lnTo>
                  <a:pt x="224" y="266"/>
                </a:lnTo>
                <a:lnTo>
                  <a:pt x="220" y="270"/>
                </a:lnTo>
                <a:lnTo>
                  <a:pt x="220" y="272"/>
                </a:lnTo>
                <a:lnTo>
                  <a:pt x="218" y="276"/>
                </a:lnTo>
                <a:lnTo>
                  <a:pt x="220" y="280"/>
                </a:lnTo>
                <a:lnTo>
                  <a:pt x="262" y="352"/>
                </a:lnTo>
                <a:lnTo>
                  <a:pt x="262" y="352"/>
                </a:lnTo>
                <a:lnTo>
                  <a:pt x="266" y="356"/>
                </a:lnTo>
                <a:lnTo>
                  <a:pt x="270" y="358"/>
                </a:lnTo>
                <a:lnTo>
                  <a:pt x="270" y="358"/>
                </a:lnTo>
                <a:lnTo>
                  <a:pt x="276" y="356"/>
                </a:lnTo>
                <a:lnTo>
                  <a:pt x="276" y="356"/>
                </a:lnTo>
                <a:lnTo>
                  <a:pt x="278" y="354"/>
                </a:lnTo>
                <a:lnTo>
                  <a:pt x="280" y="350"/>
                </a:lnTo>
                <a:lnTo>
                  <a:pt x="280" y="346"/>
                </a:lnTo>
                <a:lnTo>
                  <a:pt x="280" y="342"/>
                </a:lnTo>
                <a:lnTo>
                  <a:pt x="238" y="270"/>
                </a:lnTo>
                <a:close/>
                <a:moveTo>
                  <a:pt x="188" y="154"/>
                </a:moveTo>
                <a:lnTo>
                  <a:pt x="188" y="154"/>
                </a:lnTo>
                <a:lnTo>
                  <a:pt x="186" y="162"/>
                </a:lnTo>
                <a:lnTo>
                  <a:pt x="182" y="168"/>
                </a:lnTo>
                <a:lnTo>
                  <a:pt x="178" y="170"/>
                </a:lnTo>
                <a:lnTo>
                  <a:pt x="170" y="172"/>
                </a:lnTo>
                <a:lnTo>
                  <a:pt x="170" y="172"/>
                </a:lnTo>
                <a:lnTo>
                  <a:pt x="164" y="170"/>
                </a:lnTo>
                <a:lnTo>
                  <a:pt x="158" y="168"/>
                </a:lnTo>
                <a:lnTo>
                  <a:pt x="154" y="162"/>
                </a:lnTo>
                <a:lnTo>
                  <a:pt x="152" y="154"/>
                </a:lnTo>
                <a:lnTo>
                  <a:pt x="152" y="154"/>
                </a:lnTo>
                <a:lnTo>
                  <a:pt x="154" y="148"/>
                </a:lnTo>
                <a:lnTo>
                  <a:pt x="158" y="142"/>
                </a:lnTo>
                <a:lnTo>
                  <a:pt x="164" y="138"/>
                </a:lnTo>
                <a:lnTo>
                  <a:pt x="170" y="136"/>
                </a:lnTo>
                <a:lnTo>
                  <a:pt x="170" y="136"/>
                </a:lnTo>
                <a:lnTo>
                  <a:pt x="178" y="138"/>
                </a:lnTo>
                <a:lnTo>
                  <a:pt x="182" y="142"/>
                </a:lnTo>
                <a:lnTo>
                  <a:pt x="186" y="148"/>
                </a:lnTo>
                <a:lnTo>
                  <a:pt x="188" y="154"/>
                </a:lnTo>
                <a:lnTo>
                  <a:pt x="188" y="154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vert="horz" wrap="square" lIns="152348" tIns="76175" rIns="152348" bIns="76175" numCol="1" anchor="t" anchorCtr="0" compatLnSpc="1">
            <a:prstTxWarp prst="textNoShape">
              <a:avLst/>
            </a:prstTxWarp>
          </a:bodyPr>
          <a:lstStyle/>
          <a:p>
            <a:pPr defTabSz="1828635"/>
            <a:endParaRPr lang="en-GB" sz="2000">
              <a:solidFill>
                <a:schemeClr val="bg1"/>
              </a:solidFill>
            </a:endParaRPr>
          </a:p>
        </p:txBody>
      </p:sp>
      <p:sp>
        <p:nvSpPr>
          <p:cNvPr id="27" name="Rektangel 78"/>
          <p:cNvSpPr/>
          <p:nvPr/>
        </p:nvSpPr>
        <p:spPr>
          <a:xfrm>
            <a:off x="8502093" y="3229210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t" anchorCtr="0">
            <a:noAutofit/>
          </a:bodyPr>
          <a:lstStyle/>
          <a:p>
            <a:pPr algn="ctr" defTabSz="1828635"/>
            <a:r>
              <a:rPr lang="nb-NO" sz="2400" dirty="0">
                <a:solidFill>
                  <a:srgbClr val="281C2C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nbyggere</a:t>
            </a:r>
            <a:endParaRPr lang="nb-NO" sz="1800" dirty="0">
              <a:solidFill>
                <a:srgbClr val="281C2C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Freeform 4924"/>
          <p:cNvSpPr>
            <a:spLocks noEditPoints="1"/>
          </p:cNvSpPr>
          <p:nvPr/>
        </p:nvSpPr>
        <p:spPr bwMode="auto">
          <a:xfrm>
            <a:off x="9274213" y="3859177"/>
            <a:ext cx="795457" cy="767190"/>
          </a:xfrm>
          <a:custGeom>
            <a:avLst/>
            <a:gdLst>
              <a:gd name="T0" fmla="*/ 78 w 394"/>
              <a:gd name="T1" fmla="*/ 20 h 380"/>
              <a:gd name="T2" fmla="*/ 116 w 394"/>
              <a:gd name="T3" fmla="*/ 0 h 380"/>
              <a:gd name="T4" fmla="*/ 148 w 394"/>
              <a:gd name="T5" fmla="*/ 14 h 380"/>
              <a:gd name="T6" fmla="*/ 162 w 394"/>
              <a:gd name="T7" fmla="*/ 46 h 380"/>
              <a:gd name="T8" fmla="*/ 142 w 394"/>
              <a:gd name="T9" fmla="*/ 84 h 380"/>
              <a:gd name="T10" fmla="*/ 106 w 394"/>
              <a:gd name="T11" fmla="*/ 92 h 380"/>
              <a:gd name="T12" fmla="*/ 74 w 394"/>
              <a:gd name="T13" fmla="*/ 64 h 380"/>
              <a:gd name="T14" fmla="*/ 120 w 394"/>
              <a:gd name="T15" fmla="*/ 232 h 380"/>
              <a:gd name="T16" fmla="*/ 148 w 394"/>
              <a:gd name="T17" fmla="*/ 198 h 380"/>
              <a:gd name="T18" fmla="*/ 142 w 394"/>
              <a:gd name="T19" fmla="*/ 164 h 380"/>
              <a:gd name="T20" fmla="*/ 170 w 394"/>
              <a:gd name="T21" fmla="*/ 128 h 380"/>
              <a:gd name="T22" fmla="*/ 176 w 394"/>
              <a:gd name="T23" fmla="*/ 114 h 380"/>
              <a:gd name="T24" fmla="*/ 72 w 394"/>
              <a:gd name="T25" fmla="*/ 112 h 380"/>
              <a:gd name="T26" fmla="*/ 38 w 394"/>
              <a:gd name="T27" fmla="*/ 130 h 380"/>
              <a:gd name="T28" fmla="*/ 0 w 394"/>
              <a:gd name="T29" fmla="*/ 244 h 380"/>
              <a:gd name="T30" fmla="*/ 46 w 394"/>
              <a:gd name="T31" fmla="*/ 318 h 380"/>
              <a:gd name="T32" fmla="*/ 152 w 394"/>
              <a:gd name="T33" fmla="*/ 376 h 380"/>
              <a:gd name="T34" fmla="*/ 130 w 394"/>
              <a:gd name="T35" fmla="*/ 332 h 380"/>
              <a:gd name="T36" fmla="*/ 390 w 394"/>
              <a:gd name="T37" fmla="*/ 154 h 380"/>
              <a:gd name="T38" fmla="*/ 372 w 394"/>
              <a:gd name="T39" fmla="*/ 124 h 380"/>
              <a:gd name="T40" fmla="*/ 318 w 394"/>
              <a:gd name="T41" fmla="*/ 112 h 380"/>
              <a:gd name="T42" fmla="*/ 228 w 394"/>
              <a:gd name="T43" fmla="*/ 112 h 380"/>
              <a:gd name="T44" fmla="*/ 196 w 394"/>
              <a:gd name="T45" fmla="*/ 124 h 380"/>
              <a:gd name="T46" fmla="*/ 228 w 394"/>
              <a:gd name="T47" fmla="*/ 138 h 380"/>
              <a:gd name="T48" fmla="*/ 242 w 394"/>
              <a:gd name="T49" fmla="*/ 174 h 380"/>
              <a:gd name="T50" fmla="*/ 256 w 394"/>
              <a:gd name="T51" fmla="*/ 210 h 380"/>
              <a:gd name="T52" fmla="*/ 264 w 394"/>
              <a:gd name="T53" fmla="*/ 314 h 380"/>
              <a:gd name="T54" fmla="*/ 232 w 394"/>
              <a:gd name="T55" fmla="*/ 342 h 380"/>
              <a:gd name="T56" fmla="*/ 278 w 394"/>
              <a:gd name="T57" fmla="*/ 362 h 380"/>
              <a:gd name="T58" fmla="*/ 338 w 394"/>
              <a:gd name="T59" fmla="*/ 260 h 380"/>
              <a:gd name="T60" fmla="*/ 366 w 394"/>
              <a:gd name="T61" fmla="*/ 284 h 380"/>
              <a:gd name="T62" fmla="*/ 394 w 394"/>
              <a:gd name="T63" fmla="*/ 198 h 380"/>
              <a:gd name="T64" fmla="*/ 192 w 394"/>
              <a:gd name="T65" fmla="*/ 380 h 380"/>
              <a:gd name="T66" fmla="*/ 236 w 394"/>
              <a:gd name="T67" fmla="*/ 320 h 380"/>
              <a:gd name="T68" fmla="*/ 244 w 394"/>
              <a:gd name="T69" fmla="*/ 232 h 380"/>
              <a:gd name="T70" fmla="*/ 154 w 394"/>
              <a:gd name="T71" fmla="*/ 218 h 380"/>
              <a:gd name="T72" fmla="*/ 140 w 394"/>
              <a:gd name="T73" fmla="*/ 232 h 380"/>
              <a:gd name="T74" fmla="*/ 148 w 394"/>
              <a:gd name="T75" fmla="*/ 320 h 380"/>
              <a:gd name="T76" fmla="*/ 192 w 394"/>
              <a:gd name="T77" fmla="*/ 380 h 380"/>
              <a:gd name="T78" fmla="*/ 242 w 394"/>
              <a:gd name="T79" fmla="*/ 64 h 380"/>
              <a:gd name="T80" fmla="*/ 274 w 394"/>
              <a:gd name="T81" fmla="*/ 92 h 380"/>
              <a:gd name="T82" fmla="*/ 308 w 394"/>
              <a:gd name="T83" fmla="*/ 84 h 380"/>
              <a:gd name="T84" fmla="*/ 330 w 394"/>
              <a:gd name="T85" fmla="*/ 46 h 380"/>
              <a:gd name="T86" fmla="*/ 314 w 394"/>
              <a:gd name="T87" fmla="*/ 12 h 380"/>
              <a:gd name="T88" fmla="*/ 284 w 394"/>
              <a:gd name="T89" fmla="*/ 0 h 380"/>
              <a:gd name="T90" fmla="*/ 250 w 394"/>
              <a:gd name="T91" fmla="*/ 14 h 380"/>
              <a:gd name="T92" fmla="*/ 238 w 394"/>
              <a:gd name="T93" fmla="*/ 46 h 380"/>
              <a:gd name="T94" fmla="*/ 214 w 394"/>
              <a:gd name="T95" fmla="*/ 196 h 380"/>
              <a:gd name="T96" fmla="*/ 222 w 394"/>
              <a:gd name="T97" fmla="*/ 168 h 380"/>
              <a:gd name="T98" fmla="*/ 192 w 394"/>
              <a:gd name="T99" fmla="*/ 142 h 380"/>
              <a:gd name="T100" fmla="*/ 164 w 394"/>
              <a:gd name="T101" fmla="*/ 162 h 380"/>
              <a:gd name="T102" fmla="*/ 164 w 394"/>
              <a:gd name="T103" fmla="*/ 186 h 380"/>
              <a:gd name="T104" fmla="*/ 192 w 394"/>
              <a:gd name="T105" fmla="*/ 204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4" h="380">
                <a:moveTo>
                  <a:pt x="70" y="46"/>
                </a:moveTo>
                <a:lnTo>
                  <a:pt x="70" y="46"/>
                </a:lnTo>
                <a:lnTo>
                  <a:pt x="72" y="38"/>
                </a:lnTo>
                <a:lnTo>
                  <a:pt x="74" y="28"/>
                </a:lnTo>
                <a:lnTo>
                  <a:pt x="78" y="20"/>
                </a:lnTo>
                <a:lnTo>
                  <a:pt x="84" y="14"/>
                </a:lnTo>
                <a:lnTo>
                  <a:pt x="90" y="8"/>
                </a:lnTo>
                <a:lnTo>
                  <a:pt x="98" y="4"/>
                </a:lnTo>
                <a:lnTo>
                  <a:pt x="106" y="2"/>
                </a:lnTo>
                <a:lnTo>
                  <a:pt x="116" y="0"/>
                </a:lnTo>
                <a:lnTo>
                  <a:pt x="116" y="0"/>
                </a:lnTo>
                <a:lnTo>
                  <a:pt x="126" y="2"/>
                </a:lnTo>
                <a:lnTo>
                  <a:pt x="134" y="4"/>
                </a:lnTo>
                <a:lnTo>
                  <a:pt x="142" y="8"/>
                </a:lnTo>
                <a:lnTo>
                  <a:pt x="148" y="14"/>
                </a:lnTo>
                <a:lnTo>
                  <a:pt x="154" y="20"/>
                </a:lnTo>
                <a:lnTo>
                  <a:pt x="158" y="28"/>
                </a:lnTo>
                <a:lnTo>
                  <a:pt x="160" y="38"/>
                </a:lnTo>
                <a:lnTo>
                  <a:pt x="162" y="46"/>
                </a:lnTo>
                <a:lnTo>
                  <a:pt x="162" y="46"/>
                </a:lnTo>
                <a:lnTo>
                  <a:pt x="160" y="56"/>
                </a:lnTo>
                <a:lnTo>
                  <a:pt x="158" y="64"/>
                </a:lnTo>
                <a:lnTo>
                  <a:pt x="154" y="72"/>
                </a:lnTo>
                <a:lnTo>
                  <a:pt x="148" y="78"/>
                </a:lnTo>
                <a:lnTo>
                  <a:pt x="142" y="84"/>
                </a:lnTo>
                <a:lnTo>
                  <a:pt x="134" y="88"/>
                </a:lnTo>
                <a:lnTo>
                  <a:pt x="126" y="92"/>
                </a:lnTo>
                <a:lnTo>
                  <a:pt x="116" y="92"/>
                </a:lnTo>
                <a:lnTo>
                  <a:pt x="116" y="92"/>
                </a:lnTo>
                <a:lnTo>
                  <a:pt x="106" y="92"/>
                </a:lnTo>
                <a:lnTo>
                  <a:pt x="98" y="88"/>
                </a:lnTo>
                <a:lnTo>
                  <a:pt x="90" y="84"/>
                </a:lnTo>
                <a:lnTo>
                  <a:pt x="84" y="78"/>
                </a:lnTo>
                <a:lnTo>
                  <a:pt x="78" y="72"/>
                </a:lnTo>
                <a:lnTo>
                  <a:pt x="74" y="64"/>
                </a:lnTo>
                <a:lnTo>
                  <a:pt x="72" y="56"/>
                </a:lnTo>
                <a:lnTo>
                  <a:pt x="70" y="46"/>
                </a:lnTo>
                <a:lnTo>
                  <a:pt x="70" y="46"/>
                </a:lnTo>
                <a:close/>
                <a:moveTo>
                  <a:pt x="120" y="308"/>
                </a:moveTo>
                <a:lnTo>
                  <a:pt x="120" y="232"/>
                </a:lnTo>
                <a:lnTo>
                  <a:pt x="120" y="232"/>
                </a:lnTo>
                <a:lnTo>
                  <a:pt x="122" y="220"/>
                </a:lnTo>
                <a:lnTo>
                  <a:pt x="128" y="210"/>
                </a:lnTo>
                <a:lnTo>
                  <a:pt x="136" y="202"/>
                </a:lnTo>
                <a:lnTo>
                  <a:pt x="148" y="198"/>
                </a:lnTo>
                <a:lnTo>
                  <a:pt x="148" y="198"/>
                </a:lnTo>
                <a:lnTo>
                  <a:pt x="144" y="186"/>
                </a:lnTo>
                <a:lnTo>
                  <a:pt x="142" y="174"/>
                </a:lnTo>
                <a:lnTo>
                  <a:pt x="142" y="174"/>
                </a:lnTo>
                <a:lnTo>
                  <a:pt x="142" y="164"/>
                </a:lnTo>
                <a:lnTo>
                  <a:pt x="146" y="154"/>
                </a:lnTo>
                <a:lnTo>
                  <a:pt x="150" y="146"/>
                </a:lnTo>
                <a:lnTo>
                  <a:pt x="156" y="140"/>
                </a:lnTo>
                <a:lnTo>
                  <a:pt x="162" y="132"/>
                </a:lnTo>
                <a:lnTo>
                  <a:pt x="170" y="128"/>
                </a:lnTo>
                <a:lnTo>
                  <a:pt x="178" y="124"/>
                </a:lnTo>
                <a:lnTo>
                  <a:pt x="188" y="124"/>
                </a:lnTo>
                <a:lnTo>
                  <a:pt x="188" y="124"/>
                </a:lnTo>
                <a:lnTo>
                  <a:pt x="182" y="118"/>
                </a:lnTo>
                <a:lnTo>
                  <a:pt x="176" y="114"/>
                </a:lnTo>
                <a:lnTo>
                  <a:pt x="168" y="112"/>
                </a:lnTo>
                <a:lnTo>
                  <a:pt x="160" y="112"/>
                </a:lnTo>
                <a:lnTo>
                  <a:pt x="116" y="112"/>
                </a:lnTo>
                <a:lnTo>
                  <a:pt x="72" y="112"/>
                </a:lnTo>
                <a:lnTo>
                  <a:pt x="72" y="112"/>
                </a:lnTo>
                <a:lnTo>
                  <a:pt x="64" y="112"/>
                </a:lnTo>
                <a:lnTo>
                  <a:pt x="56" y="114"/>
                </a:lnTo>
                <a:lnTo>
                  <a:pt x="50" y="118"/>
                </a:lnTo>
                <a:lnTo>
                  <a:pt x="44" y="124"/>
                </a:lnTo>
                <a:lnTo>
                  <a:pt x="38" y="130"/>
                </a:lnTo>
                <a:lnTo>
                  <a:pt x="34" y="136"/>
                </a:lnTo>
                <a:lnTo>
                  <a:pt x="30" y="144"/>
                </a:lnTo>
                <a:lnTo>
                  <a:pt x="28" y="152"/>
                </a:lnTo>
                <a:lnTo>
                  <a:pt x="0" y="244"/>
                </a:lnTo>
                <a:lnTo>
                  <a:pt x="0" y="244"/>
                </a:lnTo>
                <a:lnTo>
                  <a:pt x="12" y="270"/>
                </a:lnTo>
                <a:lnTo>
                  <a:pt x="26" y="296"/>
                </a:lnTo>
                <a:lnTo>
                  <a:pt x="60" y="188"/>
                </a:lnTo>
                <a:lnTo>
                  <a:pt x="76" y="188"/>
                </a:lnTo>
                <a:lnTo>
                  <a:pt x="46" y="318"/>
                </a:lnTo>
                <a:lnTo>
                  <a:pt x="46" y="318"/>
                </a:lnTo>
                <a:lnTo>
                  <a:pt x="70" y="338"/>
                </a:lnTo>
                <a:lnTo>
                  <a:pt x="94" y="356"/>
                </a:lnTo>
                <a:lnTo>
                  <a:pt x="122" y="368"/>
                </a:lnTo>
                <a:lnTo>
                  <a:pt x="152" y="376"/>
                </a:lnTo>
                <a:lnTo>
                  <a:pt x="152" y="342"/>
                </a:lnTo>
                <a:lnTo>
                  <a:pt x="152" y="342"/>
                </a:lnTo>
                <a:lnTo>
                  <a:pt x="146" y="340"/>
                </a:lnTo>
                <a:lnTo>
                  <a:pt x="140" y="338"/>
                </a:lnTo>
                <a:lnTo>
                  <a:pt x="130" y="332"/>
                </a:lnTo>
                <a:lnTo>
                  <a:pt x="122" y="320"/>
                </a:lnTo>
                <a:lnTo>
                  <a:pt x="120" y="314"/>
                </a:lnTo>
                <a:lnTo>
                  <a:pt x="120" y="308"/>
                </a:lnTo>
                <a:lnTo>
                  <a:pt x="120" y="308"/>
                </a:lnTo>
                <a:close/>
                <a:moveTo>
                  <a:pt x="390" y="154"/>
                </a:moveTo>
                <a:lnTo>
                  <a:pt x="390" y="154"/>
                </a:lnTo>
                <a:lnTo>
                  <a:pt x="388" y="146"/>
                </a:lnTo>
                <a:lnTo>
                  <a:pt x="384" y="138"/>
                </a:lnTo>
                <a:lnTo>
                  <a:pt x="378" y="130"/>
                </a:lnTo>
                <a:lnTo>
                  <a:pt x="372" y="124"/>
                </a:lnTo>
                <a:lnTo>
                  <a:pt x="366" y="118"/>
                </a:lnTo>
                <a:lnTo>
                  <a:pt x="358" y="116"/>
                </a:lnTo>
                <a:lnTo>
                  <a:pt x="348" y="112"/>
                </a:lnTo>
                <a:lnTo>
                  <a:pt x="340" y="112"/>
                </a:lnTo>
                <a:lnTo>
                  <a:pt x="318" y="112"/>
                </a:lnTo>
                <a:lnTo>
                  <a:pt x="310" y="112"/>
                </a:lnTo>
                <a:lnTo>
                  <a:pt x="284" y="148"/>
                </a:lnTo>
                <a:lnTo>
                  <a:pt x="256" y="112"/>
                </a:lnTo>
                <a:lnTo>
                  <a:pt x="250" y="112"/>
                </a:lnTo>
                <a:lnTo>
                  <a:pt x="228" y="112"/>
                </a:lnTo>
                <a:lnTo>
                  <a:pt x="228" y="112"/>
                </a:lnTo>
                <a:lnTo>
                  <a:pt x="218" y="112"/>
                </a:lnTo>
                <a:lnTo>
                  <a:pt x="210" y="114"/>
                </a:lnTo>
                <a:lnTo>
                  <a:pt x="202" y="118"/>
                </a:lnTo>
                <a:lnTo>
                  <a:pt x="196" y="124"/>
                </a:lnTo>
                <a:lnTo>
                  <a:pt x="196" y="124"/>
                </a:lnTo>
                <a:lnTo>
                  <a:pt x="204" y="124"/>
                </a:lnTo>
                <a:lnTo>
                  <a:pt x="214" y="128"/>
                </a:lnTo>
                <a:lnTo>
                  <a:pt x="222" y="132"/>
                </a:lnTo>
                <a:lnTo>
                  <a:pt x="228" y="138"/>
                </a:lnTo>
                <a:lnTo>
                  <a:pt x="234" y="146"/>
                </a:lnTo>
                <a:lnTo>
                  <a:pt x="238" y="154"/>
                </a:lnTo>
                <a:lnTo>
                  <a:pt x="242" y="164"/>
                </a:lnTo>
                <a:lnTo>
                  <a:pt x="242" y="174"/>
                </a:lnTo>
                <a:lnTo>
                  <a:pt x="242" y="174"/>
                </a:lnTo>
                <a:lnTo>
                  <a:pt x="240" y="186"/>
                </a:lnTo>
                <a:lnTo>
                  <a:pt x="236" y="198"/>
                </a:lnTo>
                <a:lnTo>
                  <a:pt x="236" y="198"/>
                </a:lnTo>
                <a:lnTo>
                  <a:pt x="248" y="202"/>
                </a:lnTo>
                <a:lnTo>
                  <a:pt x="256" y="210"/>
                </a:lnTo>
                <a:lnTo>
                  <a:pt x="262" y="220"/>
                </a:lnTo>
                <a:lnTo>
                  <a:pt x="264" y="232"/>
                </a:lnTo>
                <a:lnTo>
                  <a:pt x="264" y="308"/>
                </a:lnTo>
                <a:lnTo>
                  <a:pt x="264" y="308"/>
                </a:lnTo>
                <a:lnTo>
                  <a:pt x="264" y="314"/>
                </a:lnTo>
                <a:lnTo>
                  <a:pt x="262" y="320"/>
                </a:lnTo>
                <a:lnTo>
                  <a:pt x="254" y="332"/>
                </a:lnTo>
                <a:lnTo>
                  <a:pt x="244" y="338"/>
                </a:lnTo>
                <a:lnTo>
                  <a:pt x="238" y="340"/>
                </a:lnTo>
                <a:lnTo>
                  <a:pt x="232" y="342"/>
                </a:lnTo>
                <a:lnTo>
                  <a:pt x="232" y="376"/>
                </a:lnTo>
                <a:lnTo>
                  <a:pt x="232" y="376"/>
                </a:lnTo>
                <a:lnTo>
                  <a:pt x="248" y="372"/>
                </a:lnTo>
                <a:lnTo>
                  <a:pt x="262" y="368"/>
                </a:lnTo>
                <a:lnTo>
                  <a:pt x="278" y="362"/>
                </a:lnTo>
                <a:lnTo>
                  <a:pt x="292" y="354"/>
                </a:lnTo>
                <a:lnTo>
                  <a:pt x="306" y="346"/>
                </a:lnTo>
                <a:lnTo>
                  <a:pt x="318" y="336"/>
                </a:lnTo>
                <a:lnTo>
                  <a:pt x="340" y="316"/>
                </a:lnTo>
                <a:lnTo>
                  <a:pt x="338" y="260"/>
                </a:lnTo>
                <a:lnTo>
                  <a:pt x="338" y="192"/>
                </a:lnTo>
                <a:lnTo>
                  <a:pt x="350" y="192"/>
                </a:lnTo>
                <a:lnTo>
                  <a:pt x="350" y="192"/>
                </a:lnTo>
                <a:lnTo>
                  <a:pt x="354" y="192"/>
                </a:lnTo>
                <a:lnTo>
                  <a:pt x="366" y="284"/>
                </a:lnTo>
                <a:lnTo>
                  <a:pt x="366" y="284"/>
                </a:lnTo>
                <a:lnTo>
                  <a:pt x="376" y="264"/>
                </a:lnTo>
                <a:lnTo>
                  <a:pt x="384" y="244"/>
                </a:lnTo>
                <a:lnTo>
                  <a:pt x="390" y="222"/>
                </a:lnTo>
                <a:lnTo>
                  <a:pt x="394" y="198"/>
                </a:lnTo>
                <a:lnTo>
                  <a:pt x="394" y="198"/>
                </a:lnTo>
                <a:lnTo>
                  <a:pt x="390" y="154"/>
                </a:lnTo>
                <a:lnTo>
                  <a:pt x="390" y="154"/>
                </a:lnTo>
                <a:close/>
                <a:moveTo>
                  <a:pt x="192" y="380"/>
                </a:moveTo>
                <a:lnTo>
                  <a:pt x="192" y="380"/>
                </a:lnTo>
                <a:lnTo>
                  <a:pt x="212" y="380"/>
                </a:lnTo>
                <a:lnTo>
                  <a:pt x="212" y="322"/>
                </a:lnTo>
                <a:lnTo>
                  <a:pt x="230" y="322"/>
                </a:lnTo>
                <a:lnTo>
                  <a:pt x="230" y="322"/>
                </a:lnTo>
                <a:lnTo>
                  <a:pt x="236" y="320"/>
                </a:lnTo>
                <a:lnTo>
                  <a:pt x="240" y="318"/>
                </a:lnTo>
                <a:lnTo>
                  <a:pt x="242" y="314"/>
                </a:lnTo>
                <a:lnTo>
                  <a:pt x="244" y="308"/>
                </a:lnTo>
                <a:lnTo>
                  <a:pt x="244" y="232"/>
                </a:lnTo>
                <a:lnTo>
                  <a:pt x="244" y="232"/>
                </a:lnTo>
                <a:lnTo>
                  <a:pt x="242" y="226"/>
                </a:lnTo>
                <a:lnTo>
                  <a:pt x="240" y="222"/>
                </a:lnTo>
                <a:lnTo>
                  <a:pt x="236" y="218"/>
                </a:lnTo>
                <a:lnTo>
                  <a:pt x="230" y="218"/>
                </a:lnTo>
                <a:lnTo>
                  <a:pt x="154" y="218"/>
                </a:lnTo>
                <a:lnTo>
                  <a:pt x="154" y="218"/>
                </a:lnTo>
                <a:lnTo>
                  <a:pt x="148" y="218"/>
                </a:lnTo>
                <a:lnTo>
                  <a:pt x="144" y="222"/>
                </a:lnTo>
                <a:lnTo>
                  <a:pt x="142" y="226"/>
                </a:lnTo>
                <a:lnTo>
                  <a:pt x="140" y="232"/>
                </a:lnTo>
                <a:lnTo>
                  <a:pt x="140" y="308"/>
                </a:lnTo>
                <a:lnTo>
                  <a:pt x="140" y="308"/>
                </a:lnTo>
                <a:lnTo>
                  <a:pt x="142" y="314"/>
                </a:lnTo>
                <a:lnTo>
                  <a:pt x="144" y="318"/>
                </a:lnTo>
                <a:lnTo>
                  <a:pt x="148" y="320"/>
                </a:lnTo>
                <a:lnTo>
                  <a:pt x="154" y="322"/>
                </a:lnTo>
                <a:lnTo>
                  <a:pt x="172" y="322"/>
                </a:lnTo>
                <a:lnTo>
                  <a:pt x="172" y="380"/>
                </a:lnTo>
                <a:lnTo>
                  <a:pt x="172" y="380"/>
                </a:lnTo>
                <a:lnTo>
                  <a:pt x="192" y="380"/>
                </a:lnTo>
                <a:lnTo>
                  <a:pt x="192" y="380"/>
                </a:lnTo>
                <a:close/>
                <a:moveTo>
                  <a:pt x="238" y="46"/>
                </a:moveTo>
                <a:lnTo>
                  <a:pt x="238" y="46"/>
                </a:lnTo>
                <a:lnTo>
                  <a:pt x="238" y="56"/>
                </a:lnTo>
                <a:lnTo>
                  <a:pt x="242" y="64"/>
                </a:lnTo>
                <a:lnTo>
                  <a:pt x="246" y="72"/>
                </a:lnTo>
                <a:lnTo>
                  <a:pt x="250" y="78"/>
                </a:lnTo>
                <a:lnTo>
                  <a:pt x="258" y="84"/>
                </a:lnTo>
                <a:lnTo>
                  <a:pt x="266" y="88"/>
                </a:lnTo>
                <a:lnTo>
                  <a:pt x="274" y="92"/>
                </a:lnTo>
                <a:lnTo>
                  <a:pt x="284" y="92"/>
                </a:lnTo>
                <a:lnTo>
                  <a:pt x="284" y="92"/>
                </a:lnTo>
                <a:lnTo>
                  <a:pt x="292" y="92"/>
                </a:lnTo>
                <a:lnTo>
                  <a:pt x="302" y="88"/>
                </a:lnTo>
                <a:lnTo>
                  <a:pt x="308" y="84"/>
                </a:lnTo>
                <a:lnTo>
                  <a:pt x="316" y="78"/>
                </a:lnTo>
                <a:lnTo>
                  <a:pt x="322" y="72"/>
                </a:lnTo>
                <a:lnTo>
                  <a:pt x="326" y="64"/>
                </a:lnTo>
                <a:lnTo>
                  <a:pt x="328" y="56"/>
                </a:lnTo>
                <a:lnTo>
                  <a:pt x="330" y="46"/>
                </a:lnTo>
                <a:lnTo>
                  <a:pt x="330" y="46"/>
                </a:lnTo>
                <a:lnTo>
                  <a:pt x="328" y="36"/>
                </a:lnTo>
                <a:lnTo>
                  <a:pt x="324" y="28"/>
                </a:lnTo>
                <a:lnTo>
                  <a:pt x="320" y="20"/>
                </a:lnTo>
                <a:lnTo>
                  <a:pt x="314" y="12"/>
                </a:lnTo>
                <a:lnTo>
                  <a:pt x="314" y="12"/>
                </a:lnTo>
                <a:lnTo>
                  <a:pt x="306" y="6"/>
                </a:lnTo>
                <a:lnTo>
                  <a:pt x="306" y="6"/>
                </a:lnTo>
                <a:lnTo>
                  <a:pt x="294" y="2"/>
                </a:lnTo>
                <a:lnTo>
                  <a:pt x="284" y="0"/>
                </a:lnTo>
                <a:lnTo>
                  <a:pt x="284" y="0"/>
                </a:lnTo>
                <a:lnTo>
                  <a:pt x="274" y="2"/>
                </a:lnTo>
                <a:lnTo>
                  <a:pt x="266" y="4"/>
                </a:lnTo>
                <a:lnTo>
                  <a:pt x="258" y="8"/>
                </a:lnTo>
                <a:lnTo>
                  <a:pt x="250" y="14"/>
                </a:lnTo>
                <a:lnTo>
                  <a:pt x="246" y="20"/>
                </a:lnTo>
                <a:lnTo>
                  <a:pt x="242" y="28"/>
                </a:lnTo>
                <a:lnTo>
                  <a:pt x="238" y="38"/>
                </a:lnTo>
                <a:lnTo>
                  <a:pt x="238" y="46"/>
                </a:lnTo>
                <a:lnTo>
                  <a:pt x="238" y="46"/>
                </a:lnTo>
                <a:close/>
                <a:moveTo>
                  <a:pt x="192" y="204"/>
                </a:moveTo>
                <a:lnTo>
                  <a:pt x="192" y="204"/>
                </a:lnTo>
                <a:lnTo>
                  <a:pt x="198" y="204"/>
                </a:lnTo>
                <a:lnTo>
                  <a:pt x="204" y="202"/>
                </a:lnTo>
                <a:lnTo>
                  <a:pt x="214" y="196"/>
                </a:lnTo>
                <a:lnTo>
                  <a:pt x="220" y="186"/>
                </a:lnTo>
                <a:lnTo>
                  <a:pt x="222" y="180"/>
                </a:lnTo>
                <a:lnTo>
                  <a:pt x="222" y="174"/>
                </a:lnTo>
                <a:lnTo>
                  <a:pt x="222" y="174"/>
                </a:lnTo>
                <a:lnTo>
                  <a:pt x="222" y="168"/>
                </a:lnTo>
                <a:lnTo>
                  <a:pt x="220" y="162"/>
                </a:lnTo>
                <a:lnTo>
                  <a:pt x="214" y="152"/>
                </a:lnTo>
                <a:lnTo>
                  <a:pt x="204" y="146"/>
                </a:lnTo>
                <a:lnTo>
                  <a:pt x="198" y="144"/>
                </a:lnTo>
                <a:lnTo>
                  <a:pt x="192" y="142"/>
                </a:lnTo>
                <a:lnTo>
                  <a:pt x="192" y="142"/>
                </a:lnTo>
                <a:lnTo>
                  <a:pt x="186" y="144"/>
                </a:lnTo>
                <a:lnTo>
                  <a:pt x="180" y="146"/>
                </a:lnTo>
                <a:lnTo>
                  <a:pt x="170" y="152"/>
                </a:lnTo>
                <a:lnTo>
                  <a:pt x="164" y="162"/>
                </a:lnTo>
                <a:lnTo>
                  <a:pt x="162" y="168"/>
                </a:lnTo>
                <a:lnTo>
                  <a:pt x="162" y="174"/>
                </a:lnTo>
                <a:lnTo>
                  <a:pt x="162" y="174"/>
                </a:lnTo>
                <a:lnTo>
                  <a:pt x="162" y="180"/>
                </a:lnTo>
                <a:lnTo>
                  <a:pt x="164" y="186"/>
                </a:lnTo>
                <a:lnTo>
                  <a:pt x="170" y="196"/>
                </a:lnTo>
                <a:lnTo>
                  <a:pt x="180" y="202"/>
                </a:lnTo>
                <a:lnTo>
                  <a:pt x="186" y="204"/>
                </a:lnTo>
                <a:lnTo>
                  <a:pt x="192" y="204"/>
                </a:lnTo>
                <a:lnTo>
                  <a:pt x="192" y="20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152348" tIns="76175" rIns="152348" bIns="76175" numCol="1" anchor="t" anchorCtr="0" compatLnSpc="1">
            <a:prstTxWarp prst="textNoShape">
              <a:avLst/>
            </a:prstTxWarp>
          </a:bodyPr>
          <a:lstStyle/>
          <a:p>
            <a:pPr defTabSz="1828635"/>
            <a:endParaRPr lang="en-GB" sz="6000">
              <a:solidFill>
                <a:srgbClr val="281C2C"/>
              </a:solidFill>
            </a:endParaRPr>
          </a:p>
        </p:txBody>
      </p:sp>
      <p:sp>
        <p:nvSpPr>
          <p:cNvPr id="32" name="Rektangel 81"/>
          <p:cNvSpPr/>
          <p:nvPr/>
        </p:nvSpPr>
        <p:spPr>
          <a:xfrm>
            <a:off x="8502093" y="5832261"/>
            <a:ext cx="2339696" cy="167978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91417" tIns="45709" rIns="91417" bIns="45709" anchor="b" anchorCtr="0">
            <a:noAutofit/>
          </a:bodyPr>
          <a:lstStyle/>
          <a:p>
            <a:pPr algn="ctr" defTabSz="1828635"/>
            <a:r>
              <a:rPr lang="nb-NO" sz="20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lsepersonell</a:t>
            </a:r>
          </a:p>
        </p:txBody>
      </p:sp>
      <p:sp>
        <p:nvSpPr>
          <p:cNvPr id="33" name="Freeform 4859"/>
          <p:cNvSpPr>
            <a:spLocks noEditPoints="1"/>
          </p:cNvSpPr>
          <p:nvPr/>
        </p:nvSpPr>
        <p:spPr bwMode="auto">
          <a:xfrm>
            <a:off x="9375160" y="6164669"/>
            <a:ext cx="593563" cy="831798"/>
          </a:xfrm>
          <a:custGeom>
            <a:avLst/>
            <a:gdLst>
              <a:gd name="T0" fmla="*/ 184 w 294"/>
              <a:gd name="T1" fmla="*/ 408 h 412"/>
              <a:gd name="T2" fmla="*/ 112 w 294"/>
              <a:gd name="T3" fmla="*/ 410 h 412"/>
              <a:gd name="T4" fmla="*/ 54 w 294"/>
              <a:gd name="T5" fmla="*/ 390 h 412"/>
              <a:gd name="T6" fmla="*/ 0 w 294"/>
              <a:gd name="T7" fmla="*/ 350 h 412"/>
              <a:gd name="T8" fmla="*/ 14 w 294"/>
              <a:gd name="T9" fmla="*/ 202 h 412"/>
              <a:gd name="T10" fmla="*/ 80 w 294"/>
              <a:gd name="T11" fmla="*/ 166 h 412"/>
              <a:gd name="T12" fmla="*/ 74 w 294"/>
              <a:gd name="T13" fmla="*/ 210 h 412"/>
              <a:gd name="T14" fmla="*/ 78 w 294"/>
              <a:gd name="T15" fmla="*/ 240 h 412"/>
              <a:gd name="T16" fmla="*/ 112 w 294"/>
              <a:gd name="T17" fmla="*/ 240 h 412"/>
              <a:gd name="T18" fmla="*/ 114 w 294"/>
              <a:gd name="T19" fmla="*/ 210 h 412"/>
              <a:gd name="T20" fmla="*/ 170 w 294"/>
              <a:gd name="T21" fmla="*/ 166 h 412"/>
              <a:gd name="T22" fmla="*/ 150 w 294"/>
              <a:gd name="T23" fmla="*/ 226 h 412"/>
              <a:gd name="T24" fmla="*/ 122 w 294"/>
              <a:gd name="T25" fmla="*/ 266 h 412"/>
              <a:gd name="T26" fmla="*/ 124 w 294"/>
              <a:gd name="T27" fmla="*/ 340 h 412"/>
              <a:gd name="T28" fmla="*/ 156 w 294"/>
              <a:gd name="T29" fmla="*/ 344 h 412"/>
              <a:gd name="T30" fmla="*/ 162 w 294"/>
              <a:gd name="T31" fmla="*/ 328 h 412"/>
              <a:gd name="T32" fmla="*/ 144 w 294"/>
              <a:gd name="T33" fmla="*/ 276 h 412"/>
              <a:gd name="T34" fmla="*/ 154 w 294"/>
              <a:gd name="T35" fmla="*/ 250 h 412"/>
              <a:gd name="T36" fmla="*/ 180 w 294"/>
              <a:gd name="T37" fmla="*/ 240 h 412"/>
              <a:gd name="T38" fmla="*/ 212 w 294"/>
              <a:gd name="T39" fmla="*/ 256 h 412"/>
              <a:gd name="T40" fmla="*/ 218 w 294"/>
              <a:gd name="T41" fmla="*/ 322 h 412"/>
              <a:gd name="T42" fmla="*/ 200 w 294"/>
              <a:gd name="T43" fmla="*/ 328 h 412"/>
              <a:gd name="T44" fmla="*/ 206 w 294"/>
              <a:gd name="T45" fmla="*/ 344 h 412"/>
              <a:gd name="T46" fmla="*/ 240 w 294"/>
              <a:gd name="T47" fmla="*/ 390 h 412"/>
              <a:gd name="T48" fmla="*/ 294 w 294"/>
              <a:gd name="T49" fmla="*/ 250 h 412"/>
              <a:gd name="T50" fmla="*/ 272 w 294"/>
              <a:gd name="T51" fmla="*/ 192 h 412"/>
              <a:gd name="T52" fmla="*/ 192 w 294"/>
              <a:gd name="T53" fmla="*/ 166 h 412"/>
              <a:gd name="T54" fmla="*/ 202 w 294"/>
              <a:gd name="T55" fmla="*/ 222 h 412"/>
              <a:gd name="T56" fmla="*/ 236 w 294"/>
              <a:gd name="T57" fmla="*/ 256 h 412"/>
              <a:gd name="T58" fmla="*/ 240 w 294"/>
              <a:gd name="T59" fmla="*/ 334 h 412"/>
              <a:gd name="T60" fmla="*/ 92 w 294"/>
              <a:gd name="T61" fmla="*/ 122 h 412"/>
              <a:gd name="T62" fmla="*/ 136 w 294"/>
              <a:gd name="T63" fmla="*/ 146 h 412"/>
              <a:gd name="T64" fmla="*/ 178 w 294"/>
              <a:gd name="T65" fmla="*/ 140 h 412"/>
              <a:gd name="T66" fmla="*/ 214 w 294"/>
              <a:gd name="T67" fmla="*/ 106 h 412"/>
              <a:gd name="T68" fmla="*/ 148 w 294"/>
              <a:gd name="T69" fmla="*/ 84 h 412"/>
              <a:gd name="T70" fmla="*/ 82 w 294"/>
              <a:gd name="T71" fmla="*/ 106 h 412"/>
              <a:gd name="T72" fmla="*/ 148 w 294"/>
              <a:gd name="T73" fmla="*/ 0 h 412"/>
              <a:gd name="T74" fmla="*/ 208 w 294"/>
              <a:gd name="T75" fmla="*/ 32 h 412"/>
              <a:gd name="T76" fmla="*/ 220 w 294"/>
              <a:gd name="T77" fmla="*/ 90 h 412"/>
              <a:gd name="T78" fmla="*/ 148 w 294"/>
              <a:gd name="T79" fmla="*/ 68 h 412"/>
              <a:gd name="T80" fmla="*/ 76 w 294"/>
              <a:gd name="T81" fmla="*/ 90 h 412"/>
              <a:gd name="T82" fmla="*/ 80 w 294"/>
              <a:gd name="T83" fmla="*/ 44 h 412"/>
              <a:gd name="T84" fmla="*/ 132 w 294"/>
              <a:gd name="T85" fmla="*/ 2 h 412"/>
              <a:gd name="T86" fmla="*/ 156 w 294"/>
              <a:gd name="T87" fmla="*/ 18 h 412"/>
              <a:gd name="T88" fmla="*/ 148 w 294"/>
              <a:gd name="T89" fmla="*/ 10 h 412"/>
              <a:gd name="T90" fmla="*/ 140 w 294"/>
              <a:gd name="T91" fmla="*/ 28 h 412"/>
              <a:gd name="T92" fmla="*/ 122 w 294"/>
              <a:gd name="T93" fmla="*/ 34 h 412"/>
              <a:gd name="T94" fmla="*/ 126 w 294"/>
              <a:gd name="T95" fmla="*/ 44 h 412"/>
              <a:gd name="T96" fmla="*/ 140 w 294"/>
              <a:gd name="T97" fmla="*/ 58 h 412"/>
              <a:gd name="T98" fmla="*/ 150 w 294"/>
              <a:gd name="T99" fmla="*/ 62 h 412"/>
              <a:gd name="T100" fmla="*/ 166 w 294"/>
              <a:gd name="T101" fmla="*/ 44 h 412"/>
              <a:gd name="T102" fmla="*/ 174 w 294"/>
              <a:gd name="T103" fmla="*/ 36 h 412"/>
              <a:gd name="T104" fmla="*/ 166 w 294"/>
              <a:gd name="T105" fmla="*/ 28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94" h="412">
                <a:moveTo>
                  <a:pt x="218" y="344"/>
                </a:moveTo>
                <a:lnTo>
                  <a:pt x="218" y="400"/>
                </a:lnTo>
                <a:lnTo>
                  <a:pt x="218" y="400"/>
                </a:lnTo>
                <a:lnTo>
                  <a:pt x="202" y="404"/>
                </a:lnTo>
                <a:lnTo>
                  <a:pt x="184" y="408"/>
                </a:lnTo>
                <a:lnTo>
                  <a:pt x="166" y="412"/>
                </a:lnTo>
                <a:lnTo>
                  <a:pt x="148" y="412"/>
                </a:lnTo>
                <a:lnTo>
                  <a:pt x="148" y="412"/>
                </a:lnTo>
                <a:lnTo>
                  <a:pt x="130" y="412"/>
                </a:lnTo>
                <a:lnTo>
                  <a:pt x="112" y="410"/>
                </a:lnTo>
                <a:lnTo>
                  <a:pt x="94" y="406"/>
                </a:lnTo>
                <a:lnTo>
                  <a:pt x="78" y="400"/>
                </a:lnTo>
                <a:lnTo>
                  <a:pt x="78" y="264"/>
                </a:lnTo>
                <a:lnTo>
                  <a:pt x="54" y="264"/>
                </a:lnTo>
                <a:lnTo>
                  <a:pt x="54" y="390"/>
                </a:lnTo>
                <a:lnTo>
                  <a:pt x="54" y="390"/>
                </a:lnTo>
                <a:lnTo>
                  <a:pt x="40" y="382"/>
                </a:lnTo>
                <a:lnTo>
                  <a:pt x="26" y="372"/>
                </a:lnTo>
                <a:lnTo>
                  <a:pt x="12" y="362"/>
                </a:lnTo>
                <a:lnTo>
                  <a:pt x="0" y="350"/>
                </a:lnTo>
                <a:lnTo>
                  <a:pt x="0" y="248"/>
                </a:lnTo>
                <a:lnTo>
                  <a:pt x="0" y="248"/>
                </a:lnTo>
                <a:lnTo>
                  <a:pt x="2" y="232"/>
                </a:lnTo>
                <a:lnTo>
                  <a:pt x="6" y="216"/>
                </a:lnTo>
                <a:lnTo>
                  <a:pt x="14" y="202"/>
                </a:lnTo>
                <a:lnTo>
                  <a:pt x="24" y="190"/>
                </a:lnTo>
                <a:lnTo>
                  <a:pt x="36" y="180"/>
                </a:lnTo>
                <a:lnTo>
                  <a:pt x="48" y="172"/>
                </a:lnTo>
                <a:lnTo>
                  <a:pt x="64" y="168"/>
                </a:lnTo>
                <a:lnTo>
                  <a:pt x="80" y="166"/>
                </a:lnTo>
                <a:lnTo>
                  <a:pt x="84" y="166"/>
                </a:lnTo>
                <a:lnTo>
                  <a:pt x="84" y="200"/>
                </a:lnTo>
                <a:lnTo>
                  <a:pt x="84" y="200"/>
                </a:lnTo>
                <a:lnTo>
                  <a:pt x="78" y="204"/>
                </a:lnTo>
                <a:lnTo>
                  <a:pt x="74" y="210"/>
                </a:lnTo>
                <a:lnTo>
                  <a:pt x="72" y="216"/>
                </a:lnTo>
                <a:lnTo>
                  <a:pt x="70" y="222"/>
                </a:lnTo>
                <a:lnTo>
                  <a:pt x="70" y="222"/>
                </a:lnTo>
                <a:lnTo>
                  <a:pt x="72" y="232"/>
                </a:lnTo>
                <a:lnTo>
                  <a:pt x="78" y="240"/>
                </a:lnTo>
                <a:lnTo>
                  <a:pt x="84" y="246"/>
                </a:lnTo>
                <a:lnTo>
                  <a:pt x="94" y="248"/>
                </a:lnTo>
                <a:lnTo>
                  <a:pt x="94" y="248"/>
                </a:lnTo>
                <a:lnTo>
                  <a:pt x="104" y="246"/>
                </a:lnTo>
                <a:lnTo>
                  <a:pt x="112" y="240"/>
                </a:lnTo>
                <a:lnTo>
                  <a:pt x="116" y="232"/>
                </a:lnTo>
                <a:lnTo>
                  <a:pt x="118" y="222"/>
                </a:lnTo>
                <a:lnTo>
                  <a:pt x="118" y="222"/>
                </a:lnTo>
                <a:lnTo>
                  <a:pt x="118" y="216"/>
                </a:lnTo>
                <a:lnTo>
                  <a:pt x="114" y="210"/>
                </a:lnTo>
                <a:lnTo>
                  <a:pt x="110" y="204"/>
                </a:lnTo>
                <a:lnTo>
                  <a:pt x="104" y="200"/>
                </a:lnTo>
                <a:lnTo>
                  <a:pt x="104" y="166"/>
                </a:lnTo>
                <a:lnTo>
                  <a:pt x="170" y="166"/>
                </a:lnTo>
                <a:lnTo>
                  <a:pt x="170" y="166"/>
                </a:lnTo>
                <a:lnTo>
                  <a:pt x="170" y="168"/>
                </a:lnTo>
                <a:lnTo>
                  <a:pt x="170" y="218"/>
                </a:lnTo>
                <a:lnTo>
                  <a:pt x="170" y="218"/>
                </a:lnTo>
                <a:lnTo>
                  <a:pt x="160" y="222"/>
                </a:lnTo>
                <a:lnTo>
                  <a:pt x="150" y="226"/>
                </a:lnTo>
                <a:lnTo>
                  <a:pt x="142" y="232"/>
                </a:lnTo>
                <a:lnTo>
                  <a:pt x="136" y="238"/>
                </a:lnTo>
                <a:lnTo>
                  <a:pt x="130" y="248"/>
                </a:lnTo>
                <a:lnTo>
                  <a:pt x="126" y="256"/>
                </a:lnTo>
                <a:lnTo>
                  <a:pt x="122" y="266"/>
                </a:lnTo>
                <a:lnTo>
                  <a:pt x="122" y="276"/>
                </a:lnTo>
                <a:lnTo>
                  <a:pt x="122" y="332"/>
                </a:lnTo>
                <a:lnTo>
                  <a:pt x="122" y="332"/>
                </a:lnTo>
                <a:lnTo>
                  <a:pt x="122" y="338"/>
                </a:lnTo>
                <a:lnTo>
                  <a:pt x="124" y="340"/>
                </a:lnTo>
                <a:lnTo>
                  <a:pt x="128" y="344"/>
                </a:lnTo>
                <a:lnTo>
                  <a:pt x="132" y="344"/>
                </a:lnTo>
                <a:lnTo>
                  <a:pt x="152" y="344"/>
                </a:lnTo>
                <a:lnTo>
                  <a:pt x="152" y="344"/>
                </a:lnTo>
                <a:lnTo>
                  <a:pt x="156" y="344"/>
                </a:lnTo>
                <a:lnTo>
                  <a:pt x="160" y="340"/>
                </a:lnTo>
                <a:lnTo>
                  <a:pt x="162" y="338"/>
                </a:lnTo>
                <a:lnTo>
                  <a:pt x="164" y="332"/>
                </a:lnTo>
                <a:lnTo>
                  <a:pt x="164" y="332"/>
                </a:lnTo>
                <a:lnTo>
                  <a:pt x="162" y="328"/>
                </a:lnTo>
                <a:lnTo>
                  <a:pt x="160" y="326"/>
                </a:lnTo>
                <a:lnTo>
                  <a:pt x="156" y="322"/>
                </a:lnTo>
                <a:lnTo>
                  <a:pt x="152" y="322"/>
                </a:lnTo>
                <a:lnTo>
                  <a:pt x="144" y="322"/>
                </a:lnTo>
                <a:lnTo>
                  <a:pt x="144" y="276"/>
                </a:lnTo>
                <a:lnTo>
                  <a:pt x="144" y="276"/>
                </a:lnTo>
                <a:lnTo>
                  <a:pt x="144" y="270"/>
                </a:lnTo>
                <a:lnTo>
                  <a:pt x="146" y="262"/>
                </a:lnTo>
                <a:lnTo>
                  <a:pt x="150" y="256"/>
                </a:lnTo>
                <a:lnTo>
                  <a:pt x="154" y="250"/>
                </a:lnTo>
                <a:lnTo>
                  <a:pt x="160" y="246"/>
                </a:lnTo>
                <a:lnTo>
                  <a:pt x="166" y="242"/>
                </a:lnTo>
                <a:lnTo>
                  <a:pt x="174" y="240"/>
                </a:lnTo>
                <a:lnTo>
                  <a:pt x="180" y="240"/>
                </a:lnTo>
                <a:lnTo>
                  <a:pt x="180" y="240"/>
                </a:lnTo>
                <a:lnTo>
                  <a:pt x="188" y="240"/>
                </a:lnTo>
                <a:lnTo>
                  <a:pt x="196" y="242"/>
                </a:lnTo>
                <a:lnTo>
                  <a:pt x="202" y="246"/>
                </a:lnTo>
                <a:lnTo>
                  <a:pt x="208" y="250"/>
                </a:lnTo>
                <a:lnTo>
                  <a:pt x="212" y="256"/>
                </a:lnTo>
                <a:lnTo>
                  <a:pt x="216" y="262"/>
                </a:lnTo>
                <a:lnTo>
                  <a:pt x="218" y="270"/>
                </a:lnTo>
                <a:lnTo>
                  <a:pt x="218" y="276"/>
                </a:lnTo>
                <a:lnTo>
                  <a:pt x="218" y="278"/>
                </a:lnTo>
                <a:lnTo>
                  <a:pt x="218" y="322"/>
                </a:lnTo>
                <a:lnTo>
                  <a:pt x="210" y="322"/>
                </a:lnTo>
                <a:lnTo>
                  <a:pt x="210" y="322"/>
                </a:lnTo>
                <a:lnTo>
                  <a:pt x="206" y="322"/>
                </a:lnTo>
                <a:lnTo>
                  <a:pt x="202" y="326"/>
                </a:lnTo>
                <a:lnTo>
                  <a:pt x="200" y="328"/>
                </a:lnTo>
                <a:lnTo>
                  <a:pt x="198" y="332"/>
                </a:lnTo>
                <a:lnTo>
                  <a:pt x="198" y="332"/>
                </a:lnTo>
                <a:lnTo>
                  <a:pt x="200" y="338"/>
                </a:lnTo>
                <a:lnTo>
                  <a:pt x="202" y="340"/>
                </a:lnTo>
                <a:lnTo>
                  <a:pt x="206" y="344"/>
                </a:lnTo>
                <a:lnTo>
                  <a:pt x="210" y="344"/>
                </a:lnTo>
                <a:lnTo>
                  <a:pt x="218" y="344"/>
                </a:lnTo>
                <a:close/>
                <a:moveTo>
                  <a:pt x="240" y="334"/>
                </a:moveTo>
                <a:lnTo>
                  <a:pt x="240" y="390"/>
                </a:lnTo>
                <a:lnTo>
                  <a:pt x="240" y="390"/>
                </a:lnTo>
                <a:lnTo>
                  <a:pt x="254" y="382"/>
                </a:lnTo>
                <a:lnTo>
                  <a:pt x="270" y="372"/>
                </a:lnTo>
                <a:lnTo>
                  <a:pt x="282" y="362"/>
                </a:lnTo>
                <a:lnTo>
                  <a:pt x="294" y="350"/>
                </a:lnTo>
                <a:lnTo>
                  <a:pt x="294" y="250"/>
                </a:lnTo>
                <a:lnTo>
                  <a:pt x="294" y="250"/>
                </a:lnTo>
                <a:lnTo>
                  <a:pt x="294" y="234"/>
                </a:lnTo>
                <a:lnTo>
                  <a:pt x="288" y="218"/>
                </a:lnTo>
                <a:lnTo>
                  <a:pt x="282" y="204"/>
                </a:lnTo>
                <a:lnTo>
                  <a:pt x="272" y="192"/>
                </a:lnTo>
                <a:lnTo>
                  <a:pt x="260" y="182"/>
                </a:lnTo>
                <a:lnTo>
                  <a:pt x="246" y="174"/>
                </a:lnTo>
                <a:lnTo>
                  <a:pt x="230" y="168"/>
                </a:lnTo>
                <a:lnTo>
                  <a:pt x="214" y="166"/>
                </a:lnTo>
                <a:lnTo>
                  <a:pt x="192" y="166"/>
                </a:lnTo>
                <a:lnTo>
                  <a:pt x="192" y="166"/>
                </a:lnTo>
                <a:lnTo>
                  <a:pt x="192" y="168"/>
                </a:lnTo>
                <a:lnTo>
                  <a:pt x="192" y="218"/>
                </a:lnTo>
                <a:lnTo>
                  <a:pt x="192" y="218"/>
                </a:lnTo>
                <a:lnTo>
                  <a:pt x="202" y="222"/>
                </a:lnTo>
                <a:lnTo>
                  <a:pt x="212" y="226"/>
                </a:lnTo>
                <a:lnTo>
                  <a:pt x="220" y="232"/>
                </a:lnTo>
                <a:lnTo>
                  <a:pt x="226" y="238"/>
                </a:lnTo>
                <a:lnTo>
                  <a:pt x="232" y="248"/>
                </a:lnTo>
                <a:lnTo>
                  <a:pt x="236" y="256"/>
                </a:lnTo>
                <a:lnTo>
                  <a:pt x="240" y="266"/>
                </a:lnTo>
                <a:lnTo>
                  <a:pt x="240" y="276"/>
                </a:lnTo>
                <a:lnTo>
                  <a:pt x="240" y="332"/>
                </a:lnTo>
                <a:lnTo>
                  <a:pt x="240" y="332"/>
                </a:lnTo>
                <a:lnTo>
                  <a:pt x="240" y="334"/>
                </a:lnTo>
                <a:lnTo>
                  <a:pt x="240" y="334"/>
                </a:lnTo>
                <a:close/>
                <a:moveTo>
                  <a:pt x="82" y="106"/>
                </a:moveTo>
                <a:lnTo>
                  <a:pt x="82" y="106"/>
                </a:lnTo>
                <a:lnTo>
                  <a:pt x="86" y="116"/>
                </a:lnTo>
                <a:lnTo>
                  <a:pt x="92" y="122"/>
                </a:lnTo>
                <a:lnTo>
                  <a:pt x="100" y="130"/>
                </a:lnTo>
                <a:lnTo>
                  <a:pt x="108" y="136"/>
                </a:lnTo>
                <a:lnTo>
                  <a:pt x="118" y="140"/>
                </a:lnTo>
                <a:lnTo>
                  <a:pt x="126" y="144"/>
                </a:lnTo>
                <a:lnTo>
                  <a:pt x="136" y="146"/>
                </a:lnTo>
                <a:lnTo>
                  <a:pt x="148" y="148"/>
                </a:lnTo>
                <a:lnTo>
                  <a:pt x="148" y="148"/>
                </a:lnTo>
                <a:lnTo>
                  <a:pt x="158" y="146"/>
                </a:lnTo>
                <a:lnTo>
                  <a:pt x="168" y="144"/>
                </a:lnTo>
                <a:lnTo>
                  <a:pt x="178" y="140"/>
                </a:lnTo>
                <a:lnTo>
                  <a:pt x="186" y="136"/>
                </a:lnTo>
                <a:lnTo>
                  <a:pt x="196" y="130"/>
                </a:lnTo>
                <a:lnTo>
                  <a:pt x="202" y="122"/>
                </a:lnTo>
                <a:lnTo>
                  <a:pt x="208" y="116"/>
                </a:lnTo>
                <a:lnTo>
                  <a:pt x="214" y="106"/>
                </a:lnTo>
                <a:lnTo>
                  <a:pt x="214" y="106"/>
                </a:lnTo>
                <a:lnTo>
                  <a:pt x="200" y="96"/>
                </a:lnTo>
                <a:lnTo>
                  <a:pt x="184" y="90"/>
                </a:lnTo>
                <a:lnTo>
                  <a:pt x="166" y="84"/>
                </a:lnTo>
                <a:lnTo>
                  <a:pt x="148" y="84"/>
                </a:lnTo>
                <a:lnTo>
                  <a:pt x="148" y="84"/>
                </a:lnTo>
                <a:lnTo>
                  <a:pt x="130" y="84"/>
                </a:lnTo>
                <a:lnTo>
                  <a:pt x="112" y="90"/>
                </a:lnTo>
                <a:lnTo>
                  <a:pt x="96" y="96"/>
                </a:lnTo>
                <a:lnTo>
                  <a:pt x="82" y="106"/>
                </a:lnTo>
                <a:lnTo>
                  <a:pt x="82" y="106"/>
                </a:lnTo>
                <a:close/>
                <a:moveTo>
                  <a:pt x="148" y="0"/>
                </a:move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62" y="2"/>
                </a:lnTo>
                <a:lnTo>
                  <a:pt x="176" y="6"/>
                </a:lnTo>
                <a:lnTo>
                  <a:pt x="190" y="12"/>
                </a:lnTo>
                <a:lnTo>
                  <a:pt x="200" y="22"/>
                </a:lnTo>
                <a:lnTo>
                  <a:pt x="208" y="32"/>
                </a:lnTo>
                <a:lnTo>
                  <a:pt x="216" y="44"/>
                </a:lnTo>
                <a:lnTo>
                  <a:pt x="220" y="58"/>
                </a:lnTo>
                <a:lnTo>
                  <a:pt x="222" y="74"/>
                </a:lnTo>
                <a:lnTo>
                  <a:pt x="222" y="74"/>
                </a:lnTo>
                <a:lnTo>
                  <a:pt x="220" y="90"/>
                </a:lnTo>
                <a:lnTo>
                  <a:pt x="220" y="90"/>
                </a:lnTo>
                <a:lnTo>
                  <a:pt x="204" y="80"/>
                </a:lnTo>
                <a:lnTo>
                  <a:pt x="186" y="74"/>
                </a:lnTo>
                <a:lnTo>
                  <a:pt x="168" y="68"/>
                </a:lnTo>
                <a:lnTo>
                  <a:pt x="148" y="68"/>
                </a:lnTo>
                <a:lnTo>
                  <a:pt x="148" y="68"/>
                </a:lnTo>
                <a:lnTo>
                  <a:pt x="128" y="68"/>
                </a:lnTo>
                <a:lnTo>
                  <a:pt x="110" y="74"/>
                </a:lnTo>
                <a:lnTo>
                  <a:pt x="92" y="80"/>
                </a:lnTo>
                <a:lnTo>
                  <a:pt x="76" y="90"/>
                </a:lnTo>
                <a:lnTo>
                  <a:pt x="76" y="90"/>
                </a:lnTo>
                <a:lnTo>
                  <a:pt x="74" y="74"/>
                </a:lnTo>
                <a:lnTo>
                  <a:pt x="74" y="74"/>
                </a:lnTo>
                <a:lnTo>
                  <a:pt x="76" y="58"/>
                </a:lnTo>
                <a:lnTo>
                  <a:pt x="80" y="44"/>
                </a:lnTo>
                <a:lnTo>
                  <a:pt x="86" y="32"/>
                </a:lnTo>
                <a:lnTo>
                  <a:pt x="96" y="22"/>
                </a:lnTo>
                <a:lnTo>
                  <a:pt x="106" y="12"/>
                </a:lnTo>
                <a:lnTo>
                  <a:pt x="118" y="6"/>
                </a:lnTo>
                <a:lnTo>
                  <a:pt x="132" y="2"/>
                </a:lnTo>
                <a:lnTo>
                  <a:pt x="148" y="0"/>
                </a:lnTo>
                <a:lnTo>
                  <a:pt x="148" y="0"/>
                </a:lnTo>
                <a:close/>
                <a:moveTo>
                  <a:pt x="156" y="28"/>
                </a:moveTo>
                <a:lnTo>
                  <a:pt x="156" y="18"/>
                </a:lnTo>
                <a:lnTo>
                  <a:pt x="156" y="18"/>
                </a:lnTo>
                <a:lnTo>
                  <a:pt x="154" y="16"/>
                </a:lnTo>
                <a:lnTo>
                  <a:pt x="152" y="12"/>
                </a:lnTo>
                <a:lnTo>
                  <a:pt x="150" y="10"/>
                </a:lnTo>
                <a:lnTo>
                  <a:pt x="148" y="10"/>
                </a:lnTo>
                <a:lnTo>
                  <a:pt x="148" y="10"/>
                </a:lnTo>
                <a:lnTo>
                  <a:pt x="144" y="10"/>
                </a:lnTo>
                <a:lnTo>
                  <a:pt x="142" y="12"/>
                </a:lnTo>
                <a:lnTo>
                  <a:pt x="140" y="16"/>
                </a:lnTo>
                <a:lnTo>
                  <a:pt x="140" y="18"/>
                </a:lnTo>
                <a:lnTo>
                  <a:pt x="140" y="28"/>
                </a:lnTo>
                <a:lnTo>
                  <a:pt x="130" y="28"/>
                </a:lnTo>
                <a:lnTo>
                  <a:pt x="130" y="28"/>
                </a:lnTo>
                <a:lnTo>
                  <a:pt x="126" y="28"/>
                </a:lnTo>
                <a:lnTo>
                  <a:pt x="124" y="30"/>
                </a:lnTo>
                <a:lnTo>
                  <a:pt x="122" y="34"/>
                </a:lnTo>
                <a:lnTo>
                  <a:pt x="122" y="36"/>
                </a:lnTo>
                <a:lnTo>
                  <a:pt x="122" y="36"/>
                </a:lnTo>
                <a:lnTo>
                  <a:pt x="122" y="40"/>
                </a:lnTo>
                <a:lnTo>
                  <a:pt x="124" y="42"/>
                </a:lnTo>
                <a:lnTo>
                  <a:pt x="126" y="44"/>
                </a:lnTo>
                <a:lnTo>
                  <a:pt x="130" y="44"/>
                </a:lnTo>
                <a:lnTo>
                  <a:pt x="140" y="44"/>
                </a:lnTo>
                <a:lnTo>
                  <a:pt x="140" y="54"/>
                </a:lnTo>
                <a:lnTo>
                  <a:pt x="140" y="54"/>
                </a:lnTo>
                <a:lnTo>
                  <a:pt x="140" y="58"/>
                </a:lnTo>
                <a:lnTo>
                  <a:pt x="142" y="60"/>
                </a:lnTo>
                <a:lnTo>
                  <a:pt x="144" y="62"/>
                </a:lnTo>
                <a:lnTo>
                  <a:pt x="148" y="62"/>
                </a:lnTo>
                <a:lnTo>
                  <a:pt x="148" y="62"/>
                </a:lnTo>
                <a:lnTo>
                  <a:pt x="150" y="62"/>
                </a:lnTo>
                <a:lnTo>
                  <a:pt x="152" y="60"/>
                </a:lnTo>
                <a:lnTo>
                  <a:pt x="154" y="58"/>
                </a:lnTo>
                <a:lnTo>
                  <a:pt x="156" y="54"/>
                </a:lnTo>
                <a:lnTo>
                  <a:pt x="156" y="44"/>
                </a:lnTo>
                <a:lnTo>
                  <a:pt x="166" y="44"/>
                </a:lnTo>
                <a:lnTo>
                  <a:pt x="166" y="44"/>
                </a:lnTo>
                <a:lnTo>
                  <a:pt x="168" y="44"/>
                </a:lnTo>
                <a:lnTo>
                  <a:pt x="170" y="42"/>
                </a:lnTo>
                <a:lnTo>
                  <a:pt x="172" y="40"/>
                </a:lnTo>
                <a:lnTo>
                  <a:pt x="174" y="36"/>
                </a:lnTo>
                <a:lnTo>
                  <a:pt x="174" y="36"/>
                </a:lnTo>
                <a:lnTo>
                  <a:pt x="172" y="34"/>
                </a:lnTo>
                <a:lnTo>
                  <a:pt x="170" y="30"/>
                </a:lnTo>
                <a:lnTo>
                  <a:pt x="168" y="28"/>
                </a:lnTo>
                <a:lnTo>
                  <a:pt x="166" y="28"/>
                </a:lnTo>
                <a:lnTo>
                  <a:pt x="156" y="28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vert="horz" wrap="square" lIns="152348" tIns="76175" rIns="152348" bIns="76175" numCol="1" anchor="b" anchorCtr="0" compatLnSpc="1">
            <a:prstTxWarp prst="textNoShape">
              <a:avLst/>
            </a:prstTxWarp>
            <a:noAutofit/>
          </a:bodyPr>
          <a:lstStyle/>
          <a:p>
            <a:pPr defTabSz="1828635"/>
            <a:endParaRPr lang="en-GB" sz="6000">
              <a:solidFill>
                <a:srgbClr val="281C2C"/>
              </a:solidFill>
            </a:endParaRPr>
          </a:p>
        </p:txBody>
      </p:sp>
      <p:sp>
        <p:nvSpPr>
          <p:cNvPr id="29" name="Freeform 4845"/>
          <p:cNvSpPr>
            <a:spLocks noEditPoints="1"/>
          </p:cNvSpPr>
          <p:nvPr/>
        </p:nvSpPr>
        <p:spPr bwMode="auto">
          <a:xfrm>
            <a:off x="14360770" y="10250608"/>
            <a:ext cx="864000" cy="756000"/>
          </a:xfrm>
          <a:custGeom>
            <a:avLst/>
            <a:gdLst>
              <a:gd name="T0" fmla="*/ 86 w 384"/>
              <a:gd name="T1" fmla="*/ 34 h 416"/>
              <a:gd name="T2" fmla="*/ 108 w 384"/>
              <a:gd name="T3" fmla="*/ 36 h 416"/>
              <a:gd name="T4" fmla="*/ 122 w 384"/>
              <a:gd name="T5" fmla="*/ 86 h 416"/>
              <a:gd name="T6" fmla="*/ 102 w 384"/>
              <a:gd name="T7" fmla="*/ 82 h 416"/>
              <a:gd name="T8" fmla="*/ 24 w 384"/>
              <a:gd name="T9" fmla="*/ 106 h 416"/>
              <a:gd name="T10" fmla="*/ 26 w 384"/>
              <a:gd name="T11" fmla="*/ 126 h 416"/>
              <a:gd name="T12" fmla="*/ 68 w 384"/>
              <a:gd name="T13" fmla="*/ 136 h 416"/>
              <a:gd name="T14" fmla="*/ 64 w 384"/>
              <a:gd name="T15" fmla="*/ 120 h 416"/>
              <a:gd name="T16" fmla="*/ 154 w 384"/>
              <a:gd name="T17" fmla="*/ 372 h 416"/>
              <a:gd name="T18" fmla="*/ 164 w 384"/>
              <a:gd name="T19" fmla="*/ 386 h 416"/>
              <a:gd name="T20" fmla="*/ 230 w 384"/>
              <a:gd name="T21" fmla="*/ 376 h 416"/>
              <a:gd name="T22" fmla="*/ 220 w 384"/>
              <a:gd name="T23" fmla="*/ 366 h 416"/>
              <a:gd name="T24" fmla="*/ 164 w 384"/>
              <a:gd name="T25" fmla="*/ 402 h 416"/>
              <a:gd name="T26" fmla="*/ 174 w 384"/>
              <a:gd name="T27" fmla="*/ 416 h 416"/>
              <a:gd name="T28" fmla="*/ 220 w 384"/>
              <a:gd name="T29" fmla="*/ 406 h 416"/>
              <a:gd name="T30" fmla="*/ 210 w 384"/>
              <a:gd name="T31" fmla="*/ 396 h 416"/>
              <a:gd name="T32" fmla="*/ 34 w 384"/>
              <a:gd name="T33" fmla="*/ 294 h 416"/>
              <a:gd name="T34" fmla="*/ 48 w 384"/>
              <a:gd name="T35" fmla="*/ 302 h 416"/>
              <a:gd name="T36" fmla="*/ 66 w 384"/>
              <a:gd name="T37" fmla="*/ 280 h 416"/>
              <a:gd name="T38" fmla="*/ 52 w 384"/>
              <a:gd name="T39" fmla="*/ 276 h 416"/>
              <a:gd name="T40" fmla="*/ 38 w 384"/>
              <a:gd name="T41" fmla="*/ 196 h 416"/>
              <a:gd name="T42" fmla="*/ 0 w 384"/>
              <a:gd name="T43" fmla="*/ 208 h 416"/>
              <a:gd name="T44" fmla="*/ 38 w 384"/>
              <a:gd name="T45" fmla="*/ 220 h 416"/>
              <a:gd name="T46" fmla="*/ 50 w 384"/>
              <a:gd name="T47" fmla="*/ 208 h 416"/>
              <a:gd name="T48" fmla="*/ 206 w 384"/>
              <a:gd name="T49" fmla="*/ 54 h 416"/>
              <a:gd name="T50" fmla="*/ 192 w 384"/>
              <a:gd name="T51" fmla="*/ 0 h 416"/>
              <a:gd name="T52" fmla="*/ 178 w 384"/>
              <a:gd name="T53" fmla="*/ 54 h 416"/>
              <a:gd name="T54" fmla="*/ 192 w 384"/>
              <a:gd name="T55" fmla="*/ 68 h 416"/>
              <a:gd name="T56" fmla="*/ 320 w 384"/>
              <a:gd name="T57" fmla="*/ 278 h 416"/>
              <a:gd name="T58" fmla="*/ 322 w 384"/>
              <a:gd name="T59" fmla="*/ 294 h 416"/>
              <a:gd name="T60" fmla="*/ 348 w 384"/>
              <a:gd name="T61" fmla="*/ 298 h 416"/>
              <a:gd name="T62" fmla="*/ 346 w 384"/>
              <a:gd name="T63" fmla="*/ 284 h 416"/>
              <a:gd name="T64" fmla="*/ 362 w 384"/>
              <a:gd name="T65" fmla="*/ 122 h 416"/>
              <a:gd name="T66" fmla="*/ 356 w 384"/>
              <a:gd name="T67" fmla="*/ 104 h 416"/>
              <a:gd name="T68" fmla="*/ 314 w 384"/>
              <a:gd name="T69" fmla="*/ 128 h 416"/>
              <a:gd name="T70" fmla="*/ 326 w 384"/>
              <a:gd name="T71" fmla="*/ 142 h 416"/>
              <a:gd name="T72" fmla="*/ 336 w 384"/>
              <a:gd name="T73" fmla="*/ 204 h 416"/>
              <a:gd name="T74" fmla="*/ 346 w 384"/>
              <a:gd name="T75" fmla="*/ 220 h 416"/>
              <a:gd name="T76" fmla="*/ 384 w 384"/>
              <a:gd name="T77" fmla="*/ 208 h 416"/>
              <a:gd name="T78" fmla="*/ 372 w 384"/>
              <a:gd name="T79" fmla="*/ 196 h 416"/>
              <a:gd name="T80" fmla="*/ 276 w 384"/>
              <a:gd name="T81" fmla="*/ 36 h 416"/>
              <a:gd name="T82" fmla="*/ 262 w 384"/>
              <a:gd name="T83" fmla="*/ 86 h 416"/>
              <a:gd name="T84" fmla="*/ 300 w 384"/>
              <a:gd name="T85" fmla="*/ 50 h 416"/>
              <a:gd name="T86" fmla="*/ 294 w 384"/>
              <a:gd name="T87" fmla="*/ 32 h 416"/>
              <a:gd name="T88" fmla="*/ 262 w 384"/>
              <a:gd name="T89" fmla="*/ 256 h 416"/>
              <a:gd name="T90" fmla="*/ 236 w 384"/>
              <a:gd name="T91" fmla="*/ 322 h 416"/>
              <a:gd name="T92" fmla="*/ 218 w 384"/>
              <a:gd name="T93" fmla="*/ 354 h 416"/>
              <a:gd name="T94" fmla="*/ 150 w 384"/>
              <a:gd name="T95" fmla="*/ 338 h 416"/>
              <a:gd name="T96" fmla="*/ 132 w 384"/>
              <a:gd name="T97" fmla="*/ 270 h 416"/>
              <a:gd name="T98" fmla="*/ 98 w 384"/>
              <a:gd name="T99" fmla="*/ 196 h 416"/>
              <a:gd name="T100" fmla="*/ 134 w 384"/>
              <a:gd name="T101" fmla="*/ 118 h 416"/>
              <a:gd name="T102" fmla="*/ 234 w 384"/>
              <a:gd name="T103" fmla="*/ 108 h 416"/>
              <a:gd name="T104" fmla="*/ 286 w 384"/>
              <a:gd name="T105" fmla="*/ 196 h 416"/>
              <a:gd name="T106" fmla="*/ 192 w 384"/>
              <a:gd name="T107" fmla="*/ 128 h 416"/>
              <a:gd name="T108" fmla="*/ 146 w 384"/>
              <a:gd name="T109" fmla="*/ 144 h 416"/>
              <a:gd name="T110" fmla="*/ 126 w 384"/>
              <a:gd name="T111" fmla="*/ 198 h 416"/>
              <a:gd name="T112" fmla="*/ 142 w 384"/>
              <a:gd name="T113" fmla="*/ 200 h 416"/>
              <a:gd name="T114" fmla="*/ 154 w 384"/>
              <a:gd name="T115" fmla="*/ 164 h 416"/>
              <a:gd name="T116" fmla="*/ 190 w 384"/>
              <a:gd name="T117" fmla="*/ 148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4" h="416">
                <a:moveTo>
                  <a:pt x="102" y="82"/>
                </a:moveTo>
                <a:lnTo>
                  <a:pt x="84" y="50"/>
                </a:lnTo>
                <a:lnTo>
                  <a:pt x="84" y="50"/>
                </a:lnTo>
                <a:lnTo>
                  <a:pt x="82" y="44"/>
                </a:lnTo>
                <a:lnTo>
                  <a:pt x="84" y="40"/>
                </a:lnTo>
                <a:lnTo>
                  <a:pt x="86" y="34"/>
                </a:lnTo>
                <a:lnTo>
                  <a:pt x="90" y="32"/>
                </a:lnTo>
                <a:lnTo>
                  <a:pt x="90" y="32"/>
                </a:lnTo>
                <a:lnTo>
                  <a:pt x="96" y="30"/>
                </a:lnTo>
                <a:lnTo>
                  <a:pt x="100" y="30"/>
                </a:lnTo>
                <a:lnTo>
                  <a:pt x="106" y="32"/>
                </a:lnTo>
                <a:lnTo>
                  <a:pt x="108" y="36"/>
                </a:lnTo>
                <a:lnTo>
                  <a:pt x="126" y="68"/>
                </a:lnTo>
                <a:lnTo>
                  <a:pt x="126" y="68"/>
                </a:lnTo>
                <a:lnTo>
                  <a:pt x="128" y="72"/>
                </a:lnTo>
                <a:lnTo>
                  <a:pt x="128" y="78"/>
                </a:lnTo>
                <a:lnTo>
                  <a:pt x="126" y="82"/>
                </a:lnTo>
                <a:lnTo>
                  <a:pt x="122" y="86"/>
                </a:lnTo>
                <a:lnTo>
                  <a:pt x="122" y="86"/>
                </a:lnTo>
                <a:lnTo>
                  <a:pt x="114" y="88"/>
                </a:lnTo>
                <a:lnTo>
                  <a:pt x="114" y="88"/>
                </a:lnTo>
                <a:lnTo>
                  <a:pt x="108" y="86"/>
                </a:lnTo>
                <a:lnTo>
                  <a:pt x="102" y="82"/>
                </a:lnTo>
                <a:lnTo>
                  <a:pt x="102" y="82"/>
                </a:lnTo>
                <a:close/>
                <a:moveTo>
                  <a:pt x="64" y="120"/>
                </a:moveTo>
                <a:lnTo>
                  <a:pt x="38" y="104"/>
                </a:lnTo>
                <a:lnTo>
                  <a:pt x="38" y="104"/>
                </a:lnTo>
                <a:lnTo>
                  <a:pt x="32" y="104"/>
                </a:lnTo>
                <a:lnTo>
                  <a:pt x="28" y="104"/>
                </a:lnTo>
                <a:lnTo>
                  <a:pt x="24" y="106"/>
                </a:lnTo>
                <a:lnTo>
                  <a:pt x="22" y="110"/>
                </a:lnTo>
                <a:lnTo>
                  <a:pt x="22" y="110"/>
                </a:lnTo>
                <a:lnTo>
                  <a:pt x="20" y="114"/>
                </a:lnTo>
                <a:lnTo>
                  <a:pt x="20" y="118"/>
                </a:lnTo>
                <a:lnTo>
                  <a:pt x="22" y="122"/>
                </a:lnTo>
                <a:lnTo>
                  <a:pt x="26" y="126"/>
                </a:lnTo>
                <a:lnTo>
                  <a:pt x="52" y="142"/>
                </a:lnTo>
                <a:lnTo>
                  <a:pt x="52" y="142"/>
                </a:lnTo>
                <a:lnTo>
                  <a:pt x="58" y="142"/>
                </a:lnTo>
                <a:lnTo>
                  <a:pt x="58" y="142"/>
                </a:lnTo>
                <a:lnTo>
                  <a:pt x="64" y="142"/>
                </a:lnTo>
                <a:lnTo>
                  <a:pt x="68" y="136"/>
                </a:lnTo>
                <a:lnTo>
                  <a:pt x="68" y="136"/>
                </a:lnTo>
                <a:lnTo>
                  <a:pt x="70" y="132"/>
                </a:lnTo>
                <a:lnTo>
                  <a:pt x="70" y="128"/>
                </a:lnTo>
                <a:lnTo>
                  <a:pt x="68" y="124"/>
                </a:lnTo>
                <a:lnTo>
                  <a:pt x="64" y="120"/>
                </a:lnTo>
                <a:lnTo>
                  <a:pt x="64" y="120"/>
                </a:lnTo>
                <a:close/>
                <a:moveTo>
                  <a:pt x="220" y="366"/>
                </a:moveTo>
                <a:lnTo>
                  <a:pt x="164" y="366"/>
                </a:lnTo>
                <a:lnTo>
                  <a:pt x="164" y="366"/>
                </a:lnTo>
                <a:lnTo>
                  <a:pt x="160" y="366"/>
                </a:lnTo>
                <a:lnTo>
                  <a:pt x="156" y="368"/>
                </a:lnTo>
                <a:lnTo>
                  <a:pt x="154" y="372"/>
                </a:lnTo>
                <a:lnTo>
                  <a:pt x="154" y="376"/>
                </a:lnTo>
                <a:lnTo>
                  <a:pt x="154" y="376"/>
                </a:lnTo>
                <a:lnTo>
                  <a:pt x="154" y="380"/>
                </a:lnTo>
                <a:lnTo>
                  <a:pt x="156" y="382"/>
                </a:lnTo>
                <a:lnTo>
                  <a:pt x="160" y="384"/>
                </a:lnTo>
                <a:lnTo>
                  <a:pt x="164" y="386"/>
                </a:lnTo>
                <a:lnTo>
                  <a:pt x="220" y="386"/>
                </a:lnTo>
                <a:lnTo>
                  <a:pt x="220" y="386"/>
                </a:lnTo>
                <a:lnTo>
                  <a:pt x="224" y="384"/>
                </a:lnTo>
                <a:lnTo>
                  <a:pt x="228" y="382"/>
                </a:lnTo>
                <a:lnTo>
                  <a:pt x="230" y="380"/>
                </a:lnTo>
                <a:lnTo>
                  <a:pt x="230" y="376"/>
                </a:lnTo>
                <a:lnTo>
                  <a:pt x="230" y="376"/>
                </a:lnTo>
                <a:lnTo>
                  <a:pt x="230" y="372"/>
                </a:lnTo>
                <a:lnTo>
                  <a:pt x="228" y="368"/>
                </a:lnTo>
                <a:lnTo>
                  <a:pt x="224" y="366"/>
                </a:lnTo>
                <a:lnTo>
                  <a:pt x="220" y="366"/>
                </a:lnTo>
                <a:lnTo>
                  <a:pt x="220" y="366"/>
                </a:lnTo>
                <a:close/>
                <a:moveTo>
                  <a:pt x="210" y="396"/>
                </a:moveTo>
                <a:lnTo>
                  <a:pt x="174" y="396"/>
                </a:lnTo>
                <a:lnTo>
                  <a:pt x="174" y="396"/>
                </a:lnTo>
                <a:lnTo>
                  <a:pt x="170" y="396"/>
                </a:lnTo>
                <a:lnTo>
                  <a:pt x="166" y="398"/>
                </a:lnTo>
                <a:lnTo>
                  <a:pt x="164" y="402"/>
                </a:lnTo>
                <a:lnTo>
                  <a:pt x="164" y="406"/>
                </a:lnTo>
                <a:lnTo>
                  <a:pt x="164" y="406"/>
                </a:lnTo>
                <a:lnTo>
                  <a:pt x="164" y="410"/>
                </a:lnTo>
                <a:lnTo>
                  <a:pt x="166" y="414"/>
                </a:lnTo>
                <a:lnTo>
                  <a:pt x="170" y="416"/>
                </a:lnTo>
                <a:lnTo>
                  <a:pt x="174" y="416"/>
                </a:lnTo>
                <a:lnTo>
                  <a:pt x="210" y="416"/>
                </a:lnTo>
                <a:lnTo>
                  <a:pt x="210" y="416"/>
                </a:lnTo>
                <a:lnTo>
                  <a:pt x="214" y="416"/>
                </a:lnTo>
                <a:lnTo>
                  <a:pt x="218" y="414"/>
                </a:lnTo>
                <a:lnTo>
                  <a:pt x="220" y="410"/>
                </a:lnTo>
                <a:lnTo>
                  <a:pt x="220" y="406"/>
                </a:lnTo>
                <a:lnTo>
                  <a:pt x="220" y="406"/>
                </a:lnTo>
                <a:lnTo>
                  <a:pt x="220" y="402"/>
                </a:lnTo>
                <a:lnTo>
                  <a:pt x="218" y="398"/>
                </a:lnTo>
                <a:lnTo>
                  <a:pt x="214" y="396"/>
                </a:lnTo>
                <a:lnTo>
                  <a:pt x="210" y="396"/>
                </a:lnTo>
                <a:lnTo>
                  <a:pt x="210" y="396"/>
                </a:lnTo>
                <a:close/>
                <a:moveTo>
                  <a:pt x="52" y="276"/>
                </a:moveTo>
                <a:lnTo>
                  <a:pt x="38" y="284"/>
                </a:lnTo>
                <a:lnTo>
                  <a:pt x="38" y="284"/>
                </a:lnTo>
                <a:lnTo>
                  <a:pt x="36" y="288"/>
                </a:lnTo>
                <a:lnTo>
                  <a:pt x="34" y="290"/>
                </a:lnTo>
                <a:lnTo>
                  <a:pt x="34" y="294"/>
                </a:lnTo>
                <a:lnTo>
                  <a:pt x="36" y="298"/>
                </a:lnTo>
                <a:lnTo>
                  <a:pt x="36" y="298"/>
                </a:lnTo>
                <a:lnTo>
                  <a:pt x="40" y="302"/>
                </a:lnTo>
                <a:lnTo>
                  <a:pt x="44" y="304"/>
                </a:lnTo>
                <a:lnTo>
                  <a:pt x="44" y="304"/>
                </a:lnTo>
                <a:lnTo>
                  <a:pt x="48" y="302"/>
                </a:lnTo>
                <a:lnTo>
                  <a:pt x="62" y="294"/>
                </a:lnTo>
                <a:lnTo>
                  <a:pt x="62" y="294"/>
                </a:lnTo>
                <a:lnTo>
                  <a:pt x="66" y="292"/>
                </a:lnTo>
                <a:lnTo>
                  <a:pt x="68" y="288"/>
                </a:lnTo>
                <a:lnTo>
                  <a:pt x="68" y="284"/>
                </a:lnTo>
                <a:lnTo>
                  <a:pt x="66" y="280"/>
                </a:lnTo>
                <a:lnTo>
                  <a:pt x="66" y="280"/>
                </a:lnTo>
                <a:lnTo>
                  <a:pt x="64" y="278"/>
                </a:lnTo>
                <a:lnTo>
                  <a:pt x="60" y="276"/>
                </a:lnTo>
                <a:lnTo>
                  <a:pt x="56" y="276"/>
                </a:lnTo>
                <a:lnTo>
                  <a:pt x="52" y="276"/>
                </a:lnTo>
                <a:lnTo>
                  <a:pt x="52" y="276"/>
                </a:lnTo>
                <a:close/>
                <a:moveTo>
                  <a:pt x="50" y="208"/>
                </a:moveTo>
                <a:lnTo>
                  <a:pt x="50" y="208"/>
                </a:lnTo>
                <a:lnTo>
                  <a:pt x="48" y="204"/>
                </a:lnTo>
                <a:lnTo>
                  <a:pt x="46" y="200"/>
                </a:lnTo>
                <a:lnTo>
                  <a:pt x="42" y="198"/>
                </a:lnTo>
                <a:lnTo>
                  <a:pt x="38" y="196"/>
                </a:lnTo>
                <a:lnTo>
                  <a:pt x="12" y="196"/>
                </a:lnTo>
                <a:lnTo>
                  <a:pt x="12" y="196"/>
                </a:lnTo>
                <a:lnTo>
                  <a:pt x="6" y="198"/>
                </a:lnTo>
                <a:lnTo>
                  <a:pt x="2" y="200"/>
                </a:lnTo>
                <a:lnTo>
                  <a:pt x="0" y="204"/>
                </a:lnTo>
                <a:lnTo>
                  <a:pt x="0" y="208"/>
                </a:lnTo>
                <a:lnTo>
                  <a:pt x="0" y="208"/>
                </a:lnTo>
                <a:lnTo>
                  <a:pt x="0" y="212"/>
                </a:lnTo>
                <a:lnTo>
                  <a:pt x="2" y="216"/>
                </a:lnTo>
                <a:lnTo>
                  <a:pt x="6" y="220"/>
                </a:lnTo>
                <a:lnTo>
                  <a:pt x="12" y="220"/>
                </a:lnTo>
                <a:lnTo>
                  <a:pt x="38" y="220"/>
                </a:lnTo>
                <a:lnTo>
                  <a:pt x="38" y="220"/>
                </a:lnTo>
                <a:lnTo>
                  <a:pt x="42" y="220"/>
                </a:lnTo>
                <a:lnTo>
                  <a:pt x="46" y="216"/>
                </a:lnTo>
                <a:lnTo>
                  <a:pt x="48" y="212"/>
                </a:lnTo>
                <a:lnTo>
                  <a:pt x="50" y="208"/>
                </a:lnTo>
                <a:lnTo>
                  <a:pt x="50" y="208"/>
                </a:lnTo>
                <a:close/>
                <a:moveTo>
                  <a:pt x="192" y="68"/>
                </a:moveTo>
                <a:lnTo>
                  <a:pt x="192" y="68"/>
                </a:lnTo>
                <a:lnTo>
                  <a:pt x="198" y="66"/>
                </a:lnTo>
                <a:lnTo>
                  <a:pt x="202" y="64"/>
                </a:lnTo>
                <a:lnTo>
                  <a:pt x="204" y="58"/>
                </a:lnTo>
                <a:lnTo>
                  <a:pt x="206" y="54"/>
                </a:lnTo>
                <a:lnTo>
                  <a:pt x="206" y="14"/>
                </a:lnTo>
                <a:lnTo>
                  <a:pt x="206" y="14"/>
                </a:lnTo>
                <a:lnTo>
                  <a:pt x="204" y="8"/>
                </a:lnTo>
                <a:lnTo>
                  <a:pt x="202" y="4"/>
                </a:lnTo>
                <a:lnTo>
                  <a:pt x="198" y="0"/>
                </a:lnTo>
                <a:lnTo>
                  <a:pt x="192" y="0"/>
                </a:lnTo>
                <a:lnTo>
                  <a:pt x="192" y="0"/>
                </a:lnTo>
                <a:lnTo>
                  <a:pt x="186" y="0"/>
                </a:lnTo>
                <a:lnTo>
                  <a:pt x="182" y="4"/>
                </a:lnTo>
                <a:lnTo>
                  <a:pt x="180" y="8"/>
                </a:lnTo>
                <a:lnTo>
                  <a:pt x="178" y="14"/>
                </a:lnTo>
                <a:lnTo>
                  <a:pt x="178" y="54"/>
                </a:lnTo>
                <a:lnTo>
                  <a:pt x="178" y="54"/>
                </a:lnTo>
                <a:lnTo>
                  <a:pt x="180" y="58"/>
                </a:lnTo>
                <a:lnTo>
                  <a:pt x="182" y="64"/>
                </a:lnTo>
                <a:lnTo>
                  <a:pt x="186" y="66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346" y="284"/>
                </a:moveTo>
                <a:lnTo>
                  <a:pt x="332" y="276"/>
                </a:lnTo>
                <a:lnTo>
                  <a:pt x="332" y="276"/>
                </a:lnTo>
                <a:lnTo>
                  <a:pt x="328" y="276"/>
                </a:lnTo>
                <a:lnTo>
                  <a:pt x="324" y="276"/>
                </a:lnTo>
                <a:lnTo>
                  <a:pt x="320" y="278"/>
                </a:lnTo>
                <a:lnTo>
                  <a:pt x="318" y="280"/>
                </a:lnTo>
                <a:lnTo>
                  <a:pt x="318" y="280"/>
                </a:lnTo>
                <a:lnTo>
                  <a:pt x="316" y="284"/>
                </a:lnTo>
                <a:lnTo>
                  <a:pt x="316" y="288"/>
                </a:lnTo>
                <a:lnTo>
                  <a:pt x="318" y="292"/>
                </a:lnTo>
                <a:lnTo>
                  <a:pt x="322" y="294"/>
                </a:lnTo>
                <a:lnTo>
                  <a:pt x="336" y="302"/>
                </a:lnTo>
                <a:lnTo>
                  <a:pt x="336" y="302"/>
                </a:lnTo>
                <a:lnTo>
                  <a:pt x="340" y="304"/>
                </a:lnTo>
                <a:lnTo>
                  <a:pt x="340" y="304"/>
                </a:lnTo>
                <a:lnTo>
                  <a:pt x="344" y="302"/>
                </a:lnTo>
                <a:lnTo>
                  <a:pt x="348" y="298"/>
                </a:lnTo>
                <a:lnTo>
                  <a:pt x="348" y="298"/>
                </a:lnTo>
                <a:lnTo>
                  <a:pt x="350" y="294"/>
                </a:lnTo>
                <a:lnTo>
                  <a:pt x="350" y="290"/>
                </a:lnTo>
                <a:lnTo>
                  <a:pt x="348" y="288"/>
                </a:lnTo>
                <a:lnTo>
                  <a:pt x="346" y="284"/>
                </a:lnTo>
                <a:lnTo>
                  <a:pt x="346" y="284"/>
                </a:lnTo>
                <a:close/>
                <a:moveTo>
                  <a:pt x="326" y="142"/>
                </a:moveTo>
                <a:lnTo>
                  <a:pt x="326" y="142"/>
                </a:lnTo>
                <a:lnTo>
                  <a:pt x="332" y="142"/>
                </a:lnTo>
                <a:lnTo>
                  <a:pt x="358" y="126"/>
                </a:lnTo>
                <a:lnTo>
                  <a:pt x="358" y="126"/>
                </a:lnTo>
                <a:lnTo>
                  <a:pt x="362" y="122"/>
                </a:lnTo>
                <a:lnTo>
                  <a:pt x="364" y="118"/>
                </a:lnTo>
                <a:lnTo>
                  <a:pt x="364" y="114"/>
                </a:lnTo>
                <a:lnTo>
                  <a:pt x="362" y="110"/>
                </a:lnTo>
                <a:lnTo>
                  <a:pt x="362" y="110"/>
                </a:lnTo>
                <a:lnTo>
                  <a:pt x="360" y="106"/>
                </a:lnTo>
                <a:lnTo>
                  <a:pt x="356" y="104"/>
                </a:lnTo>
                <a:lnTo>
                  <a:pt x="352" y="104"/>
                </a:lnTo>
                <a:lnTo>
                  <a:pt x="346" y="104"/>
                </a:lnTo>
                <a:lnTo>
                  <a:pt x="320" y="120"/>
                </a:lnTo>
                <a:lnTo>
                  <a:pt x="320" y="120"/>
                </a:lnTo>
                <a:lnTo>
                  <a:pt x="316" y="124"/>
                </a:lnTo>
                <a:lnTo>
                  <a:pt x="314" y="128"/>
                </a:lnTo>
                <a:lnTo>
                  <a:pt x="314" y="132"/>
                </a:lnTo>
                <a:lnTo>
                  <a:pt x="316" y="136"/>
                </a:lnTo>
                <a:lnTo>
                  <a:pt x="316" y="136"/>
                </a:lnTo>
                <a:lnTo>
                  <a:pt x="320" y="142"/>
                </a:lnTo>
                <a:lnTo>
                  <a:pt x="326" y="142"/>
                </a:lnTo>
                <a:lnTo>
                  <a:pt x="326" y="142"/>
                </a:lnTo>
                <a:close/>
                <a:moveTo>
                  <a:pt x="372" y="196"/>
                </a:moveTo>
                <a:lnTo>
                  <a:pt x="346" y="196"/>
                </a:lnTo>
                <a:lnTo>
                  <a:pt x="346" y="196"/>
                </a:lnTo>
                <a:lnTo>
                  <a:pt x="342" y="198"/>
                </a:lnTo>
                <a:lnTo>
                  <a:pt x="338" y="200"/>
                </a:lnTo>
                <a:lnTo>
                  <a:pt x="336" y="204"/>
                </a:lnTo>
                <a:lnTo>
                  <a:pt x="334" y="208"/>
                </a:lnTo>
                <a:lnTo>
                  <a:pt x="334" y="208"/>
                </a:lnTo>
                <a:lnTo>
                  <a:pt x="336" y="212"/>
                </a:lnTo>
                <a:lnTo>
                  <a:pt x="338" y="216"/>
                </a:lnTo>
                <a:lnTo>
                  <a:pt x="342" y="220"/>
                </a:lnTo>
                <a:lnTo>
                  <a:pt x="346" y="220"/>
                </a:lnTo>
                <a:lnTo>
                  <a:pt x="372" y="220"/>
                </a:lnTo>
                <a:lnTo>
                  <a:pt x="372" y="220"/>
                </a:lnTo>
                <a:lnTo>
                  <a:pt x="378" y="220"/>
                </a:lnTo>
                <a:lnTo>
                  <a:pt x="382" y="216"/>
                </a:lnTo>
                <a:lnTo>
                  <a:pt x="384" y="212"/>
                </a:lnTo>
                <a:lnTo>
                  <a:pt x="384" y="208"/>
                </a:lnTo>
                <a:lnTo>
                  <a:pt x="384" y="208"/>
                </a:lnTo>
                <a:lnTo>
                  <a:pt x="384" y="204"/>
                </a:lnTo>
                <a:lnTo>
                  <a:pt x="382" y="200"/>
                </a:lnTo>
                <a:lnTo>
                  <a:pt x="378" y="198"/>
                </a:lnTo>
                <a:lnTo>
                  <a:pt x="372" y="196"/>
                </a:lnTo>
                <a:lnTo>
                  <a:pt x="372" y="196"/>
                </a:lnTo>
                <a:close/>
                <a:moveTo>
                  <a:pt x="294" y="32"/>
                </a:moveTo>
                <a:lnTo>
                  <a:pt x="294" y="32"/>
                </a:lnTo>
                <a:lnTo>
                  <a:pt x="288" y="30"/>
                </a:lnTo>
                <a:lnTo>
                  <a:pt x="284" y="30"/>
                </a:lnTo>
                <a:lnTo>
                  <a:pt x="278" y="32"/>
                </a:lnTo>
                <a:lnTo>
                  <a:pt x="276" y="36"/>
                </a:lnTo>
                <a:lnTo>
                  <a:pt x="258" y="68"/>
                </a:lnTo>
                <a:lnTo>
                  <a:pt x="258" y="68"/>
                </a:lnTo>
                <a:lnTo>
                  <a:pt x="256" y="72"/>
                </a:lnTo>
                <a:lnTo>
                  <a:pt x="256" y="78"/>
                </a:lnTo>
                <a:lnTo>
                  <a:pt x="258" y="82"/>
                </a:lnTo>
                <a:lnTo>
                  <a:pt x="262" y="86"/>
                </a:lnTo>
                <a:lnTo>
                  <a:pt x="262" y="86"/>
                </a:lnTo>
                <a:lnTo>
                  <a:pt x="270" y="88"/>
                </a:lnTo>
                <a:lnTo>
                  <a:pt x="270" y="88"/>
                </a:lnTo>
                <a:lnTo>
                  <a:pt x="276" y="86"/>
                </a:lnTo>
                <a:lnTo>
                  <a:pt x="282" y="82"/>
                </a:lnTo>
                <a:lnTo>
                  <a:pt x="300" y="50"/>
                </a:lnTo>
                <a:lnTo>
                  <a:pt x="300" y="50"/>
                </a:lnTo>
                <a:lnTo>
                  <a:pt x="302" y="44"/>
                </a:lnTo>
                <a:lnTo>
                  <a:pt x="300" y="40"/>
                </a:lnTo>
                <a:lnTo>
                  <a:pt x="298" y="34"/>
                </a:lnTo>
                <a:lnTo>
                  <a:pt x="294" y="32"/>
                </a:lnTo>
                <a:lnTo>
                  <a:pt x="294" y="32"/>
                </a:lnTo>
                <a:close/>
                <a:moveTo>
                  <a:pt x="286" y="196"/>
                </a:moveTo>
                <a:lnTo>
                  <a:pt x="286" y="196"/>
                </a:lnTo>
                <a:lnTo>
                  <a:pt x="284" y="216"/>
                </a:lnTo>
                <a:lnTo>
                  <a:pt x="278" y="232"/>
                </a:lnTo>
                <a:lnTo>
                  <a:pt x="272" y="244"/>
                </a:lnTo>
                <a:lnTo>
                  <a:pt x="262" y="256"/>
                </a:lnTo>
                <a:lnTo>
                  <a:pt x="262" y="256"/>
                </a:lnTo>
                <a:lnTo>
                  <a:pt x="252" y="270"/>
                </a:lnTo>
                <a:lnTo>
                  <a:pt x="244" y="288"/>
                </a:lnTo>
                <a:lnTo>
                  <a:pt x="240" y="298"/>
                </a:lnTo>
                <a:lnTo>
                  <a:pt x="238" y="310"/>
                </a:lnTo>
                <a:lnTo>
                  <a:pt x="236" y="322"/>
                </a:lnTo>
                <a:lnTo>
                  <a:pt x="234" y="338"/>
                </a:lnTo>
                <a:lnTo>
                  <a:pt x="234" y="338"/>
                </a:lnTo>
                <a:lnTo>
                  <a:pt x="232" y="344"/>
                </a:lnTo>
                <a:lnTo>
                  <a:pt x="230" y="350"/>
                </a:lnTo>
                <a:lnTo>
                  <a:pt x="224" y="354"/>
                </a:lnTo>
                <a:lnTo>
                  <a:pt x="218" y="354"/>
                </a:lnTo>
                <a:lnTo>
                  <a:pt x="166" y="354"/>
                </a:lnTo>
                <a:lnTo>
                  <a:pt x="166" y="354"/>
                </a:lnTo>
                <a:lnTo>
                  <a:pt x="160" y="354"/>
                </a:lnTo>
                <a:lnTo>
                  <a:pt x="154" y="350"/>
                </a:lnTo>
                <a:lnTo>
                  <a:pt x="152" y="344"/>
                </a:lnTo>
                <a:lnTo>
                  <a:pt x="150" y="338"/>
                </a:lnTo>
                <a:lnTo>
                  <a:pt x="150" y="338"/>
                </a:lnTo>
                <a:lnTo>
                  <a:pt x="148" y="322"/>
                </a:lnTo>
                <a:lnTo>
                  <a:pt x="146" y="310"/>
                </a:lnTo>
                <a:lnTo>
                  <a:pt x="144" y="298"/>
                </a:lnTo>
                <a:lnTo>
                  <a:pt x="140" y="288"/>
                </a:lnTo>
                <a:lnTo>
                  <a:pt x="132" y="270"/>
                </a:lnTo>
                <a:lnTo>
                  <a:pt x="122" y="256"/>
                </a:lnTo>
                <a:lnTo>
                  <a:pt x="122" y="256"/>
                </a:lnTo>
                <a:lnTo>
                  <a:pt x="112" y="244"/>
                </a:lnTo>
                <a:lnTo>
                  <a:pt x="106" y="232"/>
                </a:lnTo>
                <a:lnTo>
                  <a:pt x="100" y="216"/>
                </a:lnTo>
                <a:lnTo>
                  <a:pt x="98" y="196"/>
                </a:lnTo>
                <a:lnTo>
                  <a:pt x="98" y="196"/>
                </a:lnTo>
                <a:lnTo>
                  <a:pt x="100" y="178"/>
                </a:lnTo>
                <a:lnTo>
                  <a:pt x="104" y="160"/>
                </a:lnTo>
                <a:lnTo>
                  <a:pt x="110" y="144"/>
                </a:lnTo>
                <a:lnTo>
                  <a:pt x="120" y="130"/>
                </a:lnTo>
                <a:lnTo>
                  <a:pt x="134" y="118"/>
                </a:lnTo>
                <a:lnTo>
                  <a:pt x="150" y="108"/>
                </a:lnTo>
                <a:lnTo>
                  <a:pt x="170" y="102"/>
                </a:lnTo>
                <a:lnTo>
                  <a:pt x="192" y="98"/>
                </a:lnTo>
                <a:lnTo>
                  <a:pt x="192" y="98"/>
                </a:lnTo>
                <a:lnTo>
                  <a:pt x="214" y="102"/>
                </a:lnTo>
                <a:lnTo>
                  <a:pt x="234" y="108"/>
                </a:lnTo>
                <a:lnTo>
                  <a:pt x="250" y="118"/>
                </a:lnTo>
                <a:lnTo>
                  <a:pt x="264" y="130"/>
                </a:lnTo>
                <a:lnTo>
                  <a:pt x="274" y="144"/>
                </a:lnTo>
                <a:lnTo>
                  <a:pt x="280" y="160"/>
                </a:lnTo>
                <a:lnTo>
                  <a:pt x="284" y="178"/>
                </a:lnTo>
                <a:lnTo>
                  <a:pt x="286" y="196"/>
                </a:lnTo>
                <a:lnTo>
                  <a:pt x="286" y="196"/>
                </a:lnTo>
                <a:close/>
                <a:moveTo>
                  <a:pt x="200" y="138"/>
                </a:moveTo>
                <a:lnTo>
                  <a:pt x="200" y="138"/>
                </a:lnTo>
                <a:lnTo>
                  <a:pt x="198" y="134"/>
                </a:lnTo>
                <a:lnTo>
                  <a:pt x="196" y="130"/>
                </a:lnTo>
                <a:lnTo>
                  <a:pt x="192" y="128"/>
                </a:lnTo>
                <a:lnTo>
                  <a:pt x="190" y="128"/>
                </a:lnTo>
                <a:lnTo>
                  <a:pt x="190" y="128"/>
                </a:lnTo>
                <a:lnTo>
                  <a:pt x="178" y="128"/>
                </a:lnTo>
                <a:lnTo>
                  <a:pt x="166" y="132"/>
                </a:lnTo>
                <a:lnTo>
                  <a:pt x="156" y="136"/>
                </a:lnTo>
                <a:lnTo>
                  <a:pt x="146" y="144"/>
                </a:lnTo>
                <a:lnTo>
                  <a:pt x="136" y="154"/>
                </a:lnTo>
                <a:lnTo>
                  <a:pt x="130" y="164"/>
                </a:lnTo>
                <a:lnTo>
                  <a:pt x="126" y="178"/>
                </a:lnTo>
                <a:lnTo>
                  <a:pt x="124" y="194"/>
                </a:lnTo>
                <a:lnTo>
                  <a:pt x="124" y="194"/>
                </a:lnTo>
                <a:lnTo>
                  <a:pt x="126" y="198"/>
                </a:lnTo>
                <a:lnTo>
                  <a:pt x="128" y="200"/>
                </a:lnTo>
                <a:lnTo>
                  <a:pt x="130" y="204"/>
                </a:lnTo>
                <a:lnTo>
                  <a:pt x="134" y="204"/>
                </a:lnTo>
                <a:lnTo>
                  <a:pt x="134" y="204"/>
                </a:lnTo>
                <a:lnTo>
                  <a:pt x="138" y="204"/>
                </a:lnTo>
                <a:lnTo>
                  <a:pt x="142" y="200"/>
                </a:lnTo>
                <a:lnTo>
                  <a:pt x="144" y="198"/>
                </a:lnTo>
                <a:lnTo>
                  <a:pt x="144" y="194"/>
                </a:lnTo>
                <a:lnTo>
                  <a:pt x="144" y="194"/>
                </a:lnTo>
                <a:lnTo>
                  <a:pt x="146" y="182"/>
                </a:lnTo>
                <a:lnTo>
                  <a:pt x="148" y="172"/>
                </a:lnTo>
                <a:lnTo>
                  <a:pt x="154" y="164"/>
                </a:lnTo>
                <a:lnTo>
                  <a:pt x="160" y="158"/>
                </a:lnTo>
                <a:lnTo>
                  <a:pt x="166" y="154"/>
                </a:lnTo>
                <a:lnTo>
                  <a:pt x="174" y="150"/>
                </a:lnTo>
                <a:lnTo>
                  <a:pt x="182" y="148"/>
                </a:lnTo>
                <a:lnTo>
                  <a:pt x="190" y="148"/>
                </a:lnTo>
                <a:lnTo>
                  <a:pt x="190" y="148"/>
                </a:lnTo>
                <a:lnTo>
                  <a:pt x="192" y="148"/>
                </a:lnTo>
                <a:lnTo>
                  <a:pt x="196" y="144"/>
                </a:lnTo>
                <a:lnTo>
                  <a:pt x="198" y="142"/>
                </a:lnTo>
                <a:lnTo>
                  <a:pt x="200" y="138"/>
                </a:lnTo>
                <a:lnTo>
                  <a:pt x="200" y="138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40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6998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68" grpId="0" animBg="1"/>
      <p:bldP spid="69" grpId="0" animBg="1"/>
      <p:bldP spid="71" grpId="0" animBg="1"/>
      <p:bldP spid="72" grpId="0" animBg="1"/>
      <p:bldP spid="73" grpId="0" animBg="1"/>
      <p:bldP spid="74" grpId="0" animBg="1"/>
      <p:bldP spid="3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9E6F2D0-525E-491F-8CB5-1904DD434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elsedataprogrammet og Helseanalyseplattformen har hovedfokus på </a:t>
            </a:r>
            <a:r>
              <a:rPr lang="nb-NO" u="sng" dirty="0"/>
              <a:t>data ut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A24E468-EBD7-4CBE-9483-595BADF62F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/>
          </a:bodyPr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ttvinklet trekant 4">
            <a:extLst>
              <a:ext uri="{FF2B5EF4-FFF2-40B4-BE49-F238E27FC236}">
                <a16:creationId xmlns:a16="http://schemas.microsoft.com/office/drawing/2014/main" id="{8C0904F5-719D-40E9-9123-A821EB5DB0F8}"/>
              </a:ext>
            </a:extLst>
          </p:cNvPr>
          <p:cNvSpPr/>
          <p:nvPr/>
        </p:nvSpPr>
        <p:spPr>
          <a:xfrm flipH="1">
            <a:off x="4662306" y="4635804"/>
            <a:ext cx="15480000" cy="5760000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ttvinklet trekant 5">
            <a:extLst>
              <a:ext uri="{FF2B5EF4-FFF2-40B4-BE49-F238E27FC236}">
                <a16:creationId xmlns:a16="http://schemas.microsoft.com/office/drawing/2014/main" id="{7650DFE5-8049-4158-92FA-059C30F1525F}"/>
              </a:ext>
            </a:extLst>
          </p:cNvPr>
          <p:cNvSpPr/>
          <p:nvPr/>
        </p:nvSpPr>
        <p:spPr>
          <a:xfrm rot="10800000" flipH="1">
            <a:off x="4586106" y="4440948"/>
            <a:ext cx="15480000" cy="5760000"/>
          </a:xfrm>
          <a:prstGeom prst="rtTriangl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85C5293-2969-4CD1-BEE2-6B50B535A9DA}"/>
              </a:ext>
            </a:extLst>
          </p:cNvPr>
          <p:cNvSpPr/>
          <p:nvPr/>
        </p:nvSpPr>
        <p:spPr>
          <a:xfrm>
            <a:off x="4586106" y="10466843"/>
            <a:ext cx="2901142" cy="88066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inn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4000" b="1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9DA5D4D-4845-42D5-8593-579E5F09D377}"/>
              </a:ext>
            </a:extLst>
          </p:cNvPr>
          <p:cNvSpPr/>
          <p:nvPr/>
        </p:nvSpPr>
        <p:spPr>
          <a:xfrm>
            <a:off x="17314057" y="10466842"/>
            <a:ext cx="2901142" cy="88066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a </a:t>
            </a:r>
            <a:r>
              <a:rPr kumimoji="0" lang="nb-NO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</a:t>
            </a:r>
          </a:p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dirty="0" smtClean="0">
                <a:solidFill>
                  <a:srgbClr val="281C2C"/>
                </a:solidFill>
                <a:latin typeface="Arial" panose="020B0604020202020204"/>
              </a:rPr>
              <a:t>(Sekundærbruk)</a:t>
            </a:r>
            <a:endParaRPr kumimoji="0" lang="nb-NO" sz="400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</a:endParaRPr>
          </a:p>
          <a:p>
            <a:pPr marL="571500" marR="0" lvl="0" indent="-57150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4000" b="1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AAFBECB-7AA0-40C9-84E5-4BF89844D803}"/>
              </a:ext>
            </a:extLst>
          </p:cNvPr>
          <p:cNvSpPr/>
          <p:nvPr/>
        </p:nvSpPr>
        <p:spPr>
          <a:xfrm>
            <a:off x="13644570" y="8077225"/>
            <a:ext cx="6265723" cy="1024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0" marR="0" lvl="0" indent="0" algn="ct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dataprogrammet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5C49224-B3D4-4D8A-8CC6-1F0A828BAB6E}"/>
              </a:ext>
            </a:extLst>
          </p:cNvPr>
          <p:cNvSpPr/>
          <p:nvPr/>
        </p:nvSpPr>
        <p:spPr>
          <a:xfrm>
            <a:off x="5046482" y="5147177"/>
            <a:ext cx="5725150" cy="771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innbygger en journal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plattformen (Helse Midt)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PS Arena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 for kodeverk og terminologi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sterinitiativ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re initiativ</a:t>
            </a:r>
          </a:p>
          <a:p>
            <a:pPr marL="571500" marR="0" lvl="0" indent="-57150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 rot="20368068">
            <a:off x="10641340" y="6610102"/>
            <a:ext cx="5036635" cy="2026196"/>
          </a:xfrm>
          <a:prstGeom prst="rect">
            <a:avLst/>
          </a:prstGeom>
          <a:noFill/>
        </p:spPr>
        <p:txBody>
          <a:bodyPr vert="horz" wrap="none" lIns="546100" tIns="546100" rIns="546100" bIns="546100" rtlCol="0">
            <a:spAutoFit/>
          </a:bodyPr>
          <a:lstStyle/>
          <a:p>
            <a:pPr marL="0" marR="0" lvl="0" indent="0" algn="l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60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arbeid</a:t>
            </a:r>
            <a:endParaRPr kumimoji="0" lang="en-US" sz="6000" b="1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Freeform 12"/>
          <p:cNvSpPr>
            <a:spLocks noEditPoints="1"/>
          </p:cNvSpPr>
          <p:nvPr/>
        </p:nvSpPr>
        <p:spPr bwMode="auto">
          <a:xfrm>
            <a:off x="11664220" y="6353817"/>
            <a:ext cx="1495437" cy="776343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96292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agens situasjon: Sentrale helseregistre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7</a:t>
            </a:fld>
            <a:endParaRPr lang="nb-NO" dirty="0"/>
          </a:p>
        </p:txBody>
      </p:sp>
      <p:cxnSp>
        <p:nvCxnSpPr>
          <p:cNvPr id="6" name="Rett linje 5"/>
          <p:cNvCxnSpPr/>
          <p:nvPr/>
        </p:nvCxnSpPr>
        <p:spPr>
          <a:xfrm>
            <a:off x="5129886" y="2598623"/>
            <a:ext cx="0" cy="100800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kstSylinder 6"/>
          <p:cNvSpPr txBox="1"/>
          <p:nvPr/>
        </p:nvSpPr>
        <p:spPr>
          <a:xfrm>
            <a:off x="1368603" y="3517539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/>
              <a:t>17</a:t>
            </a:r>
            <a:endParaRPr lang="nb-NO" sz="4200" b="1" dirty="0"/>
          </a:p>
          <a:p>
            <a:pPr algn="ctr">
              <a:spcAft>
                <a:spcPts val="1000"/>
              </a:spcAft>
            </a:pPr>
            <a:r>
              <a:rPr lang="nb-NO" sz="2400" dirty="0"/>
              <a:t>Sentrale helseregistre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368603" y="5453353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204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Totalt antall årsverk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1368603" y="7389167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190 MNOK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Årlig driftsbudsjett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1368603" y="9324979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1838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Årlige utleveringer</a:t>
            </a:r>
          </a:p>
        </p:txBody>
      </p:sp>
      <p:graphicFrame>
        <p:nvGraphicFramePr>
          <p:cNvPr id="17" name="Plassholder for innhold 4"/>
          <p:cNvGraphicFramePr>
            <a:graphicFrameLocks/>
          </p:cNvGraphicFramePr>
          <p:nvPr>
            <p:extLst/>
          </p:nvPr>
        </p:nvGraphicFramePr>
        <p:xfrm>
          <a:off x="5263710" y="3220026"/>
          <a:ext cx="9286478" cy="9559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5"/>
          <p:cNvSpPr/>
          <p:nvPr/>
        </p:nvSpPr>
        <p:spPr>
          <a:xfrm>
            <a:off x="1332603" y="2598623"/>
            <a:ext cx="3672000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Nøkkeltall</a:t>
            </a:r>
            <a:endParaRPr lang="nb-NO" sz="3200" dirty="0"/>
          </a:p>
        </p:txBody>
      </p:sp>
      <p:sp>
        <p:nvSpPr>
          <p:cNvPr id="21" name="Rectangle 5"/>
          <p:cNvSpPr/>
          <p:nvPr/>
        </p:nvSpPr>
        <p:spPr>
          <a:xfrm>
            <a:off x="5219311" y="2598623"/>
            <a:ext cx="9320464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Fordeling av årsverk</a:t>
            </a:r>
            <a:endParaRPr lang="nb-NO" sz="3200" dirty="0"/>
          </a:p>
        </p:txBody>
      </p:sp>
      <p:sp>
        <p:nvSpPr>
          <p:cNvPr id="22" name="Rectangle 5"/>
          <p:cNvSpPr/>
          <p:nvPr/>
        </p:nvSpPr>
        <p:spPr>
          <a:xfrm>
            <a:off x="14718627" y="2598623"/>
            <a:ext cx="8353644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Aktualitet</a:t>
            </a:r>
            <a:endParaRPr lang="nb-NO" sz="3200" dirty="0"/>
          </a:p>
        </p:txBody>
      </p:sp>
      <p:cxnSp>
        <p:nvCxnSpPr>
          <p:cNvPr id="23" name="Rett linje 5"/>
          <p:cNvCxnSpPr/>
          <p:nvPr/>
        </p:nvCxnSpPr>
        <p:spPr>
          <a:xfrm>
            <a:off x="14629200" y="2598623"/>
            <a:ext cx="0" cy="1008000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Rectangle 5"/>
          <p:cNvSpPr/>
          <p:nvPr/>
        </p:nvSpPr>
        <p:spPr>
          <a:xfrm>
            <a:off x="14718627" y="7636893"/>
            <a:ext cx="8353644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Tilgjengeliggjøring av data fra registrene</a:t>
            </a:r>
            <a:endParaRPr lang="nb-NO" sz="3200" dirty="0"/>
          </a:p>
        </p:txBody>
      </p:sp>
      <p:graphicFrame>
        <p:nvGraphicFramePr>
          <p:cNvPr id="18" name="Diagram 16"/>
          <p:cNvGraphicFramePr/>
          <p:nvPr>
            <p:extLst/>
          </p:nvPr>
        </p:nvGraphicFramePr>
        <p:xfrm>
          <a:off x="15053453" y="8481023"/>
          <a:ext cx="8353644" cy="419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Diagram 16"/>
          <p:cNvGraphicFramePr/>
          <p:nvPr>
            <p:extLst/>
          </p:nvPr>
        </p:nvGraphicFramePr>
        <p:xfrm>
          <a:off x="14718627" y="3412726"/>
          <a:ext cx="8353644" cy="419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111096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agens situasjon: Nasjonale medisinske kvalitetsregistre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nb-NO"/>
              <a:t> Side </a:t>
            </a:r>
            <a:fld id="{5751DFAA-887F-4071-8EAD-E8CA316FCF06}" type="slidenum">
              <a:rPr lang="nb-NO" smtClean="0"/>
              <a:pPr/>
              <a:t>8</a:t>
            </a:fld>
            <a:endParaRPr lang="nb-NO" dirty="0"/>
          </a:p>
        </p:txBody>
      </p:sp>
      <p:cxnSp>
        <p:nvCxnSpPr>
          <p:cNvPr id="6" name="Rett linje 5"/>
          <p:cNvCxnSpPr/>
          <p:nvPr/>
        </p:nvCxnSpPr>
        <p:spPr>
          <a:xfrm>
            <a:off x="5129886" y="2598623"/>
            <a:ext cx="0" cy="1008000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" name="TekstSylinder 6"/>
          <p:cNvSpPr txBox="1"/>
          <p:nvPr/>
        </p:nvSpPr>
        <p:spPr>
          <a:xfrm>
            <a:off x="1368603" y="3517539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54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Sentrale helseregistre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368603" y="5453353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94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Totalt antall årsverk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1368603" y="7389167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165 MNOK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Årlig driftsbudsjett</a:t>
            </a:r>
          </a:p>
        </p:txBody>
      </p:sp>
      <p:sp>
        <p:nvSpPr>
          <p:cNvPr id="13" name="TekstSylinder 12"/>
          <p:cNvSpPr txBox="1"/>
          <p:nvPr/>
        </p:nvSpPr>
        <p:spPr>
          <a:xfrm>
            <a:off x="1368603" y="9324979"/>
            <a:ext cx="3600000" cy="16383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  <a:effectLst>
            <a:glow rad="63500">
              <a:schemeClr val="bg2">
                <a:lumMod val="25000"/>
                <a:alpha val="40000"/>
              </a:schemeClr>
            </a:glow>
          </a:effectLst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1000"/>
              </a:spcAft>
            </a:pPr>
            <a:r>
              <a:rPr lang="nb-NO" sz="4200" b="1" dirty="0"/>
              <a:t>183</a:t>
            </a:r>
          </a:p>
          <a:p>
            <a:pPr algn="ctr">
              <a:spcAft>
                <a:spcPts val="1000"/>
              </a:spcAft>
            </a:pPr>
            <a:r>
              <a:rPr lang="nb-NO" sz="2400" dirty="0"/>
              <a:t>Årlige utleveringer</a:t>
            </a:r>
          </a:p>
        </p:txBody>
      </p:sp>
      <p:sp>
        <p:nvSpPr>
          <p:cNvPr id="16" name="Rectangle 5"/>
          <p:cNvSpPr/>
          <p:nvPr/>
        </p:nvSpPr>
        <p:spPr>
          <a:xfrm>
            <a:off x="1332603" y="2598623"/>
            <a:ext cx="3672000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Nøkkeltall</a:t>
            </a:r>
            <a:endParaRPr lang="nb-NO" sz="2400" dirty="0"/>
          </a:p>
        </p:txBody>
      </p:sp>
      <p:sp>
        <p:nvSpPr>
          <p:cNvPr id="21" name="Rectangle 5"/>
          <p:cNvSpPr/>
          <p:nvPr/>
        </p:nvSpPr>
        <p:spPr>
          <a:xfrm>
            <a:off x="5219311" y="2598623"/>
            <a:ext cx="9320464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Helseforetakenes utbetaling per register (MNOK)</a:t>
            </a:r>
            <a:endParaRPr lang="nb-NO" sz="2400" dirty="0"/>
          </a:p>
        </p:txBody>
      </p:sp>
      <p:sp>
        <p:nvSpPr>
          <p:cNvPr id="22" name="Rectangle 5"/>
          <p:cNvSpPr/>
          <p:nvPr/>
        </p:nvSpPr>
        <p:spPr>
          <a:xfrm>
            <a:off x="14718627" y="2598623"/>
            <a:ext cx="8353644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Aktualitet</a:t>
            </a:r>
            <a:endParaRPr lang="nb-NO" sz="3200" dirty="0"/>
          </a:p>
        </p:txBody>
      </p:sp>
      <p:cxnSp>
        <p:nvCxnSpPr>
          <p:cNvPr id="23" name="Rett linje 5"/>
          <p:cNvCxnSpPr/>
          <p:nvPr/>
        </p:nvCxnSpPr>
        <p:spPr>
          <a:xfrm>
            <a:off x="14629200" y="2598623"/>
            <a:ext cx="0" cy="10080000"/>
          </a:xfrm>
          <a:prstGeom prst="line">
            <a:avLst/>
          </a:prstGeom>
          <a:ln w="3810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Rectangle 5"/>
          <p:cNvSpPr/>
          <p:nvPr/>
        </p:nvSpPr>
        <p:spPr>
          <a:xfrm>
            <a:off x="14718627" y="7636893"/>
            <a:ext cx="8353644" cy="616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Tilgjengeliggjøring av data fra registrene</a:t>
            </a:r>
            <a:endParaRPr lang="nb-NO" sz="2400" dirty="0"/>
          </a:p>
        </p:txBody>
      </p:sp>
      <p:graphicFrame>
        <p:nvGraphicFramePr>
          <p:cNvPr id="15" name="Diagram 16"/>
          <p:cNvGraphicFramePr/>
          <p:nvPr>
            <p:extLst/>
          </p:nvPr>
        </p:nvGraphicFramePr>
        <p:xfrm>
          <a:off x="14718627" y="3412726"/>
          <a:ext cx="8353644" cy="419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Plassholder for innhold 4"/>
          <p:cNvGraphicFramePr>
            <a:graphicFrameLocks/>
          </p:cNvGraphicFramePr>
          <p:nvPr>
            <p:extLst/>
          </p:nvPr>
        </p:nvGraphicFramePr>
        <p:xfrm>
          <a:off x="5428855" y="3100631"/>
          <a:ext cx="8759952" cy="8577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7" name="Diagram 16"/>
          <p:cNvGraphicFramePr/>
          <p:nvPr>
            <p:extLst/>
          </p:nvPr>
        </p:nvGraphicFramePr>
        <p:xfrm>
          <a:off x="15053453" y="8481023"/>
          <a:ext cx="8353644" cy="419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5" name="Oval 4"/>
          <p:cNvSpPr/>
          <p:nvPr/>
        </p:nvSpPr>
        <p:spPr>
          <a:xfrm>
            <a:off x="6014731" y="11731752"/>
            <a:ext cx="1280160" cy="6217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/>
              <a:t>6</a:t>
            </a:r>
            <a:endParaRPr lang="en-US" sz="2400" dirty="0"/>
          </a:p>
        </p:txBody>
      </p:sp>
      <p:sp>
        <p:nvSpPr>
          <p:cNvPr id="28" name="Oval 27"/>
          <p:cNvSpPr/>
          <p:nvPr/>
        </p:nvSpPr>
        <p:spPr>
          <a:xfrm>
            <a:off x="8115141" y="11731752"/>
            <a:ext cx="1280160" cy="6217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/>
              <a:t>8</a:t>
            </a:r>
            <a:endParaRPr lang="en-US" sz="2400" dirty="0"/>
          </a:p>
        </p:txBody>
      </p:sp>
      <p:sp>
        <p:nvSpPr>
          <p:cNvPr id="29" name="Oval 28"/>
          <p:cNvSpPr/>
          <p:nvPr/>
        </p:nvSpPr>
        <p:spPr>
          <a:xfrm>
            <a:off x="10215551" y="11731752"/>
            <a:ext cx="1280160" cy="6217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/>
              <a:t>22</a:t>
            </a:r>
            <a:endParaRPr lang="en-US" sz="2400" dirty="0"/>
          </a:p>
        </p:txBody>
      </p:sp>
      <p:sp>
        <p:nvSpPr>
          <p:cNvPr id="30" name="Oval 29"/>
          <p:cNvSpPr/>
          <p:nvPr/>
        </p:nvSpPr>
        <p:spPr>
          <a:xfrm>
            <a:off x="12315961" y="11731752"/>
            <a:ext cx="1280160" cy="62179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dirty="0"/>
              <a:t>18</a:t>
            </a:r>
            <a:endParaRPr lang="en-US" sz="2400" dirty="0"/>
          </a:p>
        </p:txBody>
      </p:sp>
      <p:sp>
        <p:nvSpPr>
          <p:cNvPr id="31" name="Oval 30"/>
          <p:cNvSpPr/>
          <p:nvPr/>
        </p:nvSpPr>
        <p:spPr>
          <a:xfrm>
            <a:off x="6987557" y="12542908"/>
            <a:ext cx="640080" cy="43712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5"/>
          <p:cNvSpPr/>
          <p:nvPr/>
        </p:nvSpPr>
        <p:spPr>
          <a:xfrm>
            <a:off x="7623296" y="12453309"/>
            <a:ext cx="5480980" cy="616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 dirty="0">
                <a:solidFill>
                  <a:schemeClr val="tx1"/>
                </a:solidFill>
              </a:rPr>
              <a:t>Antall nasjonale medisinske kvalitetsregistre</a:t>
            </a:r>
          </a:p>
        </p:txBody>
      </p:sp>
    </p:spTree>
    <p:extLst>
      <p:ext uri="{BB962C8B-B14F-4D97-AF65-F5344CB8AC3E}">
        <p14:creationId xmlns:p14="http://schemas.microsoft.com/office/powerpoint/2010/main" val="25984807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7" name="Object 6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" name="Rectangle 144"/>
          <p:cNvSpPr/>
          <p:nvPr/>
        </p:nvSpPr>
        <p:spPr>
          <a:xfrm>
            <a:off x="2971649" y="9185050"/>
            <a:ext cx="18439118" cy="31788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2971649" y="1261539"/>
            <a:ext cx="18439118" cy="31799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2971649" y="4636341"/>
            <a:ext cx="18439118" cy="434997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8231206" y="3379264"/>
            <a:ext cx="7920001" cy="7920000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Freeform 47"/>
          <p:cNvSpPr/>
          <p:nvPr/>
        </p:nvSpPr>
        <p:spPr>
          <a:xfrm>
            <a:off x="15807845" y="9284360"/>
            <a:ext cx="5447644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passet regelverk og likere tolkning på tvers</a:t>
            </a:r>
          </a:p>
        </p:txBody>
      </p:sp>
      <p:sp>
        <p:nvSpPr>
          <p:cNvPr id="52" name="Oval 51"/>
          <p:cNvSpPr/>
          <p:nvPr/>
        </p:nvSpPr>
        <p:spPr bwMode="ltGray">
          <a:xfrm>
            <a:off x="14722323" y="9269366"/>
            <a:ext cx="1080000" cy="108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600" b="1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§</a:t>
            </a:r>
          </a:p>
        </p:txBody>
      </p:sp>
      <p:sp>
        <p:nvSpPr>
          <p:cNvPr id="46" name="Freeform 45"/>
          <p:cNvSpPr/>
          <p:nvPr/>
        </p:nvSpPr>
        <p:spPr>
          <a:xfrm>
            <a:off x="8771212" y="11579304"/>
            <a:ext cx="6840001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ct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sjonale tekniske fellestjenester og infrastruktur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1651208" y="10780744"/>
            <a:ext cx="1080000" cy="1080000"/>
            <a:chOff x="11651206" y="10770110"/>
            <a:chExt cx="1080000" cy="1080000"/>
          </a:xfrm>
        </p:grpSpPr>
        <p:sp>
          <p:nvSpPr>
            <p:cNvPr id="53" name="Oval 52"/>
            <p:cNvSpPr/>
            <p:nvPr/>
          </p:nvSpPr>
          <p:spPr bwMode="ltGray">
            <a:xfrm>
              <a:off x="11651206" y="1077011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54" name="Freeform 4830"/>
            <p:cNvSpPr>
              <a:spLocks noEditPoints="1"/>
            </p:cNvSpPr>
            <p:nvPr/>
          </p:nvSpPr>
          <p:spPr bwMode="auto">
            <a:xfrm>
              <a:off x="11668316" y="10874942"/>
              <a:ext cx="1045781" cy="817052"/>
            </a:xfrm>
            <a:custGeom>
              <a:avLst/>
              <a:gdLst>
                <a:gd name="T0" fmla="*/ 478 w 500"/>
                <a:gd name="T1" fmla="*/ 164 h 400"/>
                <a:gd name="T2" fmla="*/ 422 w 500"/>
                <a:gd name="T3" fmla="*/ 150 h 400"/>
                <a:gd name="T4" fmla="*/ 374 w 500"/>
                <a:gd name="T5" fmla="*/ 120 h 400"/>
                <a:gd name="T6" fmla="*/ 358 w 500"/>
                <a:gd name="T7" fmla="*/ 106 h 400"/>
                <a:gd name="T8" fmla="*/ 356 w 500"/>
                <a:gd name="T9" fmla="*/ 104 h 400"/>
                <a:gd name="T10" fmla="*/ 260 w 500"/>
                <a:gd name="T11" fmla="*/ 8 h 400"/>
                <a:gd name="T12" fmla="*/ 260 w 500"/>
                <a:gd name="T13" fmla="*/ 6 h 400"/>
                <a:gd name="T14" fmla="*/ 256 w 500"/>
                <a:gd name="T15" fmla="*/ 4 h 400"/>
                <a:gd name="T16" fmla="*/ 256 w 500"/>
                <a:gd name="T17" fmla="*/ 2 h 400"/>
                <a:gd name="T18" fmla="*/ 252 w 500"/>
                <a:gd name="T19" fmla="*/ 0 h 400"/>
                <a:gd name="T20" fmla="*/ 252 w 500"/>
                <a:gd name="T21" fmla="*/ 0 h 400"/>
                <a:gd name="T22" fmla="*/ 248 w 500"/>
                <a:gd name="T23" fmla="*/ 0 h 400"/>
                <a:gd name="T24" fmla="*/ 248 w 500"/>
                <a:gd name="T25" fmla="*/ 0 h 400"/>
                <a:gd name="T26" fmla="*/ 244 w 500"/>
                <a:gd name="T27" fmla="*/ 2 h 400"/>
                <a:gd name="T28" fmla="*/ 244 w 500"/>
                <a:gd name="T29" fmla="*/ 4 h 400"/>
                <a:gd name="T30" fmla="*/ 240 w 500"/>
                <a:gd name="T31" fmla="*/ 6 h 400"/>
                <a:gd name="T32" fmla="*/ 214 w 500"/>
                <a:gd name="T33" fmla="*/ 102 h 400"/>
                <a:gd name="T34" fmla="*/ 144 w 500"/>
                <a:gd name="T35" fmla="*/ 104 h 400"/>
                <a:gd name="T36" fmla="*/ 142 w 500"/>
                <a:gd name="T37" fmla="*/ 106 h 400"/>
                <a:gd name="T38" fmla="*/ 126 w 500"/>
                <a:gd name="T39" fmla="*/ 120 h 400"/>
                <a:gd name="T40" fmla="*/ 78 w 500"/>
                <a:gd name="T41" fmla="*/ 150 h 400"/>
                <a:gd name="T42" fmla="*/ 22 w 500"/>
                <a:gd name="T43" fmla="*/ 164 h 400"/>
                <a:gd name="T44" fmla="*/ 0 w 500"/>
                <a:gd name="T45" fmla="*/ 186 h 400"/>
                <a:gd name="T46" fmla="*/ 0 w 500"/>
                <a:gd name="T47" fmla="*/ 186 h 400"/>
                <a:gd name="T48" fmla="*/ 20 w 500"/>
                <a:gd name="T49" fmla="*/ 184 h 400"/>
                <a:gd name="T50" fmla="*/ 80 w 500"/>
                <a:gd name="T51" fmla="*/ 170 h 400"/>
                <a:gd name="T52" fmla="*/ 134 w 500"/>
                <a:gd name="T53" fmla="*/ 140 h 400"/>
                <a:gd name="T54" fmla="*/ 138 w 500"/>
                <a:gd name="T55" fmla="*/ 388 h 400"/>
                <a:gd name="T56" fmla="*/ 140 w 500"/>
                <a:gd name="T57" fmla="*/ 394 h 400"/>
                <a:gd name="T58" fmla="*/ 146 w 500"/>
                <a:gd name="T59" fmla="*/ 400 h 400"/>
                <a:gd name="T60" fmla="*/ 154 w 500"/>
                <a:gd name="T61" fmla="*/ 398 h 400"/>
                <a:gd name="T62" fmla="*/ 250 w 500"/>
                <a:gd name="T63" fmla="*/ 322 h 400"/>
                <a:gd name="T64" fmla="*/ 342 w 500"/>
                <a:gd name="T65" fmla="*/ 392 h 400"/>
                <a:gd name="T66" fmla="*/ 352 w 500"/>
                <a:gd name="T67" fmla="*/ 400 h 400"/>
                <a:gd name="T68" fmla="*/ 358 w 500"/>
                <a:gd name="T69" fmla="*/ 398 h 400"/>
                <a:gd name="T70" fmla="*/ 362 w 500"/>
                <a:gd name="T71" fmla="*/ 388 h 400"/>
                <a:gd name="T72" fmla="*/ 350 w 500"/>
                <a:gd name="T73" fmla="*/ 126 h 400"/>
                <a:gd name="T74" fmla="*/ 402 w 500"/>
                <a:gd name="T75" fmla="*/ 162 h 400"/>
                <a:gd name="T76" fmla="*/ 458 w 500"/>
                <a:gd name="T77" fmla="*/ 182 h 400"/>
                <a:gd name="T78" fmla="*/ 500 w 500"/>
                <a:gd name="T79" fmla="*/ 186 h 400"/>
                <a:gd name="T80" fmla="*/ 500 w 500"/>
                <a:gd name="T81" fmla="*/ 186 h 400"/>
                <a:gd name="T82" fmla="*/ 498 w 500"/>
                <a:gd name="T83" fmla="*/ 166 h 400"/>
                <a:gd name="T84" fmla="*/ 282 w 500"/>
                <a:gd name="T85" fmla="*/ 166 h 400"/>
                <a:gd name="T86" fmla="*/ 250 w 500"/>
                <a:gd name="T87" fmla="*/ 220 h 400"/>
                <a:gd name="T88" fmla="*/ 280 w 500"/>
                <a:gd name="T89" fmla="*/ 202 h 400"/>
                <a:gd name="T90" fmla="*/ 236 w 500"/>
                <a:gd name="T91" fmla="*/ 102 h 400"/>
                <a:gd name="T92" fmla="*/ 270 w 500"/>
                <a:gd name="T93" fmla="*/ 122 h 400"/>
                <a:gd name="T94" fmla="*/ 224 w 500"/>
                <a:gd name="T95" fmla="*/ 146 h 400"/>
                <a:gd name="T96" fmla="*/ 230 w 500"/>
                <a:gd name="T97" fmla="*/ 172 h 400"/>
                <a:gd name="T98" fmla="*/ 184 w 500"/>
                <a:gd name="T99" fmla="*/ 122 h 400"/>
                <a:gd name="T100" fmla="*/ 184 w 500"/>
                <a:gd name="T101" fmla="*/ 122 h 400"/>
                <a:gd name="T102" fmla="*/ 196 w 500"/>
                <a:gd name="T103" fmla="*/ 250 h 400"/>
                <a:gd name="T104" fmla="*/ 186 w 500"/>
                <a:gd name="T105" fmla="*/ 286 h 400"/>
                <a:gd name="T106" fmla="*/ 200 w 500"/>
                <a:gd name="T107" fmla="*/ 272 h 400"/>
                <a:gd name="T108" fmla="*/ 250 w 500"/>
                <a:gd name="T109" fmla="*/ 300 h 400"/>
                <a:gd name="T110" fmla="*/ 270 w 500"/>
                <a:gd name="T111" fmla="*/ 312 h 400"/>
                <a:gd name="T112" fmla="*/ 304 w 500"/>
                <a:gd name="T113" fmla="*/ 250 h 400"/>
                <a:gd name="T114" fmla="*/ 304 w 500"/>
                <a:gd name="T115" fmla="*/ 250 h 400"/>
                <a:gd name="T116" fmla="*/ 316 w 500"/>
                <a:gd name="T117" fmla="*/ 12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0" h="400">
                  <a:moveTo>
                    <a:pt x="498" y="166"/>
                  </a:moveTo>
                  <a:lnTo>
                    <a:pt x="498" y="166"/>
                  </a:lnTo>
                  <a:lnTo>
                    <a:pt x="478" y="164"/>
                  </a:lnTo>
                  <a:lnTo>
                    <a:pt x="460" y="162"/>
                  </a:lnTo>
                  <a:lnTo>
                    <a:pt x="440" y="156"/>
                  </a:lnTo>
                  <a:lnTo>
                    <a:pt x="422" y="150"/>
                  </a:lnTo>
                  <a:lnTo>
                    <a:pt x="406" y="142"/>
                  </a:lnTo>
                  <a:lnTo>
                    <a:pt x="388" y="130"/>
                  </a:lnTo>
                  <a:lnTo>
                    <a:pt x="374" y="120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8" y="106"/>
                  </a:lnTo>
                  <a:lnTo>
                    <a:pt x="356" y="104"/>
                  </a:lnTo>
                  <a:lnTo>
                    <a:pt x="356" y="104"/>
                  </a:lnTo>
                  <a:lnTo>
                    <a:pt x="352" y="102"/>
                  </a:lnTo>
                  <a:lnTo>
                    <a:pt x="286" y="102"/>
                  </a:lnTo>
                  <a:lnTo>
                    <a:pt x="260" y="8"/>
                  </a:lnTo>
                  <a:lnTo>
                    <a:pt x="260" y="8"/>
                  </a:lnTo>
                  <a:lnTo>
                    <a:pt x="260" y="6"/>
                  </a:lnTo>
                  <a:lnTo>
                    <a:pt x="260" y="6"/>
                  </a:lnTo>
                  <a:lnTo>
                    <a:pt x="258" y="4"/>
                  </a:lnTo>
                  <a:lnTo>
                    <a:pt x="258" y="4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6" y="2"/>
                  </a:lnTo>
                  <a:lnTo>
                    <a:pt x="256" y="2"/>
                  </a:lnTo>
                  <a:lnTo>
                    <a:pt x="254" y="2"/>
                  </a:lnTo>
                  <a:lnTo>
                    <a:pt x="254" y="2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2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8" y="0"/>
                  </a:lnTo>
                  <a:lnTo>
                    <a:pt x="246" y="2"/>
                  </a:lnTo>
                  <a:lnTo>
                    <a:pt x="246" y="2"/>
                  </a:lnTo>
                  <a:lnTo>
                    <a:pt x="244" y="2"/>
                  </a:lnTo>
                  <a:lnTo>
                    <a:pt x="244" y="2"/>
                  </a:lnTo>
                  <a:lnTo>
                    <a:pt x="244" y="4"/>
                  </a:lnTo>
                  <a:lnTo>
                    <a:pt x="244" y="4"/>
                  </a:lnTo>
                  <a:lnTo>
                    <a:pt x="242" y="4"/>
                  </a:lnTo>
                  <a:lnTo>
                    <a:pt x="242" y="4"/>
                  </a:lnTo>
                  <a:lnTo>
                    <a:pt x="240" y="6"/>
                  </a:lnTo>
                  <a:lnTo>
                    <a:pt x="240" y="6"/>
                  </a:lnTo>
                  <a:lnTo>
                    <a:pt x="240" y="8"/>
                  </a:lnTo>
                  <a:lnTo>
                    <a:pt x="214" y="102"/>
                  </a:lnTo>
                  <a:lnTo>
                    <a:pt x="148" y="102"/>
                  </a:lnTo>
                  <a:lnTo>
                    <a:pt x="148" y="102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26" y="120"/>
                  </a:lnTo>
                  <a:lnTo>
                    <a:pt x="112" y="130"/>
                  </a:lnTo>
                  <a:lnTo>
                    <a:pt x="94" y="142"/>
                  </a:lnTo>
                  <a:lnTo>
                    <a:pt x="78" y="150"/>
                  </a:lnTo>
                  <a:lnTo>
                    <a:pt x="60" y="156"/>
                  </a:lnTo>
                  <a:lnTo>
                    <a:pt x="40" y="162"/>
                  </a:lnTo>
                  <a:lnTo>
                    <a:pt x="22" y="164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20" y="184"/>
                  </a:lnTo>
                  <a:lnTo>
                    <a:pt x="40" y="182"/>
                  </a:lnTo>
                  <a:lnTo>
                    <a:pt x="60" y="176"/>
                  </a:lnTo>
                  <a:lnTo>
                    <a:pt x="80" y="170"/>
                  </a:lnTo>
                  <a:lnTo>
                    <a:pt x="98" y="162"/>
                  </a:lnTo>
                  <a:lnTo>
                    <a:pt x="116" y="152"/>
                  </a:lnTo>
                  <a:lnTo>
                    <a:pt x="134" y="140"/>
                  </a:lnTo>
                  <a:lnTo>
                    <a:pt x="150" y="126"/>
                  </a:lnTo>
                  <a:lnTo>
                    <a:pt x="200" y="156"/>
                  </a:lnTo>
                  <a:lnTo>
                    <a:pt x="138" y="388"/>
                  </a:lnTo>
                  <a:lnTo>
                    <a:pt x="138" y="388"/>
                  </a:lnTo>
                  <a:lnTo>
                    <a:pt x="138" y="392"/>
                  </a:lnTo>
                  <a:lnTo>
                    <a:pt x="140" y="394"/>
                  </a:lnTo>
                  <a:lnTo>
                    <a:pt x="142" y="398"/>
                  </a:lnTo>
                  <a:lnTo>
                    <a:pt x="146" y="400"/>
                  </a:lnTo>
                  <a:lnTo>
                    <a:pt x="146" y="400"/>
                  </a:lnTo>
                  <a:lnTo>
                    <a:pt x="148" y="400"/>
                  </a:lnTo>
                  <a:lnTo>
                    <a:pt x="148" y="400"/>
                  </a:lnTo>
                  <a:lnTo>
                    <a:pt x="154" y="398"/>
                  </a:lnTo>
                  <a:lnTo>
                    <a:pt x="158" y="392"/>
                  </a:lnTo>
                  <a:lnTo>
                    <a:pt x="164" y="372"/>
                  </a:lnTo>
                  <a:lnTo>
                    <a:pt x="250" y="322"/>
                  </a:lnTo>
                  <a:lnTo>
                    <a:pt x="336" y="372"/>
                  </a:lnTo>
                  <a:lnTo>
                    <a:pt x="342" y="392"/>
                  </a:lnTo>
                  <a:lnTo>
                    <a:pt x="342" y="392"/>
                  </a:lnTo>
                  <a:lnTo>
                    <a:pt x="346" y="398"/>
                  </a:lnTo>
                  <a:lnTo>
                    <a:pt x="352" y="400"/>
                  </a:lnTo>
                  <a:lnTo>
                    <a:pt x="352" y="400"/>
                  </a:lnTo>
                  <a:lnTo>
                    <a:pt x="354" y="400"/>
                  </a:lnTo>
                  <a:lnTo>
                    <a:pt x="354" y="400"/>
                  </a:lnTo>
                  <a:lnTo>
                    <a:pt x="358" y="398"/>
                  </a:lnTo>
                  <a:lnTo>
                    <a:pt x="360" y="394"/>
                  </a:lnTo>
                  <a:lnTo>
                    <a:pt x="362" y="392"/>
                  </a:lnTo>
                  <a:lnTo>
                    <a:pt x="362" y="388"/>
                  </a:lnTo>
                  <a:lnTo>
                    <a:pt x="300" y="156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66" y="140"/>
                  </a:lnTo>
                  <a:lnTo>
                    <a:pt x="384" y="152"/>
                  </a:lnTo>
                  <a:lnTo>
                    <a:pt x="402" y="162"/>
                  </a:lnTo>
                  <a:lnTo>
                    <a:pt x="420" y="170"/>
                  </a:lnTo>
                  <a:lnTo>
                    <a:pt x="438" y="176"/>
                  </a:lnTo>
                  <a:lnTo>
                    <a:pt x="458" y="182"/>
                  </a:lnTo>
                  <a:lnTo>
                    <a:pt x="480" y="184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500" y="186"/>
                  </a:lnTo>
                  <a:lnTo>
                    <a:pt x="498" y="166"/>
                  </a:lnTo>
                  <a:lnTo>
                    <a:pt x="498" y="166"/>
                  </a:lnTo>
                  <a:close/>
                  <a:moveTo>
                    <a:pt x="286" y="182"/>
                  </a:moveTo>
                  <a:lnTo>
                    <a:pt x="270" y="172"/>
                  </a:lnTo>
                  <a:lnTo>
                    <a:pt x="282" y="166"/>
                  </a:lnTo>
                  <a:lnTo>
                    <a:pt x="286" y="182"/>
                  </a:lnTo>
                  <a:close/>
                  <a:moveTo>
                    <a:pt x="280" y="202"/>
                  </a:moveTo>
                  <a:lnTo>
                    <a:pt x="250" y="220"/>
                  </a:lnTo>
                  <a:lnTo>
                    <a:pt x="220" y="202"/>
                  </a:lnTo>
                  <a:lnTo>
                    <a:pt x="250" y="184"/>
                  </a:lnTo>
                  <a:lnTo>
                    <a:pt x="280" y="202"/>
                  </a:lnTo>
                  <a:close/>
                  <a:moveTo>
                    <a:pt x="250" y="50"/>
                  </a:moveTo>
                  <a:lnTo>
                    <a:pt x="264" y="102"/>
                  </a:lnTo>
                  <a:lnTo>
                    <a:pt x="236" y="102"/>
                  </a:lnTo>
                  <a:lnTo>
                    <a:pt x="250" y="50"/>
                  </a:lnTo>
                  <a:close/>
                  <a:moveTo>
                    <a:pt x="230" y="122"/>
                  </a:moveTo>
                  <a:lnTo>
                    <a:pt x="270" y="122"/>
                  </a:lnTo>
                  <a:lnTo>
                    <a:pt x="276" y="146"/>
                  </a:lnTo>
                  <a:lnTo>
                    <a:pt x="250" y="162"/>
                  </a:lnTo>
                  <a:lnTo>
                    <a:pt x="224" y="146"/>
                  </a:lnTo>
                  <a:lnTo>
                    <a:pt x="230" y="122"/>
                  </a:lnTo>
                  <a:close/>
                  <a:moveTo>
                    <a:pt x="218" y="166"/>
                  </a:moveTo>
                  <a:lnTo>
                    <a:pt x="230" y="172"/>
                  </a:lnTo>
                  <a:lnTo>
                    <a:pt x="214" y="182"/>
                  </a:lnTo>
                  <a:lnTo>
                    <a:pt x="218" y="166"/>
                  </a:lnTo>
                  <a:close/>
                  <a:moveTo>
                    <a:pt x="184" y="122"/>
                  </a:moveTo>
                  <a:lnTo>
                    <a:pt x="210" y="122"/>
                  </a:lnTo>
                  <a:lnTo>
                    <a:pt x="206" y="136"/>
                  </a:lnTo>
                  <a:lnTo>
                    <a:pt x="184" y="122"/>
                  </a:lnTo>
                  <a:close/>
                  <a:moveTo>
                    <a:pt x="206" y="216"/>
                  </a:moveTo>
                  <a:lnTo>
                    <a:pt x="230" y="232"/>
                  </a:lnTo>
                  <a:lnTo>
                    <a:pt x="196" y="250"/>
                  </a:lnTo>
                  <a:lnTo>
                    <a:pt x="206" y="216"/>
                  </a:lnTo>
                  <a:close/>
                  <a:moveTo>
                    <a:pt x="170" y="346"/>
                  </a:moveTo>
                  <a:lnTo>
                    <a:pt x="186" y="286"/>
                  </a:lnTo>
                  <a:lnTo>
                    <a:pt x="230" y="312"/>
                  </a:lnTo>
                  <a:lnTo>
                    <a:pt x="170" y="346"/>
                  </a:lnTo>
                  <a:close/>
                  <a:moveTo>
                    <a:pt x="200" y="272"/>
                  </a:moveTo>
                  <a:lnTo>
                    <a:pt x="250" y="242"/>
                  </a:lnTo>
                  <a:lnTo>
                    <a:pt x="300" y="272"/>
                  </a:lnTo>
                  <a:lnTo>
                    <a:pt x="250" y="300"/>
                  </a:lnTo>
                  <a:lnTo>
                    <a:pt x="200" y="272"/>
                  </a:lnTo>
                  <a:close/>
                  <a:moveTo>
                    <a:pt x="330" y="346"/>
                  </a:moveTo>
                  <a:lnTo>
                    <a:pt x="270" y="312"/>
                  </a:lnTo>
                  <a:lnTo>
                    <a:pt x="314" y="286"/>
                  </a:lnTo>
                  <a:lnTo>
                    <a:pt x="330" y="346"/>
                  </a:lnTo>
                  <a:close/>
                  <a:moveTo>
                    <a:pt x="304" y="250"/>
                  </a:moveTo>
                  <a:lnTo>
                    <a:pt x="270" y="232"/>
                  </a:lnTo>
                  <a:lnTo>
                    <a:pt x="294" y="216"/>
                  </a:lnTo>
                  <a:lnTo>
                    <a:pt x="304" y="250"/>
                  </a:lnTo>
                  <a:close/>
                  <a:moveTo>
                    <a:pt x="294" y="136"/>
                  </a:moveTo>
                  <a:lnTo>
                    <a:pt x="290" y="122"/>
                  </a:lnTo>
                  <a:lnTo>
                    <a:pt x="316" y="122"/>
                  </a:lnTo>
                  <a:lnTo>
                    <a:pt x="294" y="13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/>
          </p:spPr>
          <p:txBody>
            <a:bodyPr vert="horz" wrap="square" lIns="152380" tIns="76190" rIns="152380" bIns="761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7" name="Freeform 46"/>
          <p:cNvSpPr/>
          <p:nvPr/>
        </p:nvSpPr>
        <p:spPr>
          <a:xfrm>
            <a:off x="3169383" y="10372144"/>
            <a:ext cx="6840001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ndardiserte helseopplysninger</a:t>
            </a:r>
          </a:p>
        </p:txBody>
      </p:sp>
      <p:sp>
        <p:nvSpPr>
          <p:cNvPr id="45" name="Freeform 44"/>
          <p:cNvSpPr/>
          <p:nvPr/>
        </p:nvSpPr>
        <p:spPr>
          <a:xfrm>
            <a:off x="2965972" y="3178220"/>
            <a:ext cx="6840001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unnskapsbaserte helsetjenester og riktig ressursbruk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9800407" y="3177454"/>
            <a:ext cx="1080000" cy="1080000"/>
            <a:chOff x="9531092" y="4026523"/>
            <a:chExt cx="1080000" cy="1080000"/>
          </a:xfrm>
        </p:grpSpPr>
        <p:sp>
          <p:nvSpPr>
            <p:cNvPr id="62" name="Oval 61"/>
            <p:cNvSpPr/>
            <p:nvPr/>
          </p:nvSpPr>
          <p:spPr bwMode="ltGray">
            <a:xfrm>
              <a:off x="9531092" y="4026523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3" name="Freeform 4859"/>
            <p:cNvSpPr>
              <a:spLocks noEditPoints="1"/>
            </p:cNvSpPr>
            <p:nvPr/>
          </p:nvSpPr>
          <p:spPr bwMode="auto">
            <a:xfrm>
              <a:off x="9788507" y="4162533"/>
              <a:ext cx="607782" cy="831798"/>
            </a:xfrm>
            <a:custGeom>
              <a:avLst/>
              <a:gdLst>
                <a:gd name="T0" fmla="*/ 184 w 294"/>
                <a:gd name="T1" fmla="*/ 408 h 412"/>
                <a:gd name="T2" fmla="*/ 112 w 294"/>
                <a:gd name="T3" fmla="*/ 410 h 412"/>
                <a:gd name="T4" fmla="*/ 54 w 294"/>
                <a:gd name="T5" fmla="*/ 390 h 412"/>
                <a:gd name="T6" fmla="*/ 0 w 294"/>
                <a:gd name="T7" fmla="*/ 350 h 412"/>
                <a:gd name="T8" fmla="*/ 14 w 294"/>
                <a:gd name="T9" fmla="*/ 202 h 412"/>
                <a:gd name="T10" fmla="*/ 80 w 294"/>
                <a:gd name="T11" fmla="*/ 166 h 412"/>
                <a:gd name="T12" fmla="*/ 74 w 294"/>
                <a:gd name="T13" fmla="*/ 210 h 412"/>
                <a:gd name="T14" fmla="*/ 78 w 294"/>
                <a:gd name="T15" fmla="*/ 240 h 412"/>
                <a:gd name="T16" fmla="*/ 112 w 294"/>
                <a:gd name="T17" fmla="*/ 240 h 412"/>
                <a:gd name="T18" fmla="*/ 114 w 294"/>
                <a:gd name="T19" fmla="*/ 210 h 412"/>
                <a:gd name="T20" fmla="*/ 170 w 294"/>
                <a:gd name="T21" fmla="*/ 166 h 412"/>
                <a:gd name="T22" fmla="*/ 150 w 294"/>
                <a:gd name="T23" fmla="*/ 226 h 412"/>
                <a:gd name="T24" fmla="*/ 122 w 294"/>
                <a:gd name="T25" fmla="*/ 266 h 412"/>
                <a:gd name="T26" fmla="*/ 124 w 294"/>
                <a:gd name="T27" fmla="*/ 340 h 412"/>
                <a:gd name="T28" fmla="*/ 156 w 294"/>
                <a:gd name="T29" fmla="*/ 344 h 412"/>
                <a:gd name="T30" fmla="*/ 162 w 294"/>
                <a:gd name="T31" fmla="*/ 328 h 412"/>
                <a:gd name="T32" fmla="*/ 144 w 294"/>
                <a:gd name="T33" fmla="*/ 276 h 412"/>
                <a:gd name="T34" fmla="*/ 154 w 294"/>
                <a:gd name="T35" fmla="*/ 250 h 412"/>
                <a:gd name="T36" fmla="*/ 180 w 294"/>
                <a:gd name="T37" fmla="*/ 240 h 412"/>
                <a:gd name="T38" fmla="*/ 212 w 294"/>
                <a:gd name="T39" fmla="*/ 256 h 412"/>
                <a:gd name="T40" fmla="*/ 218 w 294"/>
                <a:gd name="T41" fmla="*/ 322 h 412"/>
                <a:gd name="T42" fmla="*/ 200 w 294"/>
                <a:gd name="T43" fmla="*/ 328 h 412"/>
                <a:gd name="T44" fmla="*/ 206 w 294"/>
                <a:gd name="T45" fmla="*/ 344 h 412"/>
                <a:gd name="T46" fmla="*/ 240 w 294"/>
                <a:gd name="T47" fmla="*/ 390 h 412"/>
                <a:gd name="T48" fmla="*/ 294 w 294"/>
                <a:gd name="T49" fmla="*/ 250 h 412"/>
                <a:gd name="T50" fmla="*/ 272 w 294"/>
                <a:gd name="T51" fmla="*/ 192 h 412"/>
                <a:gd name="T52" fmla="*/ 192 w 294"/>
                <a:gd name="T53" fmla="*/ 166 h 412"/>
                <a:gd name="T54" fmla="*/ 202 w 294"/>
                <a:gd name="T55" fmla="*/ 222 h 412"/>
                <a:gd name="T56" fmla="*/ 236 w 294"/>
                <a:gd name="T57" fmla="*/ 256 h 412"/>
                <a:gd name="T58" fmla="*/ 240 w 294"/>
                <a:gd name="T59" fmla="*/ 334 h 412"/>
                <a:gd name="T60" fmla="*/ 92 w 294"/>
                <a:gd name="T61" fmla="*/ 122 h 412"/>
                <a:gd name="T62" fmla="*/ 136 w 294"/>
                <a:gd name="T63" fmla="*/ 146 h 412"/>
                <a:gd name="T64" fmla="*/ 178 w 294"/>
                <a:gd name="T65" fmla="*/ 140 h 412"/>
                <a:gd name="T66" fmla="*/ 214 w 294"/>
                <a:gd name="T67" fmla="*/ 106 h 412"/>
                <a:gd name="T68" fmla="*/ 148 w 294"/>
                <a:gd name="T69" fmla="*/ 84 h 412"/>
                <a:gd name="T70" fmla="*/ 82 w 294"/>
                <a:gd name="T71" fmla="*/ 106 h 412"/>
                <a:gd name="T72" fmla="*/ 148 w 294"/>
                <a:gd name="T73" fmla="*/ 0 h 412"/>
                <a:gd name="T74" fmla="*/ 208 w 294"/>
                <a:gd name="T75" fmla="*/ 32 h 412"/>
                <a:gd name="T76" fmla="*/ 220 w 294"/>
                <a:gd name="T77" fmla="*/ 90 h 412"/>
                <a:gd name="T78" fmla="*/ 148 w 294"/>
                <a:gd name="T79" fmla="*/ 68 h 412"/>
                <a:gd name="T80" fmla="*/ 76 w 294"/>
                <a:gd name="T81" fmla="*/ 90 h 412"/>
                <a:gd name="T82" fmla="*/ 80 w 294"/>
                <a:gd name="T83" fmla="*/ 44 h 412"/>
                <a:gd name="T84" fmla="*/ 132 w 294"/>
                <a:gd name="T85" fmla="*/ 2 h 412"/>
                <a:gd name="T86" fmla="*/ 156 w 294"/>
                <a:gd name="T87" fmla="*/ 18 h 412"/>
                <a:gd name="T88" fmla="*/ 148 w 294"/>
                <a:gd name="T89" fmla="*/ 10 h 412"/>
                <a:gd name="T90" fmla="*/ 140 w 294"/>
                <a:gd name="T91" fmla="*/ 28 h 412"/>
                <a:gd name="T92" fmla="*/ 122 w 294"/>
                <a:gd name="T93" fmla="*/ 34 h 412"/>
                <a:gd name="T94" fmla="*/ 126 w 294"/>
                <a:gd name="T95" fmla="*/ 44 h 412"/>
                <a:gd name="T96" fmla="*/ 140 w 294"/>
                <a:gd name="T97" fmla="*/ 58 h 412"/>
                <a:gd name="T98" fmla="*/ 150 w 294"/>
                <a:gd name="T99" fmla="*/ 62 h 412"/>
                <a:gd name="T100" fmla="*/ 166 w 294"/>
                <a:gd name="T101" fmla="*/ 44 h 412"/>
                <a:gd name="T102" fmla="*/ 174 w 294"/>
                <a:gd name="T103" fmla="*/ 36 h 412"/>
                <a:gd name="T104" fmla="*/ 166 w 294"/>
                <a:gd name="T105" fmla="*/ 28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4" h="412">
                  <a:moveTo>
                    <a:pt x="218" y="344"/>
                  </a:moveTo>
                  <a:lnTo>
                    <a:pt x="218" y="400"/>
                  </a:lnTo>
                  <a:lnTo>
                    <a:pt x="218" y="400"/>
                  </a:lnTo>
                  <a:lnTo>
                    <a:pt x="202" y="404"/>
                  </a:lnTo>
                  <a:lnTo>
                    <a:pt x="184" y="408"/>
                  </a:lnTo>
                  <a:lnTo>
                    <a:pt x="166" y="412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30" y="412"/>
                  </a:lnTo>
                  <a:lnTo>
                    <a:pt x="112" y="410"/>
                  </a:lnTo>
                  <a:lnTo>
                    <a:pt x="94" y="406"/>
                  </a:lnTo>
                  <a:lnTo>
                    <a:pt x="78" y="400"/>
                  </a:lnTo>
                  <a:lnTo>
                    <a:pt x="78" y="264"/>
                  </a:lnTo>
                  <a:lnTo>
                    <a:pt x="54" y="264"/>
                  </a:lnTo>
                  <a:lnTo>
                    <a:pt x="54" y="390"/>
                  </a:lnTo>
                  <a:lnTo>
                    <a:pt x="54" y="390"/>
                  </a:lnTo>
                  <a:lnTo>
                    <a:pt x="40" y="382"/>
                  </a:lnTo>
                  <a:lnTo>
                    <a:pt x="26" y="372"/>
                  </a:lnTo>
                  <a:lnTo>
                    <a:pt x="12" y="362"/>
                  </a:lnTo>
                  <a:lnTo>
                    <a:pt x="0" y="3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32"/>
                  </a:lnTo>
                  <a:lnTo>
                    <a:pt x="6" y="216"/>
                  </a:lnTo>
                  <a:lnTo>
                    <a:pt x="14" y="202"/>
                  </a:lnTo>
                  <a:lnTo>
                    <a:pt x="24" y="190"/>
                  </a:lnTo>
                  <a:lnTo>
                    <a:pt x="36" y="180"/>
                  </a:lnTo>
                  <a:lnTo>
                    <a:pt x="48" y="172"/>
                  </a:lnTo>
                  <a:lnTo>
                    <a:pt x="64" y="168"/>
                  </a:lnTo>
                  <a:lnTo>
                    <a:pt x="80" y="166"/>
                  </a:lnTo>
                  <a:lnTo>
                    <a:pt x="84" y="166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78" y="204"/>
                  </a:lnTo>
                  <a:lnTo>
                    <a:pt x="74" y="210"/>
                  </a:lnTo>
                  <a:lnTo>
                    <a:pt x="72" y="216"/>
                  </a:lnTo>
                  <a:lnTo>
                    <a:pt x="70" y="222"/>
                  </a:lnTo>
                  <a:lnTo>
                    <a:pt x="70" y="222"/>
                  </a:lnTo>
                  <a:lnTo>
                    <a:pt x="72" y="232"/>
                  </a:lnTo>
                  <a:lnTo>
                    <a:pt x="78" y="240"/>
                  </a:lnTo>
                  <a:lnTo>
                    <a:pt x="84" y="246"/>
                  </a:lnTo>
                  <a:lnTo>
                    <a:pt x="94" y="248"/>
                  </a:lnTo>
                  <a:lnTo>
                    <a:pt x="94" y="248"/>
                  </a:lnTo>
                  <a:lnTo>
                    <a:pt x="104" y="246"/>
                  </a:lnTo>
                  <a:lnTo>
                    <a:pt x="112" y="240"/>
                  </a:lnTo>
                  <a:lnTo>
                    <a:pt x="116" y="232"/>
                  </a:lnTo>
                  <a:lnTo>
                    <a:pt x="118" y="222"/>
                  </a:lnTo>
                  <a:lnTo>
                    <a:pt x="118" y="222"/>
                  </a:lnTo>
                  <a:lnTo>
                    <a:pt x="118" y="216"/>
                  </a:lnTo>
                  <a:lnTo>
                    <a:pt x="114" y="210"/>
                  </a:lnTo>
                  <a:lnTo>
                    <a:pt x="110" y="204"/>
                  </a:lnTo>
                  <a:lnTo>
                    <a:pt x="104" y="200"/>
                  </a:lnTo>
                  <a:lnTo>
                    <a:pt x="104" y="166"/>
                  </a:lnTo>
                  <a:lnTo>
                    <a:pt x="170" y="166"/>
                  </a:lnTo>
                  <a:lnTo>
                    <a:pt x="170" y="166"/>
                  </a:lnTo>
                  <a:lnTo>
                    <a:pt x="170" y="168"/>
                  </a:lnTo>
                  <a:lnTo>
                    <a:pt x="170" y="218"/>
                  </a:lnTo>
                  <a:lnTo>
                    <a:pt x="170" y="218"/>
                  </a:lnTo>
                  <a:lnTo>
                    <a:pt x="160" y="222"/>
                  </a:lnTo>
                  <a:lnTo>
                    <a:pt x="150" y="226"/>
                  </a:lnTo>
                  <a:lnTo>
                    <a:pt x="142" y="232"/>
                  </a:lnTo>
                  <a:lnTo>
                    <a:pt x="136" y="238"/>
                  </a:lnTo>
                  <a:lnTo>
                    <a:pt x="130" y="248"/>
                  </a:lnTo>
                  <a:lnTo>
                    <a:pt x="126" y="256"/>
                  </a:lnTo>
                  <a:lnTo>
                    <a:pt x="122" y="266"/>
                  </a:lnTo>
                  <a:lnTo>
                    <a:pt x="122" y="276"/>
                  </a:lnTo>
                  <a:lnTo>
                    <a:pt x="122" y="332"/>
                  </a:lnTo>
                  <a:lnTo>
                    <a:pt x="122" y="332"/>
                  </a:lnTo>
                  <a:lnTo>
                    <a:pt x="122" y="338"/>
                  </a:lnTo>
                  <a:lnTo>
                    <a:pt x="124" y="340"/>
                  </a:lnTo>
                  <a:lnTo>
                    <a:pt x="128" y="344"/>
                  </a:lnTo>
                  <a:lnTo>
                    <a:pt x="132" y="344"/>
                  </a:lnTo>
                  <a:lnTo>
                    <a:pt x="152" y="344"/>
                  </a:lnTo>
                  <a:lnTo>
                    <a:pt x="152" y="344"/>
                  </a:lnTo>
                  <a:lnTo>
                    <a:pt x="156" y="344"/>
                  </a:lnTo>
                  <a:lnTo>
                    <a:pt x="160" y="340"/>
                  </a:lnTo>
                  <a:lnTo>
                    <a:pt x="162" y="338"/>
                  </a:lnTo>
                  <a:lnTo>
                    <a:pt x="164" y="332"/>
                  </a:lnTo>
                  <a:lnTo>
                    <a:pt x="164" y="332"/>
                  </a:lnTo>
                  <a:lnTo>
                    <a:pt x="162" y="328"/>
                  </a:lnTo>
                  <a:lnTo>
                    <a:pt x="160" y="326"/>
                  </a:lnTo>
                  <a:lnTo>
                    <a:pt x="156" y="322"/>
                  </a:lnTo>
                  <a:lnTo>
                    <a:pt x="152" y="322"/>
                  </a:lnTo>
                  <a:lnTo>
                    <a:pt x="144" y="322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4" y="270"/>
                  </a:lnTo>
                  <a:lnTo>
                    <a:pt x="146" y="262"/>
                  </a:lnTo>
                  <a:lnTo>
                    <a:pt x="150" y="256"/>
                  </a:lnTo>
                  <a:lnTo>
                    <a:pt x="154" y="250"/>
                  </a:lnTo>
                  <a:lnTo>
                    <a:pt x="160" y="246"/>
                  </a:lnTo>
                  <a:lnTo>
                    <a:pt x="166" y="242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0" y="240"/>
                  </a:lnTo>
                  <a:lnTo>
                    <a:pt x="188" y="240"/>
                  </a:lnTo>
                  <a:lnTo>
                    <a:pt x="196" y="242"/>
                  </a:lnTo>
                  <a:lnTo>
                    <a:pt x="202" y="246"/>
                  </a:lnTo>
                  <a:lnTo>
                    <a:pt x="208" y="250"/>
                  </a:lnTo>
                  <a:lnTo>
                    <a:pt x="212" y="256"/>
                  </a:lnTo>
                  <a:lnTo>
                    <a:pt x="216" y="262"/>
                  </a:lnTo>
                  <a:lnTo>
                    <a:pt x="218" y="270"/>
                  </a:lnTo>
                  <a:lnTo>
                    <a:pt x="218" y="276"/>
                  </a:lnTo>
                  <a:lnTo>
                    <a:pt x="218" y="278"/>
                  </a:lnTo>
                  <a:lnTo>
                    <a:pt x="218" y="322"/>
                  </a:lnTo>
                  <a:lnTo>
                    <a:pt x="210" y="322"/>
                  </a:lnTo>
                  <a:lnTo>
                    <a:pt x="210" y="322"/>
                  </a:lnTo>
                  <a:lnTo>
                    <a:pt x="206" y="322"/>
                  </a:lnTo>
                  <a:lnTo>
                    <a:pt x="202" y="326"/>
                  </a:lnTo>
                  <a:lnTo>
                    <a:pt x="200" y="328"/>
                  </a:lnTo>
                  <a:lnTo>
                    <a:pt x="198" y="332"/>
                  </a:lnTo>
                  <a:lnTo>
                    <a:pt x="198" y="332"/>
                  </a:lnTo>
                  <a:lnTo>
                    <a:pt x="200" y="338"/>
                  </a:lnTo>
                  <a:lnTo>
                    <a:pt x="202" y="340"/>
                  </a:lnTo>
                  <a:lnTo>
                    <a:pt x="206" y="344"/>
                  </a:lnTo>
                  <a:lnTo>
                    <a:pt x="210" y="344"/>
                  </a:lnTo>
                  <a:lnTo>
                    <a:pt x="218" y="344"/>
                  </a:lnTo>
                  <a:close/>
                  <a:moveTo>
                    <a:pt x="240" y="334"/>
                  </a:moveTo>
                  <a:lnTo>
                    <a:pt x="240" y="390"/>
                  </a:lnTo>
                  <a:lnTo>
                    <a:pt x="240" y="390"/>
                  </a:lnTo>
                  <a:lnTo>
                    <a:pt x="254" y="382"/>
                  </a:lnTo>
                  <a:lnTo>
                    <a:pt x="270" y="372"/>
                  </a:lnTo>
                  <a:lnTo>
                    <a:pt x="282" y="362"/>
                  </a:lnTo>
                  <a:lnTo>
                    <a:pt x="294" y="350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294" y="234"/>
                  </a:lnTo>
                  <a:lnTo>
                    <a:pt x="288" y="218"/>
                  </a:lnTo>
                  <a:lnTo>
                    <a:pt x="282" y="204"/>
                  </a:lnTo>
                  <a:lnTo>
                    <a:pt x="272" y="192"/>
                  </a:lnTo>
                  <a:lnTo>
                    <a:pt x="260" y="182"/>
                  </a:lnTo>
                  <a:lnTo>
                    <a:pt x="246" y="174"/>
                  </a:lnTo>
                  <a:lnTo>
                    <a:pt x="230" y="168"/>
                  </a:lnTo>
                  <a:lnTo>
                    <a:pt x="214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202" y="222"/>
                  </a:lnTo>
                  <a:lnTo>
                    <a:pt x="212" y="226"/>
                  </a:lnTo>
                  <a:lnTo>
                    <a:pt x="220" y="232"/>
                  </a:lnTo>
                  <a:lnTo>
                    <a:pt x="226" y="238"/>
                  </a:lnTo>
                  <a:lnTo>
                    <a:pt x="232" y="248"/>
                  </a:lnTo>
                  <a:lnTo>
                    <a:pt x="236" y="256"/>
                  </a:lnTo>
                  <a:lnTo>
                    <a:pt x="240" y="266"/>
                  </a:lnTo>
                  <a:lnTo>
                    <a:pt x="240" y="276"/>
                  </a:lnTo>
                  <a:lnTo>
                    <a:pt x="240" y="332"/>
                  </a:lnTo>
                  <a:lnTo>
                    <a:pt x="240" y="332"/>
                  </a:lnTo>
                  <a:lnTo>
                    <a:pt x="240" y="334"/>
                  </a:lnTo>
                  <a:lnTo>
                    <a:pt x="240" y="334"/>
                  </a:lnTo>
                  <a:close/>
                  <a:moveTo>
                    <a:pt x="82" y="106"/>
                  </a:moveTo>
                  <a:lnTo>
                    <a:pt x="82" y="106"/>
                  </a:lnTo>
                  <a:lnTo>
                    <a:pt x="86" y="116"/>
                  </a:lnTo>
                  <a:lnTo>
                    <a:pt x="92" y="122"/>
                  </a:lnTo>
                  <a:lnTo>
                    <a:pt x="100" y="130"/>
                  </a:lnTo>
                  <a:lnTo>
                    <a:pt x="108" y="136"/>
                  </a:lnTo>
                  <a:lnTo>
                    <a:pt x="118" y="140"/>
                  </a:lnTo>
                  <a:lnTo>
                    <a:pt x="126" y="144"/>
                  </a:lnTo>
                  <a:lnTo>
                    <a:pt x="136" y="146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58" y="146"/>
                  </a:lnTo>
                  <a:lnTo>
                    <a:pt x="168" y="144"/>
                  </a:lnTo>
                  <a:lnTo>
                    <a:pt x="178" y="140"/>
                  </a:lnTo>
                  <a:lnTo>
                    <a:pt x="186" y="136"/>
                  </a:lnTo>
                  <a:lnTo>
                    <a:pt x="196" y="130"/>
                  </a:lnTo>
                  <a:lnTo>
                    <a:pt x="202" y="122"/>
                  </a:lnTo>
                  <a:lnTo>
                    <a:pt x="208" y="11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00" y="96"/>
                  </a:lnTo>
                  <a:lnTo>
                    <a:pt x="184" y="90"/>
                  </a:lnTo>
                  <a:lnTo>
                    <a:pt x="166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30" y="84"/>
                  </a:lnTo>
                  <a:lnTo>
                    <a:pt x="112" y="90"/>
                  </a:lnTo>
                  <a:lnTo>
                    <a:pt x="96" y="96"/>
                  </a:lnTo>
                  <a:lnTo>
                    <a:pt x="82" y="106"/>
                  </a:lnTo>
                  <a:lnTo>
                    <a:pt x="82" y="106"/>
                  </a:lnTo>
                  <a:close/>
                  <a:moveTo>
                    <a:pt x="148" y="0"/>
                  </a:moveTo>
                  <a:lnTo>
                    <a:pt x="148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62" y="2"/>
                  </a:lnTo>
                  <a:lnTo>
                    <a:pt x="176" y="6"/>
                  </a:lnTo>
                  <a:lnTo>
                    <a:pt x="190" y="12"/>
                  </a:lnTo>
                  <a:lnTo>
                    <a:pt x="200" y="22"/>
                  </a:lnTo>
                  <a:lnTo>
                    <a:pt x="208" y="32"/>
                  </a:lnTo>
                  <a:lnTo>
                    <a:pt x="216" y="44"/>
                  </a:lnTo>
                  <a:lnTo>
                    <a:pt x="220" y="58"/>
                  </a:lnTo>
                  <a:lnTo>
                    <a:pt x="222" y="74"/>
                  </a:lnTo>
                  <a:lnTo>
                    <a:pt x="222" y="74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04" y="80"/>
                  </a:lnTo>
                  <a:lnTo>
                    <a:pt x="186" y="74"/>
                  </a:lnTo>
                  <a:lnTo>
                    <a:pt x="168" y="68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8"/>
                  </a:lnTo>
                  <a:lnTo>
                    <a:pt x="110" y="74"/>
                  </a:lnTo>
                  <a:lnTo>
                    <a:pt x="92" y="8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6" y="58"/>
                  </a:lnTo>
                  <a:lnTo>
                    <a:pt x="80" y="44"/>
                  </a:lnTo>
                  <a:lnTo>
                    <a:pt x="86" y="32"/>
                  </a:lnTo>
                  <a:lnTo>
                    <a:pt x="96" y="22"/>
                  </a:lnTo>
                  <a:lnTo>
                    <a:pt x="106" y="12"/>
                  </a:lnTo>
                  <a:lnTo>
                    <a:pt x="118" y="6"/>
                  </a:lnTo>
                  <a:lnTo>
                    <a:pt x="132" y="2"/>
                  </a:lnTo>
                  <a:lnTo>
                    <a:pt x="148" y="0"/>
                  </a:lnTo>
                  <a:lnTo>
                    <a:pt x="148" y="0"/>
                  </a:lnTo>
                  <a:close/>
                  <a:moveTo>
                    <a:pt x="156" y="28"/>
                  </a:moveTo>
                  <a:lnTo>
                    <a:pt x="156" y="18"/>
                  </a:lnTo>
                  <a:lnTo>
                    <a:pt x="156" y="18"/>
                  </a:lnTo>
                  <a:lnTo>
                    <a:pt x="154" y="16"/>
                  </a:lnTo>
                  <a:lnTo>
                    <a:pt x="152" y="12"/>
                  </a:lnTo>
                  <a:lnTo>
                    <a:pt x="150" y="10"/>
                  </a:lnTo>
                  <a:lnTo>
                    <a:pt x="148" y="10"/>
                  </a:lnTo>
                  <a:lnTo>
                    <a:pt x="148" y="10"/>
                  </a:lnTo>
                  <a:lnTo>
                    <a:pt x="144" y="10"/>
                  </a:lnTo>
                  <a:lnTo>
                    <a:pt x="142" y="12"/>
                  </a:lnTo>
                  <a:lnTo>
                    <a:pt x="140" y="16"/>
                  </a:lnTo>
                  <a:lnTo>
                    <a:pt x="140" y="18"/>
                  </a:lnTo>
                  <a:lnTo>
                    <a:pt x="140" y="28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26" y="28"/>
                  </a:lnTo>
                  <a:lnTo>
                    <a:pt x="124" y="30"/>
                  </a:lnTo>
                  <a:lnTo>
                    <a:pt x="122" y="34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40"/>
                  </a:lnTo>
                  <a:lnTo>
                    <a:pt x="124" y="42"/>
                  </a:lnTo>
                  <a:lnTo>
                    <a:pt x="126" y="44"/>
                  </a:lnTo>
                  <a:lnTo>
                    <a:pt x="130" y="44"/>
                  </a:lnTo>
                  <a:lnTo>
                    <a:pt x="140" y="4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2" y="60"/>
                  </a:lnTo>
                  <a:lnTo>
                    <a:pt x="144" y="62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50" y="62"/>
                  </a:lnTo>
                  <a:lnTo>
                    <a:pt x="152" y="60"/>
                  </a:lnTo>
                  <a:lnTo>
                    <a:pt x="154" y="58"/>
                  </a:lnTo>
                  <a:lnTo>
                    <a:pt x="156" y="54"/>
                  </a:lnTo>
                  <a:lnTo>
                    <a:pt x="156" y="44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8" y="44"/>
                  </a:lnTo>
                  <a:lnTo>
                    <a:pt x="170" y="42"/>
                  </a:lnTo>
                  <a:lnTo>
                    <a:pt x="172" y="40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2" y="34"/>
                  </a:lnTo>
                  <a:lnTo>
                    <a:pt x="170" y="30"/>
                  </a:lnTo>
                  <a:lnTo>
                    <a:pt x="168" y="28"/>
                  </a:lnTo>
                  <a:lnTo>
                    <a:pt x="166" y="28"/>
                  </a:lnTo>
                  <a:lnTo>
                    <a:pt x="156" y="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  <a:extLst/>
          </p:spPr>
          <p:txBody>
            <a:bodyPr vert="horz" wrap="square" lIns="152380" tIns="76190" rIns="152380" bIns="761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738268" y="7688671"/>
            <a:ext cx="1080000" cy="1080000"/>
            <a:chOff x="7856838" y="7608820"/>
            <a:chExt cx="1080000" cy="1080000"/>
          </a:xfrm>
        </p:grpSpPr>
        <p:sp>
          <p:nvSpPr>
            <p:cNvPr id="68" name="Oval 67"/>
            <p:cNvSpPr/>
            <p:nvPr/>
          </p:nvSpPr>
          <p:spPr bwMode="ltGray">
            <a:xfrm>
              <a:off x="7856838" y="760882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69" name="Freeform 5001"/>
            <p:cNvSpPr>
              <a:spLocks noEditPoints="1"/>
            </p:cNvSpPr>
            <p:nvPr/>
          </p:nvSpPr>
          <p:spPr bwMode="auto">
            <a:xfrm>
              <a:off x="8124691" y="7767366"/>
              <a:ext cx="573144" cy="701642"/>
            </a:xfrm>
            <a:custGeom>
              <a:avLst/>
              <a:gdLst>
                <a:gd name="T0" fmla="*/ 232 w 284"/>
                <a:gd name="T1" fmla="*/ 90 h 356"/>
                <a:gd name="T2" fmla="*/ 224 w 284"/>
                <a:gd name="T3" fmla="*/ 54 h 356"/>
                <a:gd name="T4" fmla="*/ 192 w 284"/>
                <a:gd name="T5" fmla="*/ 14 h 356"/>
                <a:gd name="T6" fmla="*/ 142 w 284"/>
                <a:gd name="T7" fmla="*/ 0 h 356"/>
                <a:gd name="T8" fmla="*/ 108 w 284"/>
                <a:gd name="T9" fmla="*/ 6 h 356"/>
                <a:gd name="T10" fmla="*/ 68 w 284"/>
                <a:gd name="T11" fmla="*/ 38 h 356"/>
                <a:gd name="T12" fmla="*/ 52 w 284"/>
                <a:gd name="T13" fmla="*/ 90 h 356"/>
                <a:gd name="T14" fmla="*/ 20 w 284"/>
                <a:gd name="T15" fmla="*/ 142 h 356"/>
                <a:gd name="T16" fmla="*/ 0 w 284"/>
                <a:gd name="T17" fmla="*/ 154 h 356"/>
                <a:gd name="T18" fmla="*/ 0 w 284"/>
                <a:gd name="T19" fmla="*/ 302 h 356"/>
                <a:gd name="T20" fmla="*/ 0 w 284"/>
                <a:gd name="T21" fmla="*/ 306 h 356"/>
                <a:gd name="T22" fmla="*/ 0 w 284"/>
                <a:gd name="T23" fmla="*/ 306 h 356"/>
                <a:gd name="T24" fmla="*/ 2 w 284"/>
                <a:gd name="T25" fmla="*/ 312 h 356"/>
                <a:gd name="T26" fmla="*/ 2 w 284"/>
                <a:gd name="T27" fmla="*/ 314 h 356"/>
                <a:gd name="T28" fmla="*/ 4 w 284"/>
                <a:gd name="T29" fmla="*/ 316 h 356"/>
                <a:gd name="T30" fmla="*/ 6 w 284"/>
                <a:gd name="T31" fmla="*/ 318 h 356"/>
                <a:gd name="T32" fmla="*/ 8 w 284"/>
                <a:gd name="T33" fmla="*/ 320 h 356"/>
                <a:gd name="T34" fmla="*/ 10 w 284"/>
                <a:gd name="T35" fmla="*/ 320 h 356"/>
                <a:gd name="T36" fmla="*/ 108 w 284"/>
                <a:gd name="T37" fmla="*/ 354 h 356"/>
                <a:gd name="T38" fmla="*/ 176 w 284"/>
                <a:gd name="T39" fmla="*/ 354 h 356"/>
                <a:gd name="T40" fmla="*/ 274 w 284"/>
                <a:gd name="T41" fmla="*/ 320 h 356"/>
                <a:gd name="T42" fmla="*/ 276 w 284"/>
                <a:gd name="T43" fmla="*/ 320 h 356"/>
                <a:gd name="T44" fmla="*/ 278 w 284"/>
                <a:gd name="T45" fmla="*/ 316 h 356"/>
                <a:gd name="T46" fmla="*/ 278 w 284"/>
                <a:gd name="T47" fmla="*/ 316 h 356"/>
                <a:gd name="T48" fmla="*/ 284 w 284"/>
                <a:gd name="T49" fmla="*/ 162 h 356"/>
                <a:gd name="T50" fmla="*/ 278 w 284"/>
                <a:gd name="T51" fmla="*/ 146 h 356"/>
                <a:gd name="T52" fmla="*/ 264 w 284"/>
                <a:gd name="T53" fmla="*/ 142 h 356"/>
                <a:gd name="T54" fmla="*/ 132 w 284"/>
                <a:gd name="T55" fmla="*/ 294 h 356"/>
                <a:gd name="T56" fmla="*/ 126 w 284"/>
                <a:gd name="T57" fmla="*/ 248 h 356"/>
                <a:gd name="T58" fmla="*/ 114 w 284"/>
                <a:gd name="T59" fmla="*/ 226 h 356"/>
                <a:gd name="T60" fmla="*/ 122 w 284"/>
                <a:gd name="T61" fmla="*/ 208 h 356"/>
                <a:gd name="T62" fmla="*/ 142 w 284"/>
                <a:gd name="T63" fmla="*/ 200 h 356"/>
                <a:gd name="T64" fmla="*/ 166 w 284"/>
                <a:gd name="T65" fmla="*/ 216 h 356"/>
                <a:gd name="T66" fmla="*/ 168 w 284"/>
                <a:gd name="T67" fmla="*/ 234 h 356"/>
                <a:gd name="T68" fmla="*/ 152 w 284"/>
                <a:gd name="T69" fmla="*/ 252 h 356"/>
                <a:gd name="T70" fmla="*/ 88 w 284"/>
                <a:gd name="T71" fmla="*/ 142 h 356"/>
                <a:gd name="T72" fmla="*/ 90 w 284"/>
                <a:gd name="T73" fmla="*/ 78 h 356"/>
                <a:gd name="T74" fmla="*/ 104 w 284"/>
                <a:gd name="T75" fmla="*/ 50 h 356"/>
                <a:gd name="T76" fmla="*/ 132 w 284"/>
                <a:gd name="T77" fmla="*/ 36 h 356"/>
                <a:gd name="T78" fmla="*/ 152 w 284"/>
                <a:gd name="T79" fmla="*/ 36 h 356"/>
                <a:gd name="T80" fmla="*/ 180 w 284"/>
                <a:gd name="T81" fmla="*/ 50 h 356"/>
                <a:gd name="T82" fmla="*/ 194 w 284"/>
                <a:gd name="T83" fmla="*/ 78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356">
                  <a:moveTo>
                    <a:pt x="264" y="142"/>
                  </a:moveTo>
                  <a:lnTo>
                    <a:pt x="232" y="142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0" y="70"/>
                  </a:lnTo>
                  <a:lnTo>
                    <a:pt x="224" y="54"/>
                  </a:lnTo>
                  <a:lnTo>
                    <a:pt x="216" y="38"/>
                  </a:lnTo>
                  <a:lnTo>
                    <a:pt x="206" y="26"/>
                  </a:lnTo>
                  <a:lnTo>
                    <a:pt x="192" y="14"/>
                  </a:lnTo>
                  <a:lnTo>
                    <a:pt x="176" y="6"/>
                  </a:lnTo>
                  <a:lnTo>
                    <a:pt x="160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24" y="0"/>
                  </a:lnTo>
                  <a:lnTo>
                    <a:pt x="108" y="6"/>
                  </a:lnTo>
                  <a:lnTo>
                    <a:pt x="92" y="14"/>
                  </a:lnTo>
                  <a:lnTo>
                    <a:pt x="78" y="26"/>
                  </a:lnTo>
                  <a:lnTo>
                    <a:pt x="68" y="38"/>
                  </a:lnTo>
                  <a:lnTo>
                    <a:pt x="60" y="54"/>
                  </a:lnTo>
                  <a:lnTo>
                    <a:pt x="54" y="70"/>
                  </a:lnTo>
                  <a:lnTo>
                    <a:pt x="52" y="90"/>
                  </a:lnTo>
                  <a:lnTo>
                    <a:pt x="52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12" y="142"/>
                  </a:lnTo>
                  <a:lnTo>
                    <a:pt x="6" y="146"/>
                  </a:lnTo>
                  <a:lnTo>
                    <a:pt x="0" y="154"/>
                  </a:lnTo>
                  <a:lnTo>
                    <a:pt x="0" y="162"/>
                  </a:lnTo>
                  <a:lnTo>
                    <a:pt x="0" y="302"/>
                  </a:lnTo>
                  <a:lnTo>
                    <a:pt x="0" y="302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10"/>
                  </a:lnTo>
                  <a:lnTo>
                    <a:pt x="0" y="310"/>
                  </a:lnTo>
                  <a:lnTo>
                    <a:pt x="2" y="312"/>
                  </a:lnTo>
                  <a:lnTo>
                    <a:pt x="2" y="312"/>
                  </a:lnTo>
                  <a:lnTo>
                    <a:pt x="2" y="314"/>
                  </a:lnTo>
                  <a:lnTo>
                    <a:pt x="2" y="314"/>
                  </a:lnTo>
                  <a:lnTo>
                    <a:pt x="4" y="314"/>
                  </a:lnTo>
                  <a:lnTo>
                    <a:pt x="4" y="314"/>
                  </a:lnTo>
                  <a:lnTo>
                    <a:pt x="4" y="316"/>
                  </a:lnTo>
                  <a:lnTo>
                    <a:pt x="4" y="316"/>
                  </a:lnTo>
                  <a:lnTo>
                    <a:pt x="6" y="318"/>
                  </a:lnTo>
                  <a:lnTo>
                    <a:pt x="6" y="318"/>
                  </a:lnTo>
                  <a:lnTo>
                    <a:pt x="8" y="318"/>
                  </a:lnTo>
                  <a:lnTo>
                    <a:pt x="8" y="318"/>
                  </a:lnTo>
                  <a:lnTo>
                    <a:pt x="8" y="320"/>
                  </a:lnTo>
                  <a:lnTo>
                    <a:pt x="8" y="320"/>
                  </a:lnTo>
                  <a:lnTo>
                    <a:pt x="10" y="320"/>
                  </a:lnTo>
                  <a:lnTo>
                    <a:pt x="10" y="320"/>
                  </a:lnTo>
                  <a:lnTo>
                    <a:pt x="40" y="336"/>
                  </a:lnTo>
                  <a:lnTo>
                    <a:pt x="74" y="346"/>
                  </a:lnTo>
                  <a:lnTo>
                    <a:pt x="108" y="354"/>
                  </a:lnTo>
                  <a:lnTo>
                    <a:pt x="142" y="356"/>
                  </a:lnTo>
                  <a:lnTo>
                    <a:pt x="142" y="356"/>
                  </a:lnTo>
                  <a:lnTo>
                    <a:pt x="176" y="354"/>
                  </a:lnTo>
                  <a:lnTo>
                    <a:pt x="210" y="346"/>
                  </a:lnTo>
                  <a:lnTo>
                    <a:pt x="244" y="336"/>
                  </a:lnTo>
                  <a:lnTo>
                    <a:pt x="274" y="320"/>
                  </a:lnTo>
                  <a:lnTo>
                    <a:pt x="274" y="320"/>
                  </a:lnTo>
                  <a:lnTo>
                    <a:pt x="276" y="320"/>
                  </a:lnTo>
                  <a:lnTo>
                    <a:pt x="276" y="320"/>
                  </a:lnTo>
                  <a:lnTo>
                    <a:pt x="276" y="320"/>
                  </a:lnTo>
                  <a:lnTo>
                    <a:pt x="276" y="320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78" y="316"/>
                  </a:lnTo>
                  <a:lnTo>
                    <a:pt x="284" y="310"/>
                  </a:lnTo>
                  <a:lnTo>
                    <a:pt x="284" y="302"/>
                  </a:lnTo>
                  <a:lnTo>
                    <a:pt x="284" y="162"/>
                  </a:lnTo>
                  <a:lnTo>
                    <a:pt x="284" y="162"/>
                  </a:lnTo>
                  <a:lnTo>
                    <a:pt x="284" y="154"/>
                  </a:lnTo>
                  <a:lnTo>
                    <a:pt x="278" y="146"/>
                  </a:lnTo>
                  <a:lnTo>
                    <a:pt x="272" y="142"/>
                  </a:lnTo>
                  <a:lnTo>
                    <a:pt x="264" y="142"/>
                  </a:lnTo>
                  <a:lnTo>
                    <a:pt x="264" y="142"/>
                  </a:lnTo>
                  <a:close/>
                  <a:moveTo>
                    <a:pt x="152" y="252"/>
                  </a:moveTo>
                  <a:lnTo>
                    <a:pt x="152" y="294"/>
                  </a:lnTo>
                  <a:lnTo>
                    <a:pt x="132" y="294"/>
                  </a:lnTo>
                  <a:lnTo>
                    <a:pt x="132" y="252"/>
                  </a:lnTo>
                  <a:lnTo>
                    <a:pt x="132" y="252"/>
                  </a:lnTo>
                  <a:lnTo>
                    <a:pt x="126" y="248"/>
                  </a:lnTo>
                  <a:lnTo>
                    <a:pt x="120" y="242"/>
                  </a:lnTo>
                  <a:lnTo>
                    <a:pt x="116" y="234"/>
                  </a:lnTo>
                  <a:lnTo>
                    <a:pt x="114" y="226"/>
                  </a:lnTo>
                  <a:lnTo>
                    <a:pt x="114" y="226"/>
                  </a:lnTo>
                  <a:lnTo>
                    <a:pt x="118" y="216"/>
                  </a:lnTo>
                  <a:lnTo>
                    <a:pt x="122" y="208"/>
                  </a:lnTo>
                  <a:lnTo>
                    <a:pt x="132" y="202"/>
                  </a:lnTo>
                  <a:lnTo>
                    <a:pt x="142" y="200"/>
                  </a:lnTo>
                  <a:lnTo>
                    <a:pt x="142" y="200"/>
                  </a:lnTo>
                  <a:lnTo>
                    <a:pt x="152" y="202"/>
                  </a:lnTo>
                  <a:lnTo>
                    <a:pt x="162" y="208"/>
                  </a:lnTo>
                  <a:lnTo>
                    <a:pt x="166" y="216"/>
                  </a:lnTo>
                  <a:lnTo>
                    <a:pt x="170" y="226"/>
                  </a:lnTo>
                  <a:lnTo>
                    <a:pt x="170" y="226"/>
                  </a:lnTo>
                  <a:lnTo>
                    <a:pt x="168" y="234"/>
                  </a:lnTo>
                  <a:lnTo>
                    <a:pt x="164" y="242"/>
                  </a:lnTo>
                  <a:lnTo>
                    <a:pt x="158" y="248"/>
                  </a:lnTo>
                  <a:lnTo>
                    <a:pt x="152" y="252"/>
                  </a:lnTo>
                  <a:lnTo>
                    <a:pt x="152" y="252"/>
                  </a:lnTo>
                  <a:close/>
                  <a:moveTo>
                    <a:pt x="196" y="142"/>
                  </a:moveTo>
                  <a:lnTo>
                    <a:pt x="88" y="142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90" y="78"/>
                  </a:lnTo>
                  <a:lnTo>
                    <a:pt x="92" y="68"/>
                  </a:lnTo>
                  <a:lnTo>
                    <a:pt x="98" y="58"/>
                  </a:lnTo>
                  <a:lnTo>
                    <a:pt x="104" y="50"/>
                  </a:lnTo>
                  <a:lnTo>
                    <a:pt x="112" y="44"/>
                  </a:lnTo>
                  <a:lnTo>
                    <a:pt x="122" y="40"/>
                  </a:lnTo>
                  <a:lnTo>
                    <a:pt x="132" y="36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52" y="36"/>
                  </a:lnTo>
                  <a:lnTo>
                    <a:pt x="162" y="40"/>
                  </a:lnTo>
                  <a:lnTo>
                    <a:pt x="172" y="44"/>
                  </a:lnTo>
                  <a:lnTo>
                    <a:pt x="180" y="50"/>
                  </a:lnTo>
                  <a:lnTo>
                    <a:pt x="186" y="58"/>
                  </a:lnTo>
                  <a:lnTo>
                    <a:pt x="192" y="68"/>
                  </a:lnTo>
                  <a:lnTo>
                    <a:pt x="194" y="78"/>
                  </a:lnTo>
                  <a:lnTo>
                    <a:pt x="196" y="90"/>
                  </a:lnTo>
                  <a:lnTo>
                    <a:pt x="196" y="14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4" name="Freeform 43"/>
          <p:cNvSpPr/>
          <p:nvPr/>
        </p:nvSpPr>
        <p:spPr>
          <a:xfrm>
            <a:off x="14663322" y="3162214"/>
            <a:ext cx="6840001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volverte innbyggere og styrket pasientroll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7542" y="3167026"/>
            <a:ext cx="1080000" cy="1080000"/>
            <a:chOff x="13667103" y="3264248"/>
            <a:chExt cx="1080000" cy="1080000"/>
          </a:xfrm>
        </p:grpSpPr>
        <p:sp>
          <p:nvSpPr>
            <p:cNvPr id="70" name="Oval 69"/>
            <p:cNvSpPr/>
            <p:nvPr/>
          </p:nvSpPr>
          <p:spPr bwMode="ltGray">
            <a:xfrm>
              <a:off x="13667103" y="3264248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71" name="Freeform 4924"/>
            <p:cNvSpPr>
              <a:spLocks noEditPoints="1"/>
            </p:cNvSpPr>
            <p:nvPr/>
          </p:nvSpPr>
          <p:spPr bwMode="auto">
            <a:xfrm>
              <a:off x="13831623" y="3488592"/>
              <a:ext cx="799731" cy="753268"/>
            </a:xfrm>
            <a:custGeom>
              <a:avLst/>
              <a:gdLst>
                <a:gd name="T0" fmla="*/ 78 w 394"/>
                <a:gd name="T1" fmla="*/ 20 h 380"/>
                <a:gd name="T2" fmla="*/ 116 w 394"/>
                <a:gd name="T3" fmla="*/ 0 h 380"/>
                <a:gd name="T4" fmla="*/ 148 w 394"/>
                <a:gd name="T5" fmla="*/ 14 h 380"/>
                <a:gd name="T6" fmla="*/ 162 w 394"/>
                <a:gd name="T7" fmla="*/ 46 h 380"/>
                <a:gd name="T8" fmla="*/ 142 w 394"/>
                <a:gd name="T9" fmla="*/ 84 h 380"/>
                <a:gd name="T10" fmla="*/ 106 w 394"/>
                <a:gd name="T11" fmla="*/ 92 h 380"/>
                <a:gd name="T12" fmla="*/ 74 w 394"/>
                <a:gd name="T13" fmla="*/ 64 h 380"/>
                <a:gd name="T14" fmla="*/ 120 w 394"/>
                <a:gd name="T15" fmla="*/ 232 h 380"/>
                <a:gd name="T16" fmla="*/ 148 w 394"/>
                <a:gd name="T17" fmla="*/ 198 h 380"/>
                <a:gd name="T18" fmla="*/ 142 w 394"/>
                <a:gd name="T19" fmla="*/ 164 h 380"/>
                <a:gd name="T20" fmla="*/ 170 w 394"/>
                <a:gd name="T21" fmla="*/ 128 h 380"/>
                <a:gd name="T22" fmla="*/ 176 w 394"/>
                <a:gd name="T23" fmla="*/ 114 h 380"/>
                <a:gd name="T24" fmla="*/ 72 w 394"/>
                <a:gd name="T25" fmla="*/ 112 h 380"/>
                <a:gd name="T26" fmla="*/ 38 w 394"/>
                <a:gd name="T27" fmla="*/ 130 h 380"/>
                <a:gd name="T28" fmla="*/ 0 w 394"/>
                <a:gd name="T29" fmla="*/ 244 h 380"/>
                <a:gd name="T30" fmla="*/ 46 w 394"/>
                <a:gd name="T31" fmla="*/ 318 h 380"/>
                <a:gd name="T32" fmla="*/ 152 w 394"/>
                <a:gd name="T33" fmla="*/ 376 h 380"/>
                <a:gd name="T34" fmla="*/ 130 w 394"/>
                <a:gd name="T35" fmla="*/ 332 h 380"/>
                <a:gd name="T36" fmla="*/ 390 w 394"/>
                <a:gd name="T37" fmla="*/ 154 h 380"/>
                <a:gd name="T38" fmla="*/ 372 w 394"/>
                <a:gd name="T39" fmla="*/ 124 h 380"/>
                <a:gd name="T40" fmla="*/ 318 w 394"/>
                <a:gd name="T41" fmla="*/ 112 h 380"/>
                <a:gd name="T42" fmla="*/ 228 w 394"/>
                <a:gd name="T43" fmla="*/ 112 h 380"/>
                <a:gd name="T44" fmla="*/ 196 w 394"/>
                <a:gd name="T45" fmla="*/ 124 h 380"/>
                <a:gd name="T46" fmla="*/ 228 w 394"/>
                <a:gd name="T47" fmla="*/ 138 h 380"/>
                <a:gd name="T48" fmla="*/ 242 w 394"/>
                <a:gd name="T49" fmla="*/ 174 h 380"/>
                <a:gd name="T50" fmla="*/ 256 w 394"/>
                <a:gd name="T51" fmla="*/ 210 h 380"/>
                <a:gd name="T52" fmla="*/ 264 w 394"/>
                <a:gd name="T53" fmla="*/ 314 h 380"/>
                <a:gd name="T54" fmla="*/ 232 w 394"/>
                <a:gd name="T55" fmla="*/ 342 h 380"/>
                <a:gd name="T56" fmla="*/ 278 w 394"/>
                <a:gd name="T57" fmla="*/ 362 h 380"/>
                <a:gd name="T58" fmla="*/ 338 w 394"/>
                <a:gd name="T59" fmla="*/ 260 h 380"/>
                <a:gd name="T60" fmla="*/ 366 w 394"/>
                <a:gd name="T61" fmla="*/ 284 h 380"/>
                <a:gd name="T62" fmla="*/ 394 w 394"/>
                <a:gd name="T63" fmla="*/ 198 h 380"/>
                <a:gd name="T64" fmla="*/ 192 w 394"/>
                <a:gd name="T65" fmla="*/ 380 h 380"/>
                <a:gd name="T66" fmla="*/ 236 w 394"/>
                <a:gd name="T67" fmla="*/ 320 h 380"/>
                <a:gd name="T68" fmla="*/ 244 w 394"/>
                <a:gd name="T69" fmla="*/ 232 h 380"/>
                <a:gd name="T70" fmla="*/ 154 w 394"/>
                <a:gd name="T71" fmla="*/ 218 h 380"/>
                <a:gd name="T72" fmla="*/ 140 w 394"/>
                <a:gd name="T73" fmla="*/ 232 h 380"/>
                <a:gd name="T74" fmla="*/ 148 w 394"/>
                <a:gd name="T75" fmla="*/ 320 h 380"/>
                <a:gd name="T76" fmla="*/ 192 w 394"/>
                <a:gd name="T77" fmla="*/ 380 h 380"/>
                <a:gd name="T78" fmla="*/ 242 w 394"/>
                <a:gd name="T79" fmla="*/ 64 h 380"/>
                <a:gd name="T80" fmla="*/ 274 w 394"/>
                <a:gd name="T81" fmla="*/ 92 h 380"/>
                <a:gd name="T82" fmla="*/ 308 w 394"/>
                <a:gd name="T83" fmla="*/ 84 h 380"/>
                <a:gd name="T84" fmla="*/ 330 w 394"/>
                <a:gd name="T85" fmla="*/ 46 h 380"/>
                <a:gd name="T86" fmla="*/ 314 w 394"/>
                <a:gd name="T87" fmla="*/ 12 h 380"/>
                <a:gd name="T88" fmla="*/ 284 w 394"/>
                <a:gd name="T89" fmla="*/ 0 h 380"/>
                <a:gd name="T90" fmla="*/ 250 w 394"/>
                <a:gd name="T91" fmla="*/ 14 h 380"/>
                <a:gd name="T92" fmla="*/ 238 w 394"/>
                <a:gd name="T93" fmla="*/ 46 h 380"/>
                <a:gd name="T94" fmla="*/ 214 w 394"/>
                <a:gd name="T95" fmla="*/ 196 h 380"/>
                <a:gd name="T96" fmla="*/ 222 w 394"/>
                <a:gd name="T97" fmla="*/ 168 h 380"/>
                <a:gd name="T98" fmla="*/ 192 w 394"/>
                <a:gd name="T99" fmla="*/ 142 h 380"/>
                <a:gd name="T100" fmla="*/ 164 w 394"/>
                <a:gd name="T101" fmla="*/ 162 h 380"/>
                <a:gd name="T102" fmla="*/ 164 w 394"/>
                <a:gd name="T103" fmla="*/ 186 h 380"/>
                <a:gd name="T104" fmla="*/ 192 w 394"/>
                <a:gd name="T105" fmla="*/ 204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4" h="380">
                  <a:moveTo>
                    <a:pt x="70" y="46"/>
                  </a:moveTo>
                  <a:lnTo>
                    <a:pt x="70" y="46"/>
                  </a:lnTo>
                  <a:lnTo>
                    <a:pt x="72" y="38"/>
                  </a:lnTo>
                  <a:lnTo>
                    <a:pt x="74" y="28"/>
                  </a:lnTo>
                  <a:lnTo>
                    <a:pt x="78" y="20"/>
                  </a:lnTo>
                  <a:lnTo>
                    <a:pt x="84" y="14"/>
                  </a:lnTo>
                  <a:lnTo>
                    <a:pt x="90" y="8"/>
                  </a:lnTo>
                  <a:lnTo>
                    <a:pt x="98" y="4"/>
                  </a:lnTo>
                  <a:lnTo>
                    <a:pt x="106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6" y="2"/>
                  </a:lnTo>
                  <a:lnTo>
                    <a:pt x="134" y="4"/>
                  </a:lnTo>
                  <a:lnTo>
                    <a:pt x="142" y="8"/>
                  </a:lnTo>
                  <a:lnTo>
                    <a:pt x="148" y="14"/>
                  </a:lnTo>
                  <a:lnTo>
                    <a:pt x="154" y="20"/>
                  </a:lnTo>
                  <a:lnTo>
                    <a:pt x="158" y="28"/>
                  </a:lnTo>
                  <a:lnTo>
                    <a:pt x="160" y="38"/>
                  </a:lnTo>
                  <a:lnTo>
                    <a:pt x="162" y="46"/>
                  </a:lnTo>
                  <a:lnTo>
                    <a:pt x="162" y="46"/>
                  </a:lnTo>
                  <a:lnTo>
                    <a:pt x="160" y="56"/>
                  </a:lnTo>
                  <a:lnTo>
                    <a:pt x="158" y="64"/>
                  </a:lnTo>
                  <a:lnTo>
                    <a:pt x="154" y="72"/>
                  </a:lnTo>
                  <a:lnTo>
                    <a:pt x="148" y="78"/>
                  </a:lnTo>
                  <a:lnTo>
                    <a:pt x="142" y="84"/>
                  </a:lnTo>
                  <a:lnTo>
                    <a:pt x="134" y="88"/>
                  </a:lnTo>
                  <a:lnTo>
                    <a:pt x="12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06" y="92"/>
                  </a:lnTo>
                  <a:lnTo>
                    <a:pt x="98" y="88"/>
                  </a:lnTo>
                  <a:lnTo>
                    <a:pt x="90" y="84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74" y="64"/>
                  </a:lnTo>
                  <a:lnTo>
                    <a:pt x="72" y="56"/>
                  </a:lnTo>
                  <a:lnTo>
                    <a:pt x="70" y="46"/>
                  </a:lnTo>
                  <a:lnTo>
                    <a:pt x="70" y="46"/>
                  </a:lnTo>
                  <a:close/>
                  <a:moveTo>
                    <a:pt x="120" y="308"/>
                  </a:moveTo>
                  <a:lnTo>
                    <a:pt x="120" y="232"/>
                  </a:lnTo>
                  <a:lnTo>
                    <a:pt x="120" y="232"/>
                  </a:lnTo>
                  <a:lnTo>
                    <a:pt x="122" y="220"/>
                  </a:lnTo>
                  <a:lnTo>
                    <a:pt x="128" y="210"/>
                  </a:lnTo>
                  <a:lnTo>
                    <a:pt x="136" y="202"/>
                  </a:lnTo>
                  <a:lnTo>
                    <a:pt x="148" y="198"/>
                  </a:lnTo>
                  <a:lnTo>
                    <a:pt x="148" y="198"/>
                  </a:lnTo>
                  <a:lnTo>
                    <a:pt x="144" y="186"/>
                  </a:lnTo>
                  <a:lnTo>
                    <a:pt x="142" y="174"/>
                  </a:lnTo>
                  <a:lnTo>
                    <a:pt x="142" y="174"/>
                  </a:lnTo>
                  <a:lnTo>
                    <a:pt x="142" y="164"/>
                  </a:lnTo>
                  <a:lnTo>
                    <a:pt x="146" y="154"/>
                  </a:lnTo>
                  <a:lnTo>
                    <a:pt x="150" y="146"/>
                  </a:lnTo>
                  <a:lnTo>
                    <a:pt x="156" y="140"/>
                  </a:lnTo>
                  <a:lnTo>
                    <a:pt x="162" y="132"/>
                  </a:lnTo>
                  <a:lnTo>
                    <a:pt x="170" y="128"/>
                  </a:lnTo>
                  <a:lnTo>
                    <a:pt x="178" y="124"/>
                  </a:lnTo>
                  <a:lnTo>
                    <a:pt x="188" y="124"/>
                  </a:lnTo>
                  <a:lnTo>
                    <a:pt x="188" y="124"/>
                  </a:lnTo>
                  <a:lnTo>
                    <a:pt x="182" y="118"/>
                  </a:lnTo>
                  <a:lnTo>
                    <a:pt x="176" y="114"/>
                  </a:lnTo>
                  <a:lnTo>
                    <a:pt x="168" y="112"/>
                  </a:lnTo>
                  <a:lnTo>
                    <a:pt x="160" y="112"/>
                  </a:lnTo>
                  <a:lnTo>
                    <a:pt x="116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64" y="112"/>
                  </a:lnTo>
                  <a:lnTo>
                    <a:pt x="56" y="114"/>
                  </a:lnTo>
                  <a:lnTo>
                    <a:pt x="50" y="118"/>
                  </a:lnTo>
                  <a:lnTo>
                    <a:pt x="44" y="124"/>
                  </a:lnTo>
                  <a:lnTo>
                    <a:pt x="38" y="130"/>
                  </a:lnTo>
                  <a:lnTo>
                    <a:pt x="34" y="136"/>
                  </a:lnTo>
                  <a:lnTo>
                    <a:pt x="30" y="144"/>
                  </a:lnTo>
                  <a:lnTo>
                    <a:pt x="28" y="152"/>
                  </a:lnTo>
                  <a:lnTo>
                    <a:pt x="0" y="244"/>
                  </a:lnTo>
                  <a:lnTo>
                    <a:pt x="0" y="244"/>
                  </a:lnTo>
                  <a:lnTo>
                    <a:pt x="12" y="270"/>
                  </a:lnTo>
                  <a:lnTo>
                    <a:pt x="26" y="296"/>
                  </a:lnTo>
                  <a:lnTo>
                    <a:pt x="60" y="188"/>
                  </a:lnTo>
                  <a:lnTo>
                    <a:pt x="76" y="188"/>
                  </a:lnTo>
                  <a:lnTo>
                    <a:pt x="46" y="318"/>
                  </a:lnTo>
                  <a:lnTo>
                    <a:pt x="46" y="318"/>
                  </a:lnTo>
                  <a:lnTo>
                    <a:pt x="70" y="338"/>
                  </a:lnTo>
                  <a:lnTo>
                    <a:pt x="94" y="356"/>
                  </a:lnTo>
                  <a:lnTo>
                    <a:pt x="122" y="368"/>
                  </a:lnTo>
                  <a:lnTo>
                    <a:pt x="152" y="376"/>
                  </a:lnTo>
                  <a:lnTo>
                    <a:pt x="152" y="342"/>
                  </a:lnTo>
                  <a:lnTo>
                    <a:pt x="152" y="342"/>
                  </a:lnTo>
                  <a:lnTo>
                    <a:pt x="146" y="340"/>
                  </a:lnTo>
                  <a:lnTo>
                    <a:pt x="140" y="338"/>
                  </a:lnTo>
                  <a:lnTo>
                    <a:pt x="130" y="332"/>
                  </a:lnTo>
                  <a:lnTo>
                    <a:pt x="122" y="320"/>
                  </a:lnTo>
                  <a:lnTo>
                    <a:pt x="120" y="314"/>
                  </a:lnTo>
                  <a:lnTo>
                    <a:pt x="120" y="308"/>
                  </a:lnTo>
                  <a:lnTo>
                    <a:pt x="120" y="308"/>
                  </a:lnTo>
                  <a:close/>
                  <a:moveTo>
                    <a:pt x="390" y="154"/>
                  </a:moveTo>
                  <a:lnTo>
                    <a:pt x="390" y="154"/>
                  </a:lnTo>
                  <a:lnTo>
                    <a:pt x="388" y="146"/>
                  </a:lnTo>
                  <a:lnTo>
                    <a:pt x="384" y="138"/>
                  </a:lnTo>
                  <a:lnTo>
                    <a:pt x="378" y="130"/>
                  </a:lnTo>
                  <a:lnTo>
                    <a:pt x="372" y="124"/>
                  </a:lnTo>
                  <a:lnTo>
                    <a:pt x="366" y="118"/>
                  </a:lnTo>
                  <a:lnTo>
                    <a:pt x="358" y="116"/>
                  </a:lnTo>
                  <a:lnTo>
                    <a:pt x="348" y="112"/>
                  </a:lnTo>
                  <a:lnTo>
                    <a:pt x="340" y="112"/>
                  </a:lnTo>
                  <a:lnTo>
                    <a:pt x="318" y="112"/>
                  </a:lnTo>
                  <a:lnTo>
                    <a:pt x="310" y="112"/>
                  </a:lnTo>
                  <a:lnTo>
                    <a:pt x="284" y="148"/>
                  </a:lnTo>
                  <a:lnTo>
                    <a:pt x="256" y="112"/>
                  </a:lnTo>
                  <a:lnTo>
                    <a:pt x="250" y="112"/>
                  </a:lnTo>
                  <a:lnTo>
                    <a:pt x="228" y="112"/>
                  </a:lnTo>
                  <a:lnTo>
                    <a:pt x="228" y="112"/>
                  </a:lnTo>
                  <a:lnTo>
                    <a:pt x="218" y="112"/>
                  </a:lnTo>
                  <a:lnTo>
                    <a:pt x="210" y="114"/>
                  </a:lnTo>
                  <a:lnTo>
                    <a:pt x="202" y="11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204" y="124"/>
                  </a:lnTo>
                  <a:lnTo>
                    <a:pt x="214" y="128"/>
                  </a:lnTo>
                  <a:lnTo>
                    <a:pt x="222" y="132"/>
                  </a:lnTo>
                  <a:lnTo>
                    <a:pt x="228" y="138"/>
                  </a:lnTo>
                  <a:lnTo>
                    <a:pt x="234" y="146"/>
                  </a:lnTo>
                  <a:lnTo>
                    <a:pt x="238" y="154"/>
                  </a:lnTo>
                  <a:lnTo>
                    <a:pt x="242" y="164"/>
                  </a:lnTo>
                  <a:lnTo>
                    <a:pt x="242" y="174"/>
                  </a:lnTo>
                  <a:lnTo>
                    <a:pt x="242" y="174"/>
                  </a:lnTo>
                  <a:lnTo>
                    <a:pt x="240" y="186"/>
                  </a:lnTo>
                  <a:lnTo>
                    <a:pt x="236" y="198"/>
                  </a:lnTo>
                  <a:lnTo>
                    <a:pt x="236" y="198"/>
                  </a:lnTo>
                  <a:lnTo>
                    <a:pt x="248" y="202"/>
                  </a:lnTo>
                  <a:lnTo>
                    <a:pt x="256" y="210"/>
                  </a:lnTo>
                  <a:lnTo>
                    <a:pt x="262" y="220"/>
                  </a:lnTo>
                  <a:lnTo>
                    <a:pt x="264" y="232"/>
                  </a:lnTo>
                  <a:lnTo>
                    <a:pt x="264" y="308"/>
                  </a:lnTo>
                  <a:lnTo>
                    <a:pt x="264" y="308"/>
                  </a:lnTo>
                  <a:lnTo>
                    <a:pt x="264" y="314"/>
                  </a:lnTo>
                  <a:lnTo>
                    <a:pt x="262" y="320"/>
                  </a:lnTo>
                  <a:lnTo>
                    <a:pt x="254" y="332"/>
                  </a:lnTo>
                  <a:lnTo>
                    <a:pt x="244" y="338"/>
                  </a:lnTo>
                  <a:lnTo>
                    <a:pt x="238" y="340"/>
                  </a:lnTo>
                  <a:lnTo>
                    <a:pt x="232" y="342"/>
                  </a:lnTo>
                  <a:lnTo>
                    <a:pt x="232" y="376"/>
                  </a:lnTo>
                  <a:lnTo>
                    <a:pt x="232" y="376"/>
                  </a:lnTo>
                  <a:lnTo>
                    <a:pt x="248" y="372"/>
                  </a:lnTo>
                  <a:lnTo>
                    <a:pt x="262" y="368"/>
                  </a:lnTo>
                  <a:lnTo>
                    <a:pt x="278" y="362"/>
                  </a:lnTo>
                  <a:lnTo>
                    <a:pt x="292" y="354"/>
                  </a:lnTo>
                  <a:lnTo>
                    <a:pt x="306" y="346"/>
                  </a:lnTo>
                  <a:lnTo>
                    <a:pt x="318" y="336"/>
                  </a:lnTo>
                  <a:lnTo>
                    <a:pt x="340" y="316"/>
                  </a:lnTo>
                  <a:lnTo>
                    <a:pt x="338" y="260"/>
                  </a:lnTo>
                  <a:lnTo>
                    <a:pt x="338" y="192"/>
                  </a:lnTo>
                  <a:lnTo>
                    <a:pt x="350" y="192"/>
                  </a:lnTo>
                  <a:lnTo>
                    <a:pt x="350" y="192"/>
                  </a:lnTo>
                  <a:lnTo>
                    <a:pt x="354" y="192"/>
                  </a:lnTo>
                  <a:lnTo>
                    <a:pt x="366" y="284"/>
                  </a:lnTo>
                  <a:lnTo>
                    <a:pt x="366" y="284"/>
                  </a:lnTo>
                  <a:lnTo>
                    <a:pt x="376" y="264"/>
                  </a:lnTo>
                  <a:lnTo>
                    <a:pt x="384" y="244"/>
                  </a:lnTo>
                  <a:lnTo>
                    <a:pt x="390" y="222"/>
                  </a:lnTo>
                  <a:lnTo>
                    <a:pt x="394" y="198"/>
                  </a:lnTo>
                  <a:lnTo>
                    <a:pt x="394" y="198"/>
                  </a:lnTo>
                  <a:lnTo>
                    <a:pt x="390" y="154"/>
                  </a:lnTo>
                  <a:lnTo>
                    <a:pt x="390" y="154"/>
                  </a:lnTo>
                  <a:close/>
                  <a:moveTo>
                    <a:pt x="192" y="380"/>
                  </a:moveTo>
                  <a:lnTo>
                    <a:pt x="192" y="380"/>
                  </a:lnTo>
                  <a:lnTo>
                    <a:pt x="212" y="380"/>
                  </a:lnTo>
                  <a:lnTo>
                    <a:pt x="212" y="322"/>
                  </a:lnTo>
                  <a:lnTo>
                    <a:pt x="230" y="322"/>
                  </a:lnTo>
                  <a:lnTo>
                    <a:pt x="230" y="322"/>
                  </a:lnTo>
                  <a:lnTo>
                    <a:pt x="236" y="320"/>
                  </a:lnTo>
                  <a:lnTo>
                    <a:pt x="240" y="318"/>
                  </a:lnTo>
                  <a:lnTo>
                    <a:pt x="242" y="314"/>
                  </a:lnTo>
                  <a:lnTo>
                    <a:pt x="244" y="308"/>
                  </a:lnTo>
                  <a:lnTo>
                    <a:pt x="244" y="232"/>
                  </a:lnTo>
                  <a:lnTo>
                    <a:pt x="244" y="232"/>
                  </a:lnTo>
                  <a:lnTo>
                    <a:pt x="242" y="226"/>
                  </a:lnTo>
                  <a:lnTo>
                    <a:pt x="240" y="222"/>
                  </a:lnTo>
                  <a:lnTo>
                    <a:pt x="236" y="218"/>
                  </a:lnTo>
                  <a:lnTo>
                    <a:pt x="230" y="218"/>
                  </a:lnTo>
                  <a:lnTo>
                    <a:pt x="154" y="218"/>
                  </a:lnTo>
                  <a:lnTo>
                    <a:pt x="154" y="218"/>
                  </a:lnTo>
                  <a:lnTo>
                    <a:pt x="148" y="218"/>
                  </a:lnTo>
                  <a:lnTo>
                    <a:pt x="144" y="222"/>
                  </a:lnTo>
                  <a:lnTo>
                    <a:pt x="142" y="226"/>
                  </a:lnTo>
                  <a:lnTo>
                    <a:pt x="140" y="232"/>
                  </a:lnTo>
                  <a:lnTo>
                    <a:pt x="140" y="308"/>
                  </a:lnTo>
                  <a:lnTo>
                    <a:pt x="140" y="308"/>
                  </a:lnTo>
                  <a:lnTo>
                    <a:pt x="142" y="314"/>
                  </a:lnTo>
                  <a:lnTo>
                    <a:pt x="144" y="318"/>
                  </a:lnTo>
                  <a:lnTo>
                    <a:pt x="148" y="320"/>
                  </a:lnTo>
                  <a:lnTo>
                    <a:pt x="154" y="322"/>
                  </a:lnTo>
                  <a:lnTo>
                    <a:pt x="172" y="322"/>
                  </a:lnTo>
                  <a:lnTo>
                    <a:pt x="172" y="380"/>
                  </a:lnTo>
                  <a:lnTo>
                    <a:pt x="172" y="380"/>
                  </a:lnTo>
                  <a:lnTo>
                    <a:pt x="192" y="380"/>
                  </a:lnTo>
                  <a:lnTo>
                    <a:pt x="192" y="380"/>
                  </a:lnTo>
                  <a:close/>
                  <a:moveTo>
                    <a:pt x="238" y="46"/>
                  </a:moveTo>
                  <a:lnTo>
                    <a:pt x="238" y="46"/>
                  </a:lnTo>
                  <a:lnTo>
                    <a:pt x="238" y="56"/>
                  </a:lnTo>
                  <a:lnTo>
                    <a:pt x="242" y="64"/>
                  </a:lnTo>
                  <a:lnTo>
                    <a:pt x="246" y="72"/>
                  </a:lnTo>
                  <a:lnTo>
                    <a:pt x="250" y="78"/>
                  </a:lnTo>
                  <a:lnTo>
                    <a:pt x="258" y="84"/>
                  </a:lnTo>
                  <a:lnTo>
                    <a:pt x="266" y="88"/>
                  </a:lnTo>
                  <a:lnTo>
                    <a:pt x="274" y="92"/>
                  </a:lnTo>
                  <a:lnTo>
                    <a:pt x="284" y="92"/>
                  </a:lnTo>
                  <a:lnTo>
                    <a:pt x="284" y="92"/>
                  </a:lnTo>
                  <a:lnTo>
                    <a:pt x="292" y="92"/>
                  </a:lnTo>
                  <a:lnTo>
                    <a:pt x="302" y="88"/>
                  </a:lnTo>
                  <a:lnTo>
                    <a:pt x="308" y="84"/>
                  </a:lnTo>
                  <a:lnTo>
                    <a:pt x="316" y="78"/>
                  </a:lnTo>
                  <a:lnTo>
                    <a:pt x="322" y="72"/>
                  </a:lnTo>
                  <a:lnTo>
                    <a:pt x="326" y="64"/>
                  </a:lnTo>
                  <a:lnTo>
                    <a:pt x="328" y="56"/>
                  </a:lnTo>
                  <a:lnTo>
                    <a:pt x="330" y="46"/>
                  </a:lnTo>
                  <a:lnTo>
                    <a:pt x="330" y="46"/>
                  </a:lnTo>
                  <a:lnTo>
                    <a:pt x="328" y="36"/>
                  </a:lnTo>
                  <a:lnTo>
                    <a:pt x="324" y="28"/>
                  </a:lnTo>
                  <a:lnTo>
                    <a:pt x="320" y="20"/>
                  </a:lnTo>
                  <a:lnTo>
                    <a:pt x="314" y="12"/>
                  </a:lnTo>
                  <a:lnTo>
                    <a:pt x="314" y="12"/>
                  </a:lnTo>
                  <a:lnTo>
                    <a:pt x="306" y="6"/>
                  </a:lnTo>
                  <a:lnTo>
                    <a:pt x="306" y="6"/>
                  </a:lnTo>
                  <a:lnTo>
                    <a:pt x="294" y="2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274" y="2"/>
                  </a:lnTo>
                  <a:lnTo>
                    <a:pt x="266" y="4"/>
                  </a:lnTo>
                  <a:lnTo>
                    <a:pt x="258" y="8"/>
                  </a:lnTo>
                  <a:lnTo>
                    <a:pt x="250" y="14"/>
                  </a:lnTo>
                  <a:lnTo>
                    <a:pt x="246" y="20"/>
                  </a:lnTo>
                  <a:lnTo>
                    <a:pt x="242" y="28"/>
                  </a:lnTo>
                  <a:lnTo>
                    <a:pt x="238" y="38"/>
                  </a:lnTo>
                  <a:lnTo>
                    <a:pt x="238" y="46"/>
                  </a:lnTo>
                  <a:lnTo>
                    <a:pt x="238" y="46"/>
                  </a:lnTo>
                  <a:close/>
                  <a:moveTo>
                    <a:pt x="192" y="204"/>
                  </a:moveTo>
                  <a:lnTo>
                    <a:pt x="192" y="204"/>
                  </a:lnTo>
                  <a:lnTo>
                    <a:pt x="198" y="204"/>
                  </a:lnTo>
                  <a:lnTo>
                    <a:pt x="204" y="202"/>
                  </a:lnTo>
                  <a:lnTo>
                    <a:pt x="214" y="196"/>
                  </a:lnTo>
                  <a:lnTo>
                    <a:pt x="220" y="186"/>
                  </a:lnTo>
                  <a:lnTo>
                    <a:pt x="222" y="180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2" y="168"/>
                  </a:lnTo>
                  <a:lnTo>
                    <a:pt x="220" y="162"/>
                  </a:lnTo>
                  <a:lnTo>
                    <a:pt x="214" y="152"/>
                  </a:lnTo>
                  <a:lnTo>
                    <a:pt x="204" y="146"/>
                  </a:lnTo>
                  <a:lnTo>
                    <a:pt x="198" y="144"/>
                  </a:lnTo>
                  <a:lnTo>
                    <a:pt x="192" y="142"/>
                  </a:lnTo>
                  <a:lnTo>
                    <a:pt x="192" y="142"/>
                  </a:lnTo>
                  <a:lnTo>
                    <a:pt x="186" y="144"/>
                  </a:lnTo>
                  <a:lnTo>
                    <a:pt x="180" y="146"/>
                  </a:lnTo>
                  <a:lnTo>
                    <a:pt x="170" y="152"/>
                  </a:lnTo>
                  <a:lnTo>
                    <a:pt x="164" y="162"/>
                  </a:lnTo>
                  <a:lnTo>
                    <a:pt x="162" y="168"/>
                  </a:lnTo>
                  <a:lnTo>
                    <a:pt x="162" y="174"/>
                  </a:lnTo>
                  <a:lnTo>
                    <a:pt x="162" y="174"/>
                  </a:lnTo>
                  <a:lnTo>
                    <a:pt x="162" y="180"/>
                  </a:lnTo>
                  <a:lnTo>
                    <a:pt x="164" y="186"/>
                  </a:lnTo>
                  <a:lnTo>
                    <a:pt x="170" y="196"/>
                  </a:lnTo>
                  <a:lnTo>
                    <a:pt x="180" y="202"/>
                  </a:lnTo>
                  <a:lnTo>
                    <a:pt x="186" y="204"/>
                  </a:lnTo>
                  <a:lnTo>
                    <a:pt x="192" y="204"/>
                  </a:lnTo>
                  <a:lnTo>
                    <a:pt x="192" y="20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0" name="Freeform 49"/>
          <p:cNvSpPr/>
          <p:nvPr/>
        </p:nvSpPr>
        <p:spPr>
          <a:xfrm>
            <a:off x="8771212" y="2167752"/>
            <a:ext cx="6840001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ct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dre folkehelse</a:t>
            </a:r>
          </a:p>
        </p:txBody>
      </p:sp>
      <p:sp>
        <p:nvSpPr>
          <p:cNvPr id="55" name="Oval 54"/>
          <p:cNvSpPr/>
          <p:nvPr/>
        </p:nvSpPr>
        <p:spPr bwMode="ltGray">
          <a:xfrm>
            <a:off x="11651208" y="2867423"/>
            <a:ext cx="1080000" cy="1080000"/>
          </a:xfrm>
          <a:prstGeom prst="ellipse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3" tIns="45712" rIns="91423" bIns="45712" rtlCol="0" anchor="ctr"/>
          <a:lstStyle/>
          <a:p>
            <a:pPr marL="0" marR="0" lvl="0" indent="0" algn="ct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 dirty="0" err="1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Georgia" pitchFamily="18" charset="0"/>
              <a:ea typeface="+mn-ea"/>
              <a:cs typeface="+mn-cs"/>
            </a:endParaRPr>
          </a:p>
        </p:txBody>
      </p:sp>
      <p:sp>
        <p:nvSpPr>
          <p:cNvPr id="72" name="Freeform 4816"/>
          <p:cNvSpPr>
            <a:spLocks noEditPoints="1"/>
          </p:cNvSpPr>
          <p:nvPr/>
        </p:nvSpPr>
        <p:spPr bwMode="auto">
          <a:xfrm>
            <a:off x="11784593" y="3110492"/>
            <a:ext cx="813227" cy="685902"/>
          </a:xfrm>
          <a:custGeom>
            <a:avLst/>
            <a:gdLst>
              <a:gd name="T0" fmla="*/ 294 w 396"/>
              <a:gd name="T1" fmla="*/ 80 h 342"/>
              <a:gd name="T2" fmla="*/ 206 w 396"/>
              <a:gd name="T3" fmla="*/ 196 h 342"/>
              <a:gd name="T4" fmla="*/ 190 w 396"/>
              <a:gd name="T5" fmla="*/ 196 h 342"/>
              <a:gd name="T6" fmla="*/ 102 w 396"/>
              <a:gd name="T7" fmla="*/ 80 h 342"/>
              <a:gd name="T8" fmla="*/ 98 w 396"/>
              <a:gd name="T9" fmla="*/ 44 h 342"/>
              <a:gd name="T10" fmla="*/ 130 w 396"/>
              <a:gd name="T11" fmla="*/ 4 h 342"/>
              <a:gd name="T12" fmla="*/ 178 w 396"/>
              <a:gd name="T13" fmla="*/ 6 h 342"/>
              <a:gd name="T14" fmla="*/ 218 w 396"/>
              <a:gd name="T15" fmla="*/ 6 h 342"/>
              <a:gd name="T16" fmla="*/ 266 w 396"/>
              <a:gd name="T17" fmla="*/ 4 h 342"/>
              <a:gd name="T18" fmla="*/ 298 w 396"/>
              <a:gd name="T19" fmla="*/ 44 h 342"/>
              <a:gd name="T20" fmla="*/ 348 w 396"/>
              <a:gd name="T21" fmla="*/ 106 h 342"/>
              <a:gd name="T22" fmla="*/ 368 w 396"/>
              <a:gd name="T23" fmla="*/ 82 h 342"/>
              <a:gd name="T24" fmla="*/ 344 w 396"/>
              <a:gd name="T25" fmla="*/ 76 h 342"/>
              <a:gd name="T26" fmla="*/ 330 w 396"/>
              <a:gd name="T27" fmla="*/ 152 h 342"/>
              <a:gd name="T28" fmla="*/ 376 w 396"/>
              <a:gd name="T29" fmla="*/ 96 h 342"/>
              <a:gd name="T30" fmla="*/ 356 w 396"/>
              <a:gd name="T31" fmla="*/ 160 h 342"/>
              <a:gd name="T32" fmla="*/ 362 w 396"/>
              <a:gd name="T33" fmla="*/ 172 h 342"/>
              <a:gd name="T34" fmla="*/ 362 w 396"/>
              <a:gd name="T35" fmla="*/ 196 h 342"/>
              <a:gd name="T36" fmla="*/ 310 w 396"/>
              <a:gd name="T37" fmla="*/ 234 h 342"/>
              <a:gd name="T38" fmla="*/ 352 w 396"/>
              <a:gd name="T39" fmla="*/ 176 h 342"/>
              <a:gd name="T40" fmla="*/ 326 w 396"/>
              <a:gd name="T41" fmla="*/ 166 h 342"/>
              <a:gd name="T42" fmla="*/ 248 w 396"/>
              <a:gd name="T43" fmla="*/ 208 h 342"/>
              <a:gd name="T44" fmla="*/ 210 w 396"/>
              <a:gd name="T45" fmla="*/ 242 h 342"/>
              <a:gd name="T46" fmla="*/ 214 w 396"/>
              <a:gd name="T47" fmla="*/ 294 h 342"/>
              <a:gd name="T48" fmla="*/ 272 w 396"/>
              <a:gd name="T49" fmla="*/ 332 h 342"/>
              <a:gd name="T50" fmla="*/ 304 w 396"/>
              <a:gd name="T51" fmla="*/ 300 h 342"/>
              <a:gd name="T52" fmla="*/ 396 w 396"/>
              <a:gd name="T53" fmla="*/ 118 h 342"/>
              <a:gd name="T54" fmla="*/ 376 w 396"/>
              <a:gd name="T55" fmla="*/ 96 h 342"/>
              <a:gd name="T56" fmla="*/ 316 w 396"/>
              <a:gd name="T57" fmla="*/ 102 h 342"/>
              <a:gd name="T58" fmla="*/ 310 w 396"/>
              <a:gd name="T59" fmla="*/ 160 h 342"/>
              <a:gd name="T60" fmla="*/ 50 w 396"/>
              <a:gd name="T61" fmla="*/ 154 h 342"/>
              <a:gd name="T62" fmla="*/ 66 w 396"/>
              <a:gd name="T63" fmla="*/ 94 h 342"/>
              <a:gd name="T64" fmla="*/ 44 w 396"/>
              <a:gd name="T65" fmla="*/ 74 h 342"/>
              <a:gd name="T66" fmla="*/ 26 w 396"/>
              <a:gd name="T67" fmla="*/ 88 h 342"/>
              <a:gd name="T68" fmla="*/ 50 w 396"/>
              <a:gd name="T69" fmla="*/ 154 h 342"/>
              <a:gd name="T70" fmla="*/ 6 w 396"/>
              <a:gd name="T71" fmla="*/ 214 h 342"/>
              <a:gd name="T72" fmla="*/ 98 w 396"/>
              <a:gd name="T73" fmla="*/ 306 h 342"/>
              <a:gd name="T74" fmla="*/ 174 w 396"/>
              <a:gd name="T75" fmla="*/ 304 h 342"/>
              <a:gd name="T76" fmla="*/ 190 w 396"/>
              <a:gd name="T77" fmla="*/ 264 h 342"/>
              <a:gd name="T78" fmla="*/ 174 w 396"/>
              <a:gd name="T79" fmla="*/ 224 h 342"/>
              <a:gd name="T80" fmla="*/ 78 w 396"/>
              <a:gd name="T81" fmla="*/ 170 h 342"/>
              <a:gd name="T82" fmla="*/ 48 w 396"/>
              <a:gd name="T83" fmla="*/ 170 h 342"/>
              <a:gd name="T84" fmla="*/ 48 w 396"/>
              <a:gd name="T85" fmla="*/ 198 h 342"/>
              <a:gd name="T86" fmla="*/ 40 w 396"/>
              <a:gd name="T87" fmla="*/ 206 h 342"/>
              <a:gd name="T88" fmla="*/ 32 w 396"/>
              <a:gd name="T89" fmla="*/ 184 h 342"/>
              <a:gd name="T90" fmla="*/ 40 w 396"/>
              <a:gd name="T91" fmla="*/ 160 h 342"/>
              <a:gd name="T92" fmla="*/ 34 w 396"/>
              <a:gd name="T93" fmla="*/ 102 h 342"/>
              <a:gd name="T94" fmla="*/ 6 w 396"/>
              <a:gd name="T95" fmla="*/ 102 h 342"/>
              <a:gd name="T96" fmla="*/ 88 w 396"/>
              <a:gd name="T97" fmla="*/ 162 h 342"/>
              <a:gd name="T98" fmla="*/ 80 w 396"/>
              <a:gd name="T99" fmla="*/ 102 h 342"/>
              <a:gd name="T100" fmla="*/ 86 w 396"/>
              <a:gd name="T101" fmla="*/ 160 h 3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96" h="342">
                <a:moveTo>
                  <a:pt x="300" y="56"/>
                </a:moveTo>
                <a:lnTo>
                  <a:pt x="300" y="56"/>
                </a:lnTo>
                <a:lnTo>
                  <a:pt x="298" y="64"/>
                </a:lnTo>
                <a:lnTo>
                  <a:pt x="296" y="72"/>
                </a:lnTo>
                <a:lnTo>
                  <a:pt x="294" y="80"/>
                </a:lnTo>
                <a:lnTo>
                  <a:pt x="288" y="88"/>
                </a:lnTo>
                <a:lnTo>
                  <a:pt x="288" y="88"/>
                </a:lnTo>
                <a:lnTo>
                  <a:pt x="288" y="90"/>
                </a:lnTo>
                <a:lnTo>
                  <a:pt x="206" y="196"/>
                </a:lnTo>
                <a:lnTo>
                  <a:pt x="206" y="196"/>
                </a:lnTo>
                <a:lnTo>
                  <a:pt x="202" y="198"/>
                </a:lnTo>
                <a:lnTo>
                  <a:pt x="198" y="200"/>
                </a:lnTo>
                <a:lnTo>
                  <a:pt x="198" y="200"/>
                </a:lnTo>
                <a:lnTo>
                  <a:pt x="194" y="198"/>
                </a:lnTo>
                <a:lnTo>
                  <a:pt x="190" y="196"/>
                </a:lnTo>
                <a:lnTo>
                  <a:pt x="108" y="90"/>
                </a:lnTo>
                <a:lnTo>
                  <a:pt x="108" y="90"/>
                </a:lnTo>
                <a:lnTo>
                  <a:pt x="108" y="88"/>
                </a:lnTo>
                <a:lnTo>
                  <a:pt x="108" y="88"/>
                </a:lnTo>
                <a:lnTo>
                  <a:pt x="102" y="80"/>
                </a:lnTo>
                <a:lnTo>
                  <a:pt x="100" y="72"/>
                </a:lnTo>
                <a:lnTo>
                  <a:pt x="98" y="64"/>
                </a:lnTo>
                <a:lnTo>
                  <a:pt x="96" y="56"/>
                </a:lnTo>
                <a:lnTo>
                  <a:pt x="96" y="56"/>
                </a:lnTo>
                <a:lnTo>
                  <a:pt x="98" y="44"/>
                </a:lnTo>
                <a:lnTo>
                  <a:pt x="102" y="34"/>
                </a:lnTo>
                <a:lnTo>
                  <a:pt x="106" y="24"/>
                </a:lnTo>
                <a:lnTo>
                  <a:pt x="114" y="16"/>
                </a:lnTo>
                <a:lnTo>
                  <a:pt x="122" y="10"/>
                </a:lnTo>
                <a:lnTo>
                  <a:pt x="130" y="4"/>
                </a:lnTo>
                <a:lnTo>
                  <a:pt x="142" y="2"/>
                </a:lnTo>
                <a:lnTo>
                  <a:pt x="152" y="0"/>
                </a:lnTo>
                <a:lnTo>
                  <a:pt x="152" y="0"/>
                </a:lnTo>
                <a:lnTo>
                  <a:pt x="166" y="2"/>
                </a:lnTo>
                <a:lnTo>
                  <a:pt x="178" y="6"/>
                </a:lnTo>
                <a:lnTo>
                  <a:pt x="190" y="14"/>
                </a:lnTo>
                <a:lnTo>
                  <a:pt x="198" y="24"/>
                </a:lnTo>
                <a:lnTo>
                  <a:pt x="198" y="24"/>
                </a:lnTo>
                <a:lnTo>
                  <a:pt x="206" y="14"/>
                </a:lnTo>
                <a:lnTo>
                  <a:pt x="218" y="6"/>
                </a:lnTo>
                <a:lnTo>
                  <a:pt x="230" y="2"/>
                </a:lnTo>
                <a:lnTo>
                  <a:pt x="244" y="0"/>
                </a:lnTo>
                <a:lnTo>
                  <a:pt x="244" y="0"/>
                </a:lnTo>
                <a:lnTo>
                  <a:pt x="254" y="2"/>
                </a:lnTo>
                <a:lnTo>
                  <a:pt x="266" y="4"/>
                </a:lnTo>
                <a:lnTo>
                  <a:pt x="274" y="10"/>
                </a:lnTo>
                <a:lnTo>
                  <a:pt x="282" y="16"/>
                </a:lnTo>
                <a:lnTo>
                  <a:pt x="290" y="24"/>
                </a:lnTo>
                <a:lnTo>
                  <a:pt x="294" y="34"/>
                </a:lnTo>
                <a:lnTo>
                  <a:pt x="298" y="44"/>
                </a:lnTo>
                <a:lnTo>
                  <a:pt x="300" y="56"/>
                </a:lnTo>
                <a:lnTo>
                  <a:pt x="300" y="56"/>
                </a:lnTo>
                <a:close/>
                <a:moveTo>
                  <a:pt x="346" y="118"/>
                </a:moveTo>
                <a:lnTo>
                  <a:pt x="346" y="118"/>
                </a:lnTo>
                <a:lnTo>
                  <a:pt x="348" y="106"/>
                </a:lnTo>
                <a:lnTo>
                  <a:pt x="352" y="98"/>
                </a:lnTo>
                <a:lnTo>
                  <a:pt x="360" y="90"/>
                </a:lnTo>
                <a:lnTo>
                  <a:pt x="370" y="88"/>
                </a:lnTo>
                <a:lnTo>
                  <a:pt x="370" y="88"/>
                </a:lnTo>
                <a:lnTo>
                  <a:pt x="368" y="82"/>
                </a:lnTo>
                <a:lnTo>
                  <a:pt x="364" y="78"/>
                </a:lnTo>
                <a:lnTo>
                  <a:pt x="358" y="74"/>
                </a:lnTo>
                <a:lnTo>
                  <a:pt x="352" y="74"/>
                </a:lnTo>
                <a:lnTo>
                  <a:pt x="352" y="74"/>
                </a:lnTo>
                <a:lnTo>
                  <a:pt x="344" y="76"/>
                </a:lnTo>
                <a:lnTo>
                  <a:pt x="336" y="80"/>
                </a:lnTo>
                <a:lnTo>
                  <a:pt x="332" y="86"/>
                </a:lnTo>
                <a:lnTo>
                  <a:pt x="330" y="94"/>
                </a:lnTo>
                <a:lnTo>
                  <a:pt x="330" y="152"/>
                </a:lnTo>
                <a:lnTo>
                  <a:pt x="330" y="152"/>
                </a:lnTo>
                <a:lnTo>
                  <a:pt x="338" y="152"/>
                </a:lnTo>
                <a:lnTo>
                  <a:pt x="346" y="154"/>
                </a:lnTo>
                <a:lnTo>
                  <a:pt x="346" y="118"/>
                </a:lnTo>
                <a:close/>
                <a:moveTo>
                  <a:pt x="376" y="96"/>
                </a:moveTo>
                <a:lnTo>
                  <a:pt x="376" y="96"/>
                </a:lnTo>
                <a:lnTo>
                  <a:pt x="368" y="98"/>
                </a:lnTo>
                <a:lnTo>
                  <a:pt x="362" y="102"/>
                </a:lnTo>
                <a:lnTo>
                  <a:pt x="356" y="110"/>
                </a:lnTo>
                <a:lnTo>
                  <a:pt x="356" y="118"/>
                </a:lnTo>
                <a:lnTo>
                  <a:pt x="356" y="160"/>
                </a:lnTo>
                <a:lnTo>
                  <a:pt x="356" y="160"/>
                </a:lnTo>
                <a:lnTo>
                  <a:pt x="356" y="160"/>
                </a:lnTo>
                <a:lnTo>
                  <a:pt x="356" y="160"/>
                </a:lnTo>
                <a:lnTo>
                  <a:pt x="360" y="166"/>
                </a:lnTo>
                <a:lnTo>
                  <a:pt x="362" y="172"/>
                </a:lnTo>
                <a:lnTo>
                  <a:pt x="364" y="178"/>
                </a:lnTo>
                <a:lnTo>
                  <a:pt x="364" y="184"/>
                </a:lnTo>
                <a:lnTo>
                  <a:pt x="364" y="184"/>
                </a:lnTo>
                <a:lnTo>
                  <a:pt x="364" y="190"/>
                </a:lnTo>
                <a:lnTo>
                  <a:pt x="362" y="196"/>
                </a:lnTo>
                <a:lnTo>
                  <a:pt x="360" y="202"/>
                </a:lnTo>
                <a:lnTo>
                  <a:pt x="356" y="206"/>
                </a:lnTo>
                <a:lnTo>
                  <a:pt x="316" y="246"/>
                </a:lnTo>
                <a:lnTo>
                  <a:pt x="316" y="246"/>
                </a:lnTo>
                <a:lnTo>
                  <a:pt x="310" y="234"/>
                </a:lnTo>
                <a:lnTo>
                  <a:pt x="348" y="198"/>
                </a:lnTo>
                <a:lnTo>
                  <a:pt x="348" y="198"/>
                </a:lnTo>
                <a:lnTo>
                  <a:pt x="352" y="192"/>
                </a:lnTo>
                <a:lnTo>
                  <a:pt x="352" y="184"/>
                </a:lnTo>
                <a:lnTo>
                  <a:pt x="352" y="176"/>
                </a:lnTo>
                <a:lnTo>
                  <a:pt x="348" y="170"/>
                </a:lnTo>
                <a:lnTo>
                  <a:pt x="348" y="170"/>
                </a:lnTo>
                <a:lnTo>
                  <a:pt x="340" y="166"/>
                </a:lnTo>
                <a:lnTo>
                  <a:pt x="332" y="164"/>
                </a:lnTo>
                <a:lnTo>
                  <a:pt x="326" y="166"/>
                </a:lnTo>
                <a:lnTo>
                  <a:pt x="318" y="170"/>
                </a:lnTo>
                <a:lnTo>
                  <a:pt x="278" y="210"/>
                </a:lnTo>
                <a:lnTo>
                  <a:pt x="278" y="210"/>
                </a:lnTo>
                <a:lnTo>
                  <a:pt x="264" y="208"/>
                </a:lnTo>
                <a:lnTo>
                  <a:pt x="248" y="208"/>
                </a:lnTo>
                <a:lnTo>
                  <a:pt x="234" y="214"/>
                </a:lnTo>
                <a:lnTo>
                  <a:pt x="222" y="224"/>
                </a:lnTo>
                <a:lnTo>
                  <a:pt x="222" y="224"/>
                </a:lnTo>
                <a:lnTo>
                  <a:pt x="214" y="232"/>
                </a:lnTo>
                <a:lnTo>
                  <a:pt x="210" y="242"/>
                </a:lnTo>
                <a:lnTo>
                  <a:pt x="206" y="252"/>
                </a:lnTo>
                <a:lnTo>
                  <a:pt x="206" y="264"/>
                </a:lnTo>
                <a:lnTo>
                  <a:pt x="206" y="274"/>
                </a:lnTo>
                <a:lnTo>
                  <a:pt x="210" y="284"/>
                </a:lnTo>
                <a:lnTo>
                  <a:pt x="214" y="294"/>
                </a:lnTo>
                <a:lnTo>
                  <a:pt x="222" y="304"/>
                </a:lnTo>
                <a:lnTo>
                  <a:pt x="222" y="304"/>
                </a:lnTo>
                <a:lnTo>
                  <a:pt x="262" y="342"/>
                </a:lnTo>
                <a:lnTo>
                  <a:pt x="272" y="332"/>
                </a:lnTo>
                <a:lnTo>
                  <a:pt x="272" y="332"/>
                </a:lnTo>
                <a:lnTo>
                  <a:pt x="298" y="306"/>
                </a:lnTo>
                <a:lnTo>
                  <a:pt x="298" y="306"/>
                </a:lnTo>
                <a:lnTo>
                  <a:pt x="302" y="304"/>
                </a:lnTo>
                <a:lnTo>
                  <a:pt x="302" y="304"/>
                </a:lnTo>
                <a:lnTo>
                  <a:pt x="304" y="300"/>
                </a:lnTo>
                <a:lnTo>
                  <a:pt x="390" y="214"/>
                </a:lnTo>
                <a:lnTo>
                  <a:pt x="390" y="214"/>
                </a:lnTo>
                <a:lnTo>
                  <a:pt x="394" y="208"/>
                </a:lnTo>
                <a:lnTo>
                  <a:pt x="396" y="200"/>
                </a:lnTo>
                <a:lnTo>
                  <a:pt x="396" y="118"/>
                </a:lnTo>
                <a:lnTo>
                  <a:pt x="396" y="118"/>
                </a:lnTo>
                <a:lnTo>
                  <a:pt x="394" y="110"/>
                </a:lnTo>
                <a:lnTo>
                  <a:pt x="390" y="102"/>
                </a:lnTo>
                <a:lnTo>
                  <a:pt x="384" y="98"/>
                </a:lnTo>
                <a:lnTo>
                  <a:pt x="376" y="96"/>
                </a:lnTo>
                <a:lnTo>
                  <a:pt x="376" y="96"/>
                </a:lnTo>
                <a:close/>
                <a:moveTo>
                  <a:pt x="320" y="154"/>
                </a:moveTo>
                <a:lnTo>
                  <a:pt x="320" y="98"/>
                </a:lnTo>
                <a:lnTo>
                  <a:pt x="320" y="98"/>
                </a:lnTo>
                <a:lnTo>
                  <a:pt x="316" y="102"/>
                </a:lnTo>
                <a:lnTo>
                  <a:pt x="312" y="106"/>
                </a:lnTo>
                <a:lnTo>
                  <a:pt x="310" y="112"/>
                </a:lnTo>
                <a:lnTo>
                  <a:pt x="308" y="118"/>
                </a:lnTo>
                <a:lnTo>
                  <a:pt x="308" y="162"/>
                </a:lnTo>
                <a:lnTo>
                  <a:pt x="310" y="160"/>
                </a:lnTo>
                <a:lnTo>
                  <a:pt x="310" y="160"/>
                </a:lnTo>
                <a:lnTo>
                  <a:pt x="316" y="156"/>
                </a:lnTo>
                <a:lnTo>
                  <a:pt x="320" y="154"/>
                </a:lnTo>
                <a:lnTo>
                  <a:pt x="320" y="154"/>
                </a:lnTo>
                <a:close/>
                <a:moveTo>
                  <a:pt x="50" y="154"/>
                </a:moveTo>
                <a:lnTo>
                  <a:pt x="50" y="154"/>
                </a:lnTo>
                <a:lnTo>
                  <a:pt x="58" y="152"/>
                </a:lnTo>
                <a:lnTo>
                  <a:pt x="66" y="152"/>
                </a:lnTo>
                <a:lnTo>
                  <a:pt x="66" y="94"/>
                </a:lnTo>
                <a:lnTo>
                  <a:pt x="66" y="94"/>
                </a:lnTo>
                <a:lnTo>
                  <a:pt x="64" y="86"/>
                </a:lnTo>
                <a:lnTo>
                  <a:pt x="60" y="80"/>
                </a:lnTo>
                <a:lnTo>
                  <a:pt x="52" y="76"/>
                </a:lnTo>
                <a:lnTo>
                  <a:pt x="44" y="74"/>
                </a:lnTo>
                <a:lnTo>
                  <a:pt x="44" y="74"/>
                </a:lnTo>
                <a:lnTo>
                  <a:pt x="38" y="74"/>
                </a:lnTo>
                <a:lnTo>
                  <a:pt x="32" y="78"/>
                </a:lnTo>
                <a:lnTo>
                  <a:pt x="28" y="82"/>
                </a:lnTo>
                <a:lnTo>
                  <a:pt x="26" y="88"/>
                </a:lnTo>
                <a:lnTo>
                  <a:pt x="26" y="88"/>
                </a:lnTo>
                <a:lnTo>
                  <a:pt x="36" y="90"/>
                </a:lnTo>
                <a:lnTo>
                  <a:pt x="44" y="98"/>
                </a:lnTo>
                <a:lnTo>
                  <a:pt x="48" y="106"/>
                </a:lnTo>
                <a:lnTo>
                  <a:pt x="50" y="118"/>
                </a:lnTo>
                <a:lnTo>
                  <a:pt x="50" y="154"/>
                </a:lnTo>
                <a:close/>
                <a:moveTo>
                  <a:pt x="0" y="118"/>
                </a:moveTo>
                <a:lnTo>
                  <a:pt x="0" y="200"/>
                </a:lnTo>
                <a:lnTo>
                  <a:pt x="0" y="200"/>
                </a:lnTo>
                <a:lnTo>
                  <a:pt x="2" y="208"/>
                </a:lnTo>
                <a:lnTo>
                  <a:pt x="6" y="214"/>
                </a:lnTo>
                <a:lnTo>
                  <a:pt x="92" y="300"/>
                </a:lnTo>
                <a:lnTo>
                  <a:pt x="92" y="300"/>
                </a:lnTo>
                <a:lnTo>
                  <a:pt x="94" y="304"/>
                </a:lnTo>
                <a:lnTo>
                  <a:pt x="94" y="304"/>
                </a:lnTo>
                <a:lnTo>
                  <a:pt x="98" y="306"/>
                </a:lnTo>
                <a:lnTo>
                  <a:pt x="124" y="332"/>
                </a:lnTo>
                <a:lnTo>
                  <a:pt x="124" y="332"/>
                </a:lnTo>
                <a:lnTo>
                  <a:pt x="134" y="342"/>
                </a:lnTo>
                <a:lnTo>
                  <a:pt x="174" y="304"/>
                </a:lnTo>
                <a:lnTo>
                  <a:pt x="174" y="304"/>
                </a:lnTo>
                <a:lnTo>
                  <a:pt x="174" y="304"/>
                </a:lnTo>
                <a:lnTo>
                  <a:pt x="182" y="294"/>
                </a:lnTo>
                <a:lnTo>
                  <a:pt x="186" y="284"/>
                </a:lnTo>
                <a:lnTo>
                  <a:pt x="190" y="274"/>
                </a:lnTo>
                <a:lnTo>
                  <a:pt x="190" y="264"/>
                </a:lnTo>
                <a:lnTo>
                  <a:pt x="190" y="252"/>
                </a:lnTo>
                <a:lnTo>
                  <a:pt x="186" y="242"/>
                </a:lnTo>
                <a:lnTo>
                  <a:pt x="182" y="232"/>
                </a:lnTo>
                <a:lnTo>
                  <a:pt x="174" y="224"/>
                </a:lnTo>
                <a:lnTo>
                  <a:pt x="174" y="224"/>
                </a:lnTo>
                <a:lnTo>
                  <a:pt x="162" y="214"/>
                </a:lnTo>
                <a:lnTo>
                  <a:pt x="148" y="208"/>
                </a:lnTo>
                <a:lnTo>
                  <a:pt x="132" y="208"/>
                </a:lnTo>
                <a:lnTo>
                  <a:pt x="118" y="210"/>
                </a:lnTo>
                <a:lnTo>
                  <a:pt x="78" y="170"/>
                </a:lnTo>
                <a:lnTo>
                  <a:pt x="78" y="170"/>
                </a:lnTo>
                <a:lnTo>
                  <a:pt x="70" y="166"/>
                </a:lnTo>
                <a:lnTo>
                  <a:pt x="64" y="164"/>
                </a:lnTo>
                <a:lnTo>
                  <a:pt x="56" y="166"/>
                </a:lnTo>
                <a:lnTo>
                  <a:pt x="48" y="170"/>
                </a:lnTo>
                <a:lnTo>
                  <a:pt x="48" y="170"/>
                </a:lnTo>
                <a:lnTo>
                  <a:pt x="44" y="176"/>
                </a:lnTo>
                <a:lnTo>
                  <a:pt x="44" y="184"/>
                </a:lnTo>
                <a:lnTo>
                  <a:pt x="44" y="192"/>
                </a:lnTo>
                <a:lnTo>
                  <a:pt x="48" y="198"/>
                </a:lnTo>
                <a:lnTo>
                  <a:pt x="86" y="234"/>
                </a:lnTo>
                <a:lnTo>
                  <a:pt x="86" y="234"/>
                </a:lnTo>
                <a:lnTo>
                  <a:pt x="80" y="246"/>
                </a:lnTo>
                <a:lnTo>
                  <a:pt x="40" y="206"/>
                </a:lnTo>
                <a:lnTo>
                  <a:pt x="40" y="206"/>
                </a:lnTo>
                <a:lnTo>
                  <a:pt x="36" y="202"/>
                </a:lnTo>
                <a:lnTo>
                  <a:pt x="34" y="196"/>
                </a:lnTo>
                <a:lnTo>
                  <a:pt x="32" y="190"/>
                </a:lnTo>
                <a:lnTo>
                  <a:pt x="32" y="184"/>
                </a:lnTo>
                <a:lnTo>
                  <a:pt x="32" y="184"/>
                </a:lnTo>
                <a:lnTo>
                  <a:pt x="32" y="178"/>
                </a:lnTo>
                <a:lnTo>
                  <a:pt x="34" y="172"/>
                </a:lnTo>
                <a:lnTo>
                  <a:pt x="36" y="166"/>
                </a:lnTo>
                <a:lnTo>
                  <a:pt x="40" y="160"/>
                </a:lnTo>
                <a:lnTo>
                  <a:pt x="40" y="160"/>
                </a:lnTo>
                <a:lnTo>
                  <a:pt x="40" y="160"/>
                </a:lnTo>
                <a:lnTo>
                  <a:pt x="40" y="118"/>
                </a:lnTo>
                <a:lnTo>
                  <a:pt x="40" y="118"/>
                </a:lnTo>
                <a:lnTo>
                  <a:pt x="40" y="110"/>
                </a:lnTo>
                <a:lnTo>
                  <a:pt x="34" y="102"/>
                </a:lnTo>
                <a:lnTo>
                  <a:pt x="28" y="98"/>
                </a:lnTo>
                <a:lnTo>
                  <a:pt x="20" y="96"/>
                </a:lnTo>
                <a:lnTo>
                  <a:pt x="20" y="96"/>
                </a:lnTo>
                <a:lnTo>
                  <a:pt x="12" y="98"/>
                </a:lnTo>
                <a:lnTo>
                  <a:pt x="6" y="102"/>
                </a:lnTo>
                <a:lnTo>
                  <a:pt x="2" y="110"/>
                </a:lnTo>
                <a:lnTo>
                  <a:pt x="0" y="118"/>
                </a:lnTo>
                <a:lnTo>
                  <a:pt x="0" y="118"/>
                </a:lnTo>
                <a:close/>
                <a:moveTo>
                  <a:pt x="86" y="160"/>
                </a:moveTo>
                <a:lnTo>
                  <a:pt x="88" y="162"/>
                </a:lnTo>
                <a:lnTo>
                  <a:pt x="88" y="118"/>
                </a:lnTo>
                <a:lnTo>
                  <a:pt x="88" y="118"/>
                </a:lnTo>
                <a:lnTo>
                  <a:pt x="86" y="112"/>
                </a:lnTo>
                <a:lnTo>
                  <a:pt x="84" y="106"/>
                </a:lnTo>
                <a:lnTo>
                  <a:pt x="80" y="102"/>
                </a:lnTo>
                <a:lnTo>
                  <a:pt x="76" y="98"/>
                </a:lnTo>
                <a:lnTo>
                  <a:pt x="76" y="154"/>
                </a:lnTo>
                <a:lnTo>
                  <a:pt x="76" y="154"/>
                </a:lnTo>
                <a:lnTo>
                  <a:pt x="80" y="156"/>
                </a:lnTo>
                <a:lnTo>
                  <a:pt x="86" y="160"/>
                </a:lnTo>
                <a:lnTo>
                  <a:pt x="86" y="16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91423" tIns="45712" rIns="91423" bIns="45712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0" i="0" u="none" strike="noStrike" kern="1200" cap="none" spc="0" normalizeH="0" baseline="0" noProof="0">
              <a:ln>
                <a:noFill/>
              </a:ln>
              <a:solidFill>
                <a:srgbClr val="281C2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Freeform 72"/>
          <p:cNvSpPr/>
          <p:nvPr/>
        </p:nvSpPr>
        <p:spPr>
          <a:xfrm>
            <a:off x="16595815" y="6267286"/>
            <a:ext cx="4659674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klere innrapportering og tilgang til helsedata</a:t>
            </a:r>
          </a:p>
        </p:txBody>
      </p:sp>
      <p:sp>
        <p:nvSpPr>
          <p:cNvPr id="77" name="Freeform 76"/>
          <p:cNvSpPr/>
          <p:nvPr/>
        </p:nvSpPr>
        <p:spPr>
          <a:xfrm>
            <a:off x="16423699" y="4867146"/>
            <a:ext cx="3998958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innovasjon og næringsutvikling</a:t>
            </a:r>
          </a:p>
        </p:txBody>
      </p:sp>
      <p:sp>
        <p:nvSpPr>
          <p:cNvPr id="49" name="Freeform 48"/>
          <p:cNvSpPr/>
          <p:nvPr/>
        </p:nvSpPr>
        <p:spPr>
          <a:xfrm>
            <a:off x="2848889" y="7688671"/>
            <a:ext cx="4878744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dre personvern og informasjonssikkerhe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15145212" y="4864873"/>
            <a:ext cx="1080000" cy="1080000"/>
            <a:chOff x="8230723" y="4921854"/>
            <a:chExt cx="1080000" cy="1080000"/>
          </a:xfrm>
        </p:grpSpPr>
        <p:sp>
          <p:nvSpPr>
            <p:cNvPr id="78" name="Oval 77"/>
            <p:cNvSpPr/>
            <p:nvPr/>
          </p:nvSpPr>
          <p:spPr bwMode="ltGray">
            <a:xfrm>
              <a:off x="8230723" y="4921854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86" name="Freeform 4808"/>
            <p:cNvSpPr>
              <a:spLocks noEditPoints="1"/>
            </p:cNvSpPr>
            <p:nvPr/>
          </p:nvSpPr>
          <p:spPr bwMode="auto">
            <a:xfrm>
              <a:off x="8521682" y="4996092"/>
              <a:ext cx="540942" cy="772694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3" name="Freeform 112"/>
          <p:cNvSpPr/>
          <p:nvPr/>
        </p:nvSpPr>
        <p:spPr>
          <a:xfrm>
            <a:off x="10595437" y="6558424"/>
            <a:ext cx="3191542" cy="599152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ct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ffektmål</a:t>
            </a:r>
            <a:endParaRPr kumimoji="0" lang="nb-NO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Freeform 148"/>
          <p:cNvSpPr/>
          <p:nvPr/>
        </p:nvSpPr>
        <p:spPr>
          <a:xfrm>
            <a:off x="10661347" y="1509268"/>
            <a:ext cx="3191542" cy="599152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ct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funnsmål</a:t>
            </a:r>
            <a:endParaRPr kumimoji="0" lang="nb-NO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1" name="Freeform 150"/>
          <p:cNvSpPr/>
          <p:nvPr/>
        </p:nvSpPr>
        <p:spPr>
          <a:xfrm>
            <a:off x="10595437" y="9502544"/>
            <a:ext cx="3191542" cy="599152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90000"/>
              <a:lumOff val="10000"/>
            </a:schemeClr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ct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ultatmål</a:t>
            </a:r>
            <a:endParaRPr kumimoji="0" lang="nb-NO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" name="Gruppe 4"/>
          <p:cNvGrpSpPr/>
          <p:nvPr/>
        </p:nvGrpSpPr>
        <p:grpSpPr>
          <a:xfrm>
            <a:off x="15515815" y="6259233"/>
            <a:ext cx="1080000" cy="1080000"/>
            <a:chOff x="15366941" y="7723120"/>
            <a:chExt cx="1080000" cy="1080000"/>
          </a:xfrm>
        </p:grpSpPr>
        <p:sp>
          <p:nvSpPr>
            <p:cNvPr id="74" name="Oval 73"/>
            <p:cNvSpPr/>
            <p:nvPr/>
          </p:nvSpPr>
          <p:spPr bwMode="ltGray">
            <a:xfrm>
              <a:off x="15366941" y="772312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59" name="Freeform 4936"/>
            <p:cNvSpPr>
              <a:spLocks noEditPoints="1"/>
            </p:cNvSpPr>
            <p:nvPr/>
          </p:nvSpPr>
          <p:spPr bwMode="auto">
            <a:xfrm>
              <a:off x="15486050" y="7833690"/>
              <a:ext cx="841769" cy="795008"/>
            </a:xfrm>
            <a:custGeom>
              <a:avLst/>
              <a:gdLst>
                <a:gd name="T0" fmla="*/ 198 w 396"/>
                <a:gd name="T1" fmla="*/ 218 h 374"/>
                <a:gd name="T2" fmla="*/ 178 w 396"/>
                <a:gd name="T3" fmla="*/ 198 h 374"/>
                <a:gd name="T4" fmla="*/ 206 w 396"/>
                <a:gd name="T5" fmla="*/ 180 h 374"/>
                <a:gd name="T6" fmla="*/ 396 w 396"/>
                <a:gd name="T7" fmla="*/ 198 h 374"/>
                <a:gd name="T8" fmla="*/ 332 w 396"/>
                <a:gd name="T9" fmla="*/ 344 h 374"/>
                <a:gd name="T10" fmla="*/ 230 w 396"/>
                <a:gd name="T11" fmla="*/ 334 h 374"/>
                <a:gd name="T12" fmla="*/ 150 w 396"/>
                <a:gd name="T13" fmla="*/ 328 h 374"/>
                <a:gd name="T14" fmla="*/ 46 w 396"/>
                <a:gd name="T15" fmla="*/ 324 h 374"/>
                <a:gd name="T16" fmla="*/ 0 w 396"/>
                <a:gd name="T17" fmla="*/ 198 h 374"/>
                <a:gd name="T18" fmla="*/ 34 w 396"/>
                <a:gd name="T19" fmla="*/ 88 h 374"/>
                <a:gd name="T20" fmla="*/ 122 w 396"/>
                <a:gd name="T21" fmla="*/ 16 h 374"/>
                <a:gd name="T22" fmla="*/ 218 w 396"/>
                <a:gd name="T23" fmla="*/ 2 h 374"/>
                <a:gd name="T24" fmla="*/ 324 w 396"/>
                <a:gd name="T25" fmla="*/ 46 h 374"/>
                <a:gd name="T26" fmla="*/ 386 w 396"/>
                <a:gd name="T27" fmla="*/ 140 h 374"/>
                <a:gd name="T28" fmla="*/ 310 w 396"/>
                <a:gd name="T29" fmla="*/ 134 h 374"/>
                <a:gd name="T30" fmla="*/ 352 w 396"/>
                <a:gd name="T31" fmla="*/ 120 h 374"/>
                <a:gd name="T32" fmla="*/ 354 w 396"/>
                <a:gd name="T33" fmla="*/ 104 h 374"/>
                <a:gd name="T34" fmla="*/ 310 w 396"/>
                <a:gd name="T35" fmla="*/ 122 h 374"/>
                <a:gd name="T36" fmla="*/ 262 w 396"/>
                <a:gd name="T37" fmla="*/ 86 h 374"/>
                <a:gd name="T38" fmla="*/ 292 w 396"/>
                <a:gd name="T39" fmla="*/ 54 h 374"/>
                <a:gd name="T40" fmla="*/ 286 w 396"/>
                <a:gd name="T41" fmla="*/ 38 h 374"/>
                <a:gd name="T42" fmla="*/ 258 w 396"/>
                <a:gd name="T43" fmla="*/ 76 h 374"/>
                <a:gd name="T44" fmla="*/ 188 w 396"/>
                <a:gd name="T45" fmla="*/ 60 h 374"/>
                <a:gd name="T46" fmla="*/ 202 w 396"/>
                <a:gd name="T47" fmla="*/ 68 h 374"/>
                <a:gd name="T48" fmla="*/ 208 w 396"/>
                <a:gd name="T49" fmla="*/ 22 h 374"/>
                <a:gd name="T50" fmla="*/ 190 w 396"/>
                <a:gd name="T51" fmla="*/ 18 h 374"/>
                <a:gd name="T52" fmla="*/ 58 w 396"/>
                <a:gd name="T53" fmla="*/ 208 h 374"/>
                <a:gd name="T54" fmla="*/ 68 w 396"/>
                <a:gd name="T55" fmla="*/ 194 h 374"/>
                <a:gd name="T56" fmla="*/ 22 w 396"/>
                <a:gd name="T57" fmla="*/ 188 h 374"/>
                <a:gd name="T58" fmla="*/ 18 w 396"/>
                <a:gd name="T59" fmla="*/ 206 h 374"/>
                <a:gd name="T60" fmla="*/ 84 w 396"/>
                <a:gd name="T61" fmla="*/ 260 h 374"/>
                <a:gd name="T62" fmla="*/ 40 w 396"/>
                <a:gd name="T63" fmla="*/ 278 h 374"/>
                <a:gd name="T64" fmla="*/ 48 w 396"/>
                <a:gd name="T65" fmla="*/ 294 h 374"/>
                <a:gd name="T66" fmla="*/ 88 w 396"/>
                <a:gd name="T67" fmla="*/ 270 h 374"/>
                <a:gd name="T68" fmla="*/ 54 w 396"/>
                <a:gd name="T69" fmla="*/ 104 h 374"/>
                <a:gd name="T70" fmla="*/ 38 w 396"/>
                <a:gd name="T71" fmla="*/ 110 h 374"/>
                <a:gd name="T72" fmla="*/ 78 w 396"/>
                <a:gd name="T73" fmla="*/ 138 h 374"/>
                <a:gd name="T74" fmla="*/ 88 w 396"/>
                <a:gd name="T75" fmla="*/ 126 h 374"/>
                <a:gd name="T76" fmla="*/ 120 w 396"/>
                <a:gd name="T77" fmla="*/ 44 h 374"/>
                <a:gd name="T78" fmla="*/ 104 w 396"/>
                <a:gd name="T79" fmla="*/ 42 h 374"/>
                <a:gd name="T80" fmla="*/ 124 w 396"/>
                <a:gd name="T81" fmla="*/ 86 h 374"/>
                <a:gd name="T82" fmla="*/ 138 w 396"/>
                <a:gd name="T83" fmla="*/ 80 h 374"/>
                <a:gd name="T84" fmla="*/ 224 w 396"/>
                <a:gd name="T85" fmla="*/ 174 h 374"/>
                <a:gd name="T86" fmla="*/ 188 w 396"/>
                <a:gd name="T87" fmla="*/ 164 h 374"/>
                <a:gd name="T88" fmla="*/ 164 w 396"/>
                <a:gd name="T89" fmla="*/ 186 h 374"/>
                <a:gd name="T90" fmla="*/ 176 w 396"/>
                <a:gd name="T91" fmla="*/ 226 h 374"/>
                <a:gd name="T92" fmla="*/ 216 w 396"/>
                <a:gd name="T93" fmla="*/ 228 h 374"/>
                <a:gd name="T94" fmla="*/ 324 w 396"/>
                <a:gd name="T95" fmla="*/ 258 h 374"/>
                <a:gd name="T96" fmla="*/ 310 w 396"/>
                <a:gd name="T97" fmla="*/ 262 h 374"/>
                <a:gd name="T98" fmla="*/ 342 w 396"/>
                <a:gd name="T99" fmla="*/ 292 h 374"/>
                <a:gd name="T100" fmla="*/ 358 w 396"/>
                <a:gd name="T101" fmla="*/ 286 h 374"/>
                <a:gd name="T102" fmla="*/ 380 w 396"/>
                <a:gd name="T103" fmla="*/ 198 h 374"/>
                <a:gd name="T104" fmla="*/ 338 w 396"/>
                <a:gd name="T105" fmla="*/ 188 h 374"/>
                <a:gd name="T106" fmla="*/ 328 w 396"/>
                <a:gd name="T107" fmla="*/ 202 h 374"/>
                <a:gd name="T108" fmla="*/ 374 w 396"/>
                <a:gd name="T109" fmla="*/ 208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6" h="374">
                  <a:moveTo>
                    <a:pt x="218" y="198"/>
                  </a:moveTo>
                  <a:lnTo>
                    <a:pt x="218" y="198"/>
                  </a:lnTo>
                  <a:lnTo>
                    <a:pt x="216" y="206"/>
                  </a:lnTo>
                  <a:lnTo>
                    <a:pt x="212" y="212"/>
                  </a:lnTo>
                  <a:lnTo>
                    <a:pt x="206" y="216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0" y="216"/>
                  </a:lnTo>
                  <a:lnTo>
                    <a:pt x="184" y="212"/>
                  </a:lnTo>
                  <a:lnTo>
                    <a:pt x="180" y="206"/>
                  </a:lnTo>
                  <a:lnTo>
                    <a:pt x="178" y="198"/>
                  </a:lnTo>
                  <a:lnTo>
                    <a:pt x="178" y="198"/>
                  </a:lnTo>
                  <a:lnTo>
                    <a:pt x="180" y="190"/>
                  </a:lnTo>
                  <a:lnTo>
                    <a:pt x="184" y="184"/>
                  </a:lnTo>
                  <a:lnTo>
                    <a:pt x="190" y="180"/>
                  </a:lnTo>
                  <a:lnTo>
                    <a:pt x="198" y="178"/>
                  </a:lnTo>
                  <a:lnTo>
                    <a:pt x="198" y="178"/>
                  </a:lnTo>
                  <a:lnTo>
                    <a:pt x="206" y="180"/>
                  </a:lnTo>
                  <a:lnTo>
                    <a:pt x="212" y="184"/>
                  </a:lnTo>
                  <a:lnTo>
                    <a:pt x="216" y="190"/>
                  </a:lnTo>
                  <a:lnTo>
                    <a:pt x="218" y="198"/>
                  </a:lnTo>
                  <a:lnTo>
                    <a:pt x="218" y="198"/>
                  </a:lnTo>
                  <a:close/>
                  <a:moveTo>
                    <a:pt x="396" y="198"/>
                  </a:moveTo>
                  <a:lnTo>
                    <a:pt x="396" y="198"/>
                  </a:lnTo>
                  <a:lnTo>
                    <a:pt x="394" y="226"/>
                  </a:lnTo>
                  <a:lnTo>
                    <a:pt x="388" y="254"/>
                  </a:lnTo>
                  <a:lnTo>
                    <a:pt x="378" y="278"/>
                  </a:lnTo>
                  <a:lnTo>
                    <a:pt x="366" y="302"/>
                  </a:lnTo>
                  <a:lnTo>
                    <a:pt x="350" y="324"/>
                  </a:lnTo>
                  <a:lnTo>
                    <a:pt x="332" y="344"/>
                  </a:lnTo>
                  <a:lnTo>
                    <a:pt x="310" y="360"/>
                  </a:lnTo>
                  <a:lnTo>
                    <a:pt x="288" y="374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46" y="328"/>
                  </a:lnTo>
                  <a:lnTo>
                    <a:pt x="230" y="334"/>
                  </a:lnTo>
                  <a:lnTo>
                    <a:pt x="214" y="336"/>
                  </a:lnTo>
                  <a:lnTo>
                    <a:pt x="198" y="338"/>
                  </a:lnTo>
                  <a:lnTo>
                    <a:pt x="198" y="338"/>
                  </a:lnTo>
                  <a:lnTo>
                    <a:pt x="182" y="336"/>
                  </a:lnTo>
                  <a:lnTo>
                    <a:pt x="166" y="334"/>
                  </a:lnTo>
                  <a:lnTo>
                    <a:pt x="150" y="328"/>
                  </a:lnTo>
                  <a:lnTo>
                    <a:pt x="134" y="322"/>
                  </a:lnTo>
                  <a:lnTo>
                    <a:pt x="108" y="374"/>
                  </a:lnTo>
                  <a:lnTo>
                    <a:pt x="108" y="374"/>
                  </a:lnTo>
                  <a:lnTo>
                    <a:pt x="86" y="360"/>
                  </a:lnTo>
                  <a:lnTo>
                    <a:pt x="64" y="344"/>
                  </a:lnTo>
                  <a:lnTo>
                    <a:pt x="46" y="324"/>
                  </a:lnTo>
                  <a:lnTo>
                    <a:pt x="30" y="302"/>
                  </a:lnTo>
                  <a:lnTo>
                    <a:pt x="18" y="278"/>
                  </a:lnTo>
                  <a:lnTo>
                    <a:pt x="8" y="254"/>
                  </a:lnTo>
                  <a:lnTo>
                    <a:pt x="2" y="226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2" y="178"/>
                  </a:lnTo>
                  <a:lnTo>
                    <a:pt x="4" y="158"/>
                  </a:lnTo>
                  <a:lnTo>
                    <a:pt x="10" y="140"/>
                  </a:lnTo>
                  <a:lnTo>
                    <a:pt x="16" y="122"/>
                  </a:lnTo>
                  <a:lnTo>
                    <a:pt x="24" y="104"/>
                  </a:lnTo>
                  <a:lnTo>
                    <a:pt x="34" y="88"/>
                  </a:lnTo>
                  <a:lnTo>
                    <a:pt x="46" y="72"/>
                  </a:lnTo>
                  <a:lnTo>
                    <a:pt x="58" y="58"/>
                  </a:lnTo>
                  <a:lnTo>
                    <a:pt x="72" y="46"/>
                  </a:lnTo>
                  <a:lnTo>
                    <a:pt x="88" y="34"/>
                  </a:lnTo>
                  <a:lnTo>
                    <a:pt x="104" y="24"/>
                  </a:lnTo>
                  <a:lnTo>
                    <a:pt x="122" y="16"/>
                  </a:lnTo>
                  <a:lnTo>
                    <a:pt x="140" y="10"/>
                  </a:lnTo>
                  <a:lnTo>
                    <a:pt x="158" y="4"/>
                  </a:lnTo>
                  <a:lnTo>
                    <a:pt x="178" y="2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18" y="2"/>
                  </a:lnTo>
                  <a:lnTo>
                    <a:pt x="238" y="4"/>
                  </a:lnTo>
                  <a:lnTo>
                    <a:pt x="256" y="10"/>
                  </a:lnTo>
                  <a:lnTo>
                    <a:pt x="274" y="16"/>
                  </a:lnTo>
                  <a:lnTo>
                    <a:pt x="292" y="24"/>
                  </a:lnTo>
                  <a:lnTo>
                    <a:pt x="308" y="34"/>
                  </a:lnTo>
                  <a:lnTo>
                    <a:pt x="324" y="46"/>
                  </a:lnTo>
                  <a:lnTo>
                    <a:pt x="338" y="58"/>
                  </a:lnTo>
                  <a:lnTo>
                    <a:pt x="350" y="72"/>
                  </a:lnTo>
                  <a:lnTo>
                    <a:pt x="362" y="88"/>
                  </a:lnTo>
                  <a:lnTo>
                    <a:pt x="372" y="104"/>
                  </a:lnTo>
                  <a:lnTo>
                    <a:pt x="380" y="122"/>
                  </a:lnTo>
                  <a:lnTo>
                    <a:pt x="386" y="140"/>
                  </a:lnTo>
                  <a:lnTo>
                    <a:pt x="392" y="158"/>
                  </a:lnTo>
                  <a:lnTo>
                    <a:pt x="394" y="178"/>
                  </a:lnTo>
                  <a:lnTo>
                    <a:pt x="396" y="198"/>
                  </a:lnTo>
                  <a:lnTo>
                    <a:pt x="396" y="198"/>
                  </a:lnTo>
                  <a:close/>
                  <a:moveTo>
                    <a:pt x="310" y="134"/>
                  </a:moveTo>
                  <a:lnTo>
                    <a:pt x="310" y="134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18" y="138"/>
                  </a:lnTo>
                  <a:lnTo>
                    <a:pt x="324" y="138"/>
                  </a:lnTo>
                  <a:lnTo>
                    <a:pt x="352" y="120"/>
                  </a:lnTo>
                  <a:lnTo>
                    <a:pt x="352" y="120"/>
                  </a:lnTo>
                  <a:lnTo>
                    <a:pt x="356" y="118"/>
                  </a:lnTo>
                  <a:lnTo>
                    <a:pt x="356" y="114"/>
                  </a:lnTo>
                  <a:lnTo>
                    <a:pt x="358" y="110"/>
                  </a:lnTo>
                  <a:lnTo>
                    <a:pt x="356" y="106"/>
                  </a:lnTo>
                  <a:lnTo>
                    <a:pt x="356" y="106"/>
                  </a:lnTo>
                  <a:lnTo>
                    <a:pt x="354" y="104"/>
                  </a:lnTo>
                  <a:lnTo>
                    <a:pt x="350" y="102"/>
                  </a:lnTo>
                  <a:lnTo>
                    <a:pt x="346" y="102"/>
                  </a:lnTo>
                  <a:lnTo>
                    <a:pt x="342" y="104"/>
                  </a:lnTo>
                  <a:lnTo>
                    <a:pt x="314" y="120"/>
                  </a:lnTo>
                  <a:lnTo>
                    <a:pt x="314" y="120"/>
                  </a:lnTo>
                  <a:lnTo>
                    <a:pt x="310" y="122"/>
                  </a:lnTo>
                  <a:lnTo>
                    <a:pt x="308" y="126"/>
                  </a:lnTo>
                  <a:lnTo>
                    <a:pt x="308" y="130"/>
                  </a:lnTo>
                  <a:lnTo>
                    <a:pt x="310" y="134"/>
                  </a:lnTo>
                  <a:lnTo>
                    <a:pt x="310" y="134"/>
                  </a:lnTo>
                  <a:close/>
                  <a:moveTo>
                    <a:pt x="262" y="86"/>
                  </a:moveTo>
                  <a:lnTo>
                    <a:pt x="262" y="86"/>
                  </a:lnTo>
                  <a:lnTo>
                    <a:pt x="268" y="88"/>
                  </a:lnTo>
                  <a:lnTo>
                    <a:pt x="268" y="88"/>
                  </a:lnTo>
                  <a:lnTo>
                    <a:pt x="272" y="86"/>
                  </a:lnTo>
                  <a:lnTo>
                    <a:pt x="276" y="82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4" y="50"/>
                  </a:lnTo>
                  <a:lnTo>
                    <a:pt x="294" y="46"/>
                  </a:lnTo>
                  <a:lnTo>
                    <a:pt x="292" y="42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86" y="38"/>
                  </a:lnTo>
                  <a:lnTo>
                    <a:pt x="282" y="40"/>
                  </a:lnTo>
                  <a:lnTo>
                    <a:pt x="278" y="40"/>
                  </a:lnTo>
                  <a:lnTo>
                    <a:pt x="276" y="44"/>
                  </a:lnTo>
                  <a:lnTo>
                    <a:pt x="258" y="72"/>
                  </a:lnTo>
                  <a:lnTo>
                    <a:pt x="258" y="72"/>
                  </a:lnTo>
                  <a:lnTo>
                    <a:pt x="258" y="76"/>
                  </a:lnTo>
                  <a:lnTo>
                    <a:pt x="258" y="80"/>
                  </a:lnTo>
                  <a:lnTo>
                    <a:pt x="260" y="84"/>
                  </a:lnTo>
                  <a:lnTo>
                    <a:pt x="262" y="86"/>
                  </a:lnTo>
                  <a:lnTo>
                    <a:pt x="262" y="86"/>
                  </a:lnTo>
                  <a:close/>
                  <a:moveTo>
                    <a:pt x="188" y="60"/>
                  </a:moveTo>
                  <a:lnTo>
                    <a:pt x="188" y="60"/>
                  </a:lnTo>
                  <a:lnTo>
                    <a:pt x="188" y="62"/>
                  </a:lnTo>
                  <a:lnTo>
                    <a:pt x="190" y="66"/>
                  </a:lnTo>
                  <a:lnTo>
                    <a:pt x="194" y="68"/>
                  </a:lnTo>
                  <a:lnTo>
                    <a:pt x="198" y="70"/>
                  </a:lnTo>
                  <a:lnTo>
                    <a:pt x="198" y="70"/>
                  </a:lnTo>
                  <a:lnTo>
                    <a:pt x="202" y="68"/>
                  </a:lnTo>
                  <a:lnTo>
                    <a:pt x="206" y="66"/>
                  </a:lnTo>
                  <a:lnTo>
                    <a:pt x="208" y="62"/>
                  </a:lnTo>
                  <a:lnTo>
                    <a:pt x="208" y="60"/>
                  </a:lnTo>
                  <a:lnTo>
                    <a:pt x="208" y="26"/>
                  </a:lnTo>
                  <a:lnTo>
                    <a:pt x="208" y="26"/>
                  </a:lnTo>
                  <a:lnTo>
                    <a:pt x="208" y="22"/>
                  </a:lnTo>
                  <a:lnTo>
                    <a:pt x="206" y="18"/>
                  </a:lnTo>
                  <a:lnTo>
                    <a:pt x="202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194" y="16"/>
                  </a:lnTo>
                  <a:lnTo>
                    <a:pt x="190" y="18"/>
                  </a:lnTo>
                  <a:lnTo>
                    <a:pt x="188" y="22"/>
                  </a:lnTo>
                  <a:lnTo>
                    <a:pt x="188" y="26"/>
                  </a:lnTo>
                  <a:lnTo>
                    <a:pt x="188" y="60"/>
                  </a:lnTo>
                  <a:close/>
                  <a:moveTo>
                    <a:pt x="26" y="208"/>
                  </a:moveTo>
                  <a:lnTo>
                    <a:pt x="58" y="208"/>
                  </a:lnTo>
                  <a:lnTo>
                    <a:pt x="58" y="208"/>
                  </a:lnTo>
                  <a:lnTo>
                    <a:pt x="62" y="208"/>
                  </a:lnTo>
                  <a:lnTo>
                    <a:pt x="66" y="206"/>
                  </a:lnTo>
                  <a:lnTo>
                    <a:pt x="68" y="202"/>
                  </a:lnTo>
                  <a:lnTo>
                    <a:pt x="68" y="198"/>
                  </a:lnTo>
                  <a:lnTo>
                    <a:pt x="68" y="198"/>
                  </a:lnTo>
                  <a:lnTo>
                    <a:pt x="68" y="194"/>
                  </a:lnTo>
                  <a:lnTo>
                    <a:pt x="66" y="190"/>
                  </a:lnTo>
                  <a:lnTo>
                    <a:pt x="62" y="188"/>
                  </a:lnTo>
                  <a:lnTo>
                    <a:pt x="58" y="188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2" y="188"/>
                  </a:lnTo>
                  <a:lnTo>
                    <a:pt x="18" y="190"/>
                  </a:lnTo>
                  <a:lnTo>
                    <a:pt x="16" y="194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202"/>
                  </a:lnTo>
                  <a:lnTo>
                    <a:pt x="18" y="206"/>
                  </a:lnTo>
                  <a:lnTo>
                    <a:pt x="22" y="208"/>
                  </a:lnTo>
                  <a:lnTo>
                    <a:pt x="26" y="208"/>
                  </a:lnTo>
                  <a:lnTo>
                    <a:pt x="26" y="208"/>
                  </a:lnTo>
                  <a:close/>
                  <a:moveTo>
                    <a:pt x="86" y="262"/>
                  </a:moveTo>
                  <a:lnTo>
                    <a:pt x="86" y="262"/>
                  </a:lnTo>
                  <a:lnTo>
                    <a:pt x="84" y="260"/>
                  </a:lnTo>
                  <a:lnTo>
                    <a:pt x="80" y="258"/>
                  </a:lnTo>
                  <a:lnTo>
                    <a:pt x="76" y="258"/>
                  </a:lnTo>
                  <a:lnTo>
                    <a:pt x="72" y="258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40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40" y="290"/>
                  </a:lnTo>
                  <a:lnTo>
                    <a:pt x="40" y="290"/>
                  </a:lnTo>
                  <a:lnTo>
                    <a:pt x="44" y="292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54" y="292"/>
                  </a:lnTo>
                  <a:lnTo>
                    <a:pt x="82" y="276"/>
                  </a:lnTo>
                  <a:lnTo>
                    <a:pt x="82" y="276"/>
                  </a:lnTo>
                  <a:lnTo>
                    <a:pt x="86" y="274"/>
                  </a:lnTo>
                  <a:lnTo>
                    <a:pt x="88" y="270"/>
                  </a:lnTo>
                  <a:lnTo>
                    <a:pt x="88" y="266"/>
                  </a:lnTo>
                  <a:lnTo>
                    <a:pt x="86" y="262"/>
                  </a:lnTo>
                  <a:lnTo>
                    <a:pt x="86" y="262"/>
                  </a:lnTo>
                  <a:close/>
                  <a:moveTo>
                    <a:pt x="82" y="120"/>
                  </a:moveTo>
                  <a:lnTo>
                    <a:pt x="54" y="104"/>
                  </a:lnTo>
                  <a:lnTo>
                    <a:pt x="54" y="104"/>
                  </a:lnTo>
                  <a:lnTo>
                    <a:pt x="50" y="102"/>
                  </a:lnTo>
                  <a:lnTo>
                    <a:pt x="46" y="102"/>
                  </a:lnTo>
                  <a:lnTo>
                    <a:pt x="42" y="104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38" y="110"/>
                  </a:lnTo>
                  <a:lnTo>
                    <a:pt x="40" y="114"/>
                  </a:lnTo>
                  <a:lnTo>
                    <a:pt x="40" y="118"/>
                  </a:lnTo>
                  <a:lnTo>
                    <a:pt x="44" y="120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8" y="138"/>
                  </a:lnTo>
                  <a:lnTo>
                    <a:pt x="78" y="138"/>
                  </a:lnTo>
                  <a:lnTo>
                    <a:pt x="82" y="138"/>
                  </a:lnTo>
                  <a:lnTo>
                    <a:pt x="86" y="134"/>
                  </a:lnTo>
                  <a:lnTo>
                    <a:pt x="86" y="134"/>
                  </a:lnTo>
                  <a:lnTo>
                    <a:pt x="88" y="130"/>
                  </a:lnTo>
                  <a:lnTo>
                    <a:pt x="88" y="126"/>
                  </a:lnTo>
                  <a:lnTo>
                    <a:pt x="86" y="122"/>
                  </a:lnTo>
                  <a:lnTo>
                    <a:pt x="82" y="120"/>
                  </a:lnTo>
                  <a:lnTo>
                    <a:pt x="82" y="120"/>
                  </a:lnTo>
                  <a:close/>
                  <a:moveTo>
                    <a:pt x="138" y="72"/>
                  </a:moveTo>
                  <a:lnTo>
                    <a:pt x="120" y="44"/>
                  </a:lnTo>
                  <a:lnTo>
                    <a:pt x="120" y="44"/>
                  </a:lnTo>
                  <a:lnTo>
                    <a:pt x="118" y="40"/>
                  </a:lnTo>
                  <a:lnTo>
                    <a:pt x="114" y="40"/>
                  </a:lnTo>
                  <a:lnTo>
                    <a:pt x="110" y="38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2" y="46"/>
                  </a:lnTo>
                  <a:lnTo>
                    <a:pt x="102" y="50"/>
                  </a:lnTo>
                  <a:lnTo>
                    <a:pt x="104" y="54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4" y="86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4" y="86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8" y="80"/>
                  </a:lnTo>
                  <a:lnTo>
                    <a:pt x="138" y="76"/>
                  </a:lnTo>
                  <a:lnTo>
                    <a:pt x="138" y="72"/>
                  </a:lnTo>
                  <a:lnTo>
                    <a:pt x="138" y="72"/>
                  </a:lnTo>
                  <a:close/>
                  <a:moveTo>
                    <a:pt x="372" y="152"/>
                  </a:moveTo>
                  <a:lnTo>
                    <a:pt x="224" y="174"/>
                  </a:lnTo>
                  <a:lnTo>
                    <a:pt x="224" y="174"/>
                  </a:lnTo>
                  <a:lnTo>
                    <a:pt x="218" y="168"/>
                  </a:lnTo>
                  <a:lnTo>
                    <a:pt x="212" y="166"/>
                  </a:lnTo>
                  <a:lnTo>
                    <a:pt x="206" y="164"/>
                  </a:lnTo>
                  <a:lnTo>
                    <a:pt x="198" y="162"/>
                  </a:lnTo>
                  <a:lnTo>
                    <a:pt x="19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2" y="166"/>
                  </a:lnTo>
                  <a:lnTo>
                    <a:pt x="176" y="170"/>
                  </a:lnTo>
                  <a:lnTo>
                    <a:pt x="172" y="174"/>
                  </a:lnTo>
                  <a:lnTo>
                    <a:pt x="168" y="180"/>
                  </a:lnTo>
                  <a:lnTo>
                    <a:pt x="164" y="186"/>
                  </a:lnTo>
                  <a:lnTo>
                    <a:pt x="162" y="194"/>
                  </a:lnTo>
                  <a:lnTo>
                    <a:pt x="162" y="200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8" y="218"/>
                  </a:lnTo>
                  <a:lnTo>
                    <a:pt x="176" y="226"/>
                  </a:lnTo>
                  <a:lnTo>
                    <a:pt x="186" y="232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208" y="232"/>
                  </a:lnTo>
                  <a:lnTo>
                    <a:pt x="208" y="232"/>
                  </a:lnTo>
                  <a:lnTo>
                    <a:pt x="216" y="228"/>
                  </a:lnTo>
                  <a:lnTo>
                    <a:pt x="224" y="222"/>
                  </a:lnTo>
                  <a:lnTo>
                    <a:pt x="228" y="216"/>
                  </a:lnTo>
                  <a:lnTo>
                    <a:pt x="232" y="208"/>
                  </a:lnTo>
                  <a:lnTo>
                    <a:pt x="372" y="152"/>
                  </a:lnTo>
                  <a:close/>
                  <a:moveTo>
                    <a:pt x="352" y="276"/>
                  </a:moveTo>
                  <a:lnTo>
                    <a:pt x="324" y="258"/>
                  </a:lnTo>
                  <a:lnTo>
                    <a:pt x="324" y="258"/>
                  </a:lnTo>
                  <a:lnTo>
                    <a:pt x="320" y="258"/>
                  </a:lnTo>
                  <a:lnTo>
                    <a:pt x="316" y="258"/>
                  </a:lnTo>
                  <a:lnTo>
                    <a:pt x="312" y="260"/>
                  </a:lnTo>
                  <a:lnTo>
                    <a:pt x="310" y="262"/>
                  </a:lnTo>
                  <a:lnTo>
                    <a:pt x="310" y="262"/>
                  </a:lnTo>
                  <a:lnTo>
                    <a:pt x="308" y="266"/>
                  </a:lnTo>
                  <a:lnTo>
                    <a:pt x="308" y="270"/>
                  </a:lnTo>
                  <a:lnTo>
                    <a:pt x="310" y="274"/>
                  </a:lnTo>
                  <a:lnTo>
                    <a:pt x="314" y="276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8" y="294"/>
                  </a:lnTo>
                  <a:lnTo>
                    <a:pt x="348" y="294"/>
                  </a:lnTo>
                  <a:lnTo>
                    <a:pt x="352" y="292"/>
                  </a:lnTo>
                  <a:lnTo>
                    <a:pt x="356" y="290"/>
                  </a:lnTo>
                  <a:lnTo>
                    <a:pt x="356" y="290"/>
                  </a:lnTo>
                  <a:lnTo>
                    <a:pt x="358" y="286"/>
                  </a:lnTo>
                  <a:lnTo>
                    <a:pt x="356" y="282"/>
                  </a:lnTo>
                  <a:lnTo>
                    <a:pt x="356" y="278"/>
                  </a:lnTo>
                  <a:lnTo>
                    <a:pt x="352" y="276"/>
                  </a:lnTo>
                  <a:lnTo>
                    <a:pt x="352" y="276"/>
                  </a:lnTo>
                  <a:close/>
                  <a:moveTo>
                    <a:pt x="380" y="198"/>
                  </a:moveTo>
                  <a:lnTo>
                    <a:pt x="380" y="198"/>
                  </a:lnTo>
                  <a:lnTo>
                    <a:pt x="380" y="194"/>
                  </a:lnTo>
                  <a:lnTo>
                    <a:pt x="378" y="190"/>
                  </a:lnTo>
                  <a:lnTo>
                    <a:pt x="374" y="188"/>
                  </a:lnTo>
                  <a:lnTo>
                    <a:pt x="370" y="188"/>
                  </a:lnTo>
                  <a:lnTo>
                    <a:pt x="338" y="188"/>
                  </a:lnTo>
                  <a:lnTo>
                    <a:pt x="338" y="188"/>
                  </a:lnTo>
                  <a:lnTo>
                    <a:pt x="334" y="188"/>
                  </a:lnTo>
                  <a:lnTo>
                    <a:pt x="330" y="190"/>
                  </a:lnTo>
                  <a:lnTo>
                    <a:pt x="328" y="194"/>
                  </a:lnTo>
                  <a:lnTo>
                    <a:pt x="328" y="198"/>
                  </a:lnTo>
                  <a:lnTo>
                    <a:pt x="328" y="198"/>
                  </a:lnTo>
                  <a:lnTo>
                    <a:pt x="328" y="202"/>
                  </a:lnTo>
                  <a:lnTo>
                    <a:pt x="330" y="206"/>
                  </a:lnTo>
                  <a:lnTo>
                    <a:pt x="334" y="208"/>
                  </a:lnTo>
                  <a:lnTo>
                    <a:pt x="338" y="208"/>
                  </a:lnTo>
                  <a:lnTo>
                    <a:pt x="370" y="208"/>
                  </a:lnTo>
                  <a:lnTo>
                    <a:pt x="370" y="208"/>
                  </a:lnTo>
                  <a:lnTo>
                    <a:pt x="374" y="208"/>
                  </a:lnTo>
                  <a:lnTo>
                    <a:pt x="378" y="206"/>
                  </a:lnTo>
                  <a:lnTo>
                    <a:pt x="380" y="202"/>
                  </a:lnTo>
                  <a:lnTo>
                    <a:pt x="380" y="198"/>
                  </a:lnTo>
                  <a:lnTo>
                    <a:pt x="380" y="198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</p:grpSp>
      <p:sp>
        <p:nvSpPr>
          <p:cNvPr id="81" name="Freeform 80"/>
          <p:cNvSpPr/>
          <p:nvPr/>
        </p:nvSpPr>
        <p:spPr>
          <a:xfrm>
            <a:off x="2965972" y="9303162"/>
            <a:ext cx="5600354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valtningstjenester for helsedata og forskning</a:t>
            </a:r>
          </a:p>
        </p:txBody>
      </p:sp>
      <p:sp>
        <p:nvSpPr>
          <p:cNvPr id="83" name="Freeform 82"/>
          <p:cNvSpPr/>
          <p:nvPr/>
        </p:nvSpPr>
        <p:spPr>
          <a:xfrm>
            <a:off x="14280309" y="10419290"/>
            <a:ext cx="6840001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knisk interoperabilitet (API)</a:t>
            </a:r>
          </a:p>
        </p:txBody>
      </p:sp>
      <p:sp>
        <p:nvSpPr>
          <p:cNvPr id="84" name="Freeform 83"/>
          <p:cNvSpPr/>
          <p:nvPr/>
        </p:nvSpPr>
        <p:spPr>
          <a:xfrm>
            <a:off x="3073958" y="6147875"/>
            <a:ext cx="4641344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effektiv registerforvaltning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8252153" y="4874238"/>
            <a:ext cx="1080000" cy="1080000"/>
            <a:chOff x="15143450" y="4916401"/>
            <a:chExt cx="1080000" cy="1080000"/>
          </a:xfrm>
        </p:grpSpPr>
        <p:sp>
          <p:nvSpPr>
            <p:cNvPr id="57" name="Oval 56"/>
            <p:cNvSpPr/>
            <p:nvPr/>
          </p:nvSpPr>
          <p:spPr bwMode="ltGray">
            <a:xfrm>
              <a:off x="15143450" y="4916401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85" name="Freeform 4901"/>
            <p:cNvSpPr>
              <a:spLocks noEditPoints="1"/>
            </p:cNvSpPr>
            <p:nvPr/>
          </p:nvSpPr>
          <p:spPr bwMode="auto">
            <a:xfrm>
              <a:off x="15486049" y="5086273"/>
              <a:ext cx="483456" cy="726073"/>
            </a:xfrm>
            <a:custGeom>
              <a:avLst/>
              <a:gdLst>
                <a:gd name="T0" fmla="*/ 232 w 238"/>
                <a:gd name="T1" fmla="*/ 242 h 366"/>
                <a:gd name="T2" fmla="*/ 216 w 238"/>
                <a:gd name="T3" fmla="*/ 290 h 366"/>
                <a:gd name="T4" fmla="*/ 206 w 238"/>
                <a:gd name="T5" fmla="*/ 274 h 366"/>
                <a:gd name="T6" fmla="*/ 188 w 238"/>
                <a:gd name="T7" fmla="*/ 268 h 366"/>
                <a:gd name="T8" fmla="*/ 186 w 238"/>
                <a:gd name="T9" fmla="*/ 260 h 366"/>
                <a:gd name="T10" fmla="*/ 192 w 238"/>
                <a:gd name="T11" fmla="*/ 224 h 366"/>
                <a:gd name="T12" fmla="*/ 184 w 238"/>
                <a:gd name="T13" fmla="*/ 186 h 366"/>
                <a:gd name="T14" fmla="*/ 164 w 238"/>
                <a:gd name="T15" fmla="*/ 154 h 366"/>
                <a:gd name="T16" fmla="*/ 184 w 238"/>
                <a:gd name="T17" fmla="*/ 130 h 366"/>
                <a:gd name="T18" fmla="*/ 196 w 238"/>
                <a:gd name="T19" fmla="*/ 130 h 366"/>
                <a:gd name="T20" fmla="*/ 220 w 238"/>
                <a:gd name="T21" fmla="*/ 166 h 366"/>
                <a:gd name="T22" fmla="*/ 232 w 238"/>
                <a:gd name="T23" fmla="*/ 208 h 366"/>
                <a:gd name="T24" fmla="*/ 188 w 238"/>
                <a:gd name="T25" fmla="*/ 310 h 366"/>
                <a:gd name="T26" fmla="*/ 200 w 238"/>
                <a:gd name="T27" fmla="*/ 306 h 366"/>
                <a:gd name="T28" fmla="*/ 204 w 238"/>
                <a:gd name="T29" fmla="*/ 296 h 366"/>
                <a:gd name="T30" fmla="*/ 194 w 238"/>
                <a:gd name="T31" fmla="*/ 282 h 366"/>
                <a:gd name="T32" fmla="*/ 182 w 238"/>
                <a:gd name="T33" fmla="*/ 282 h 366"/>
                <a:gd name="T34" fmla="*/ 174 w 238"/>
                <a:gd name="T35" fmla="*/ 296 h 366"/>
                <a:gd name="T36" fmla="*/ 178 w 238"/>
                <a:gd name="T37" fmla="*/ 306 h 366"/>
                <a:gd name="T38" fmla="*/ 188 w 238"/>
                <a:gd name="T39" fmla="*/ 310 h 366"/>
                <a:gd name="T40" fmla="*/ 140 w 238"/>
                <a:gd name="T41" fmla="*/ 98 h 366"/>
                <a:gd name="T42" fmla="*/ 126 w 238"/>
                <a:gd name="T43" fmla="*/ 120 h 366"/>
                <a:gd name="T44" fmla="*/ 132 w 238"/>
                <a:gd name="T45" fmla="*/ 134 h 366"/>
                <a:gd name="T46" fmla="*/ 148 w 238"/>
                <a:gd name="T47" fmla="*/ 142 h 366"/>
                <a:gd name="T48" fmla="*/ 168 w 238"/>
                <a:gd name="T49" fmla="*/ 128 h 366"/>
                <a:gd name="T50" fmla="*/ 168 w 238"/>
                <a:gd name="T51" fmla="*/ 110 h 366"/>
                <a:gd name="T52" fmla="*/ 148 w 238"/>
                <a:gd name="T53" fmla="*/ 98 h 366"/>
                <a:gd name="T54" fmla="*/ 192 w 238"/>
                <a:gd name="T55" fmla="*/ 322 h 366"/>
                <a:gd name="T56" fmla="*/ 188 w 238"/>
                <a:gd name="T57" fmla="*/ 322 h 366"/>
                <a:gd name="T58" fmla="*/ 164 w 238"/>
                <a:gd name="T59" fmla="*/ 306 h 366"/>
                <a:gd name="T60" fmla="*/ 150 w 238"/>
                <a:gd name="T61" fmla="*/ 306 h 366"/>
                <a:gd name="T62" fmla="*/ 106 w 238"/>
                <a:gd name="T63" fmla="*/ 322 h 366"/>
                <a:gd name="T64" fmla="*/ 6 w 238"/>
                <a:gd name="T65" fmla="*/ 322 h 366"/>
                <a:gd name="T66" fmla="*/ 0 w 238"/>
                <a:gd name="T67" fmla="*/ 332 h 366"/>
                <a:gd name="T68" fmla="*/ 0 w 238"/>
                <a:gd name="T69" fmla="*/ 360 h 366"/>
                <a:gd name="T70" fmla="*/ 10 w 238"/>
                <a:gd name="T71" fmla="*/ 366 h 366"/>
                <a:gd name="T72" fmla="*/ 232 w 238"/>
                <a:gd name="T73" fmla="*/ 366 h 366"/>
                <a:gd name="T74" fmla="*/ 238 w 238"/>
                <a:gd name="T75" fmla="*/ 356 h 366"/>
                <a:gd name="T76" fmla="*/ 236 w 238"/>
                <a:gd name="T77" fmla="*/ 328 h 366"/>
                <a:gd name="T78" fmla="*/ 228 w 238"/>
                <a:gd name="T79" fmla="*/ 322 h 366"/>
                <a:gd name="T80" fmla="*/ 16 w 238"/>
                <a:gd name="T81" fmla="*/ 206 h 366"/>
                <a:gd name="T82" fmla="*/ 114 w 238"/>
                <a:gd name="T83" fmla="*/ 262 h 366"/>
                <a:gd name="T84" fmla="*/ 96 w 238"/>
                <a:gd name="T85" fmla="*/ 236 h 366"/>
                <a:gd name="T86" fmla="*/ 106 w 238"/>
                <a:gd name="T87" fmla="*/ 238 h 366"/>
                <a:gd name="T88" fmla="*/ 154 w 238"/>
                <a:gd name="T89" fmla="*/ 156 h 366"/>
                <a:gd name="T90" fmla="*/ 140 w 238"/>
                <a:gd name="T91" fmla="*/ 156 h 366"/>
                <a:gd name="T92" fmla="*/ 120 w 238"/>
                <a:gd name="T93" fmla="*/ 146 h 366"/>
                <a:gd name="T94" fmla="*/ 110 w 238"/>
                <a:gd name="T95" fmla="*/ 126 h 366"/>
                <a:gd name="T96" fmla="*/ 110 w 238"/>
                <a:gd name="T97" fmla="*/ 112 h 366"/>
                <a:gd name="T98" fmla="*/ 120 w 238"/>
                <a:gd name="T99" fmla="*/ 92 h 366"/>
                <a:gd name="T100" fmla="*/ 140 w 238"/>
                <a:gd name="T101" fmla="*/ 82 h 366"/>
                <a:gd name="T102" fmla="*/ 160 w 238"/>
                <a:gd name="T103" fmla="*/ 84 h 366"/>
                <a:gd name="T104" fmla="*/ 184 w 238"/>
                <a:gd name="T105" fmla="*/ 106 h 366"/>
                <a:gd name="T106" fmla="*/ 202 w 238"/>
                <a:gd name="T107" fmla="*/ 76 h 366"/>
                <a:gd name="T108" fmla="*/ 200 w 238"/>
                <a:gd name="T109" fmla="*/ 68 h 366"/>
                <a:gd name="T110" fmla="*/ 196 w 238"/>
                <a:gd name="T111" fmla="*/ 40 h 366"/>
                <a:gd name="T112" fmla="*/ 166 w 238"/>
                <a:gd name="T113" fmla="*/ 0 h 366"/>
                <a:gd name="T114" fmla="*/ 156 w 238"/>
                <a:gd name="T115" fmla="*/ 42 h 366"/>
                <a:gd name="T116" fmla="*/ 142 w 238"/>
                <a:gd name="T117" fmla="*/ 34 h 366"/>
                <a:gd name="T118" fmla="*/ 132 w 238"/>
                <a:gd name="T119" fmla="*/ 40 h 366"/>
                <a:gd name="T120" fmla="*/ 40 w 238"/>
                <a:gd name="T121" fmla="*/ 198 h 366"/>
                <a:gd name="T122" fmla="*/ 42 w 238"/>
                <a:gd name="T123" fmla="*/ 20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8" h="366">
                  <a:moveTo>
                    <a:pt x="232" y="224"/>
                  </a:moveTo>
                  <a:lnTo>
                    <a:pt x="232" y="224"/>
                  </a:lnTo>
                  <a:lnTo>
                    <a:pt x="232" y="242"/>
                  </a:lnTo>
                  <a:lnTo>
                    <a:pt x="228" y="260"/>
                  </a:lnTo>
                  <a:lnTo>
                    <a:pt x="222" y="276"/>
                  </a:lnTo>
                  <a:lnTo>
                    <a:pt x="216" y="290"/>
                  </a:lnTo>
                  <a:lnTo>
                    <a:pt x="216" y="290"/>
                  </a:lnTo>
                  <a:lnTo>
                    <a:pt x="212" y="282"/>
                  </a:lnTo>
                  <a:lnTo>
                    <a:pt x="206" y="274"/>
                  </a:lnTo>
                  <a:lnTo>
                    <a:pt x="198" y="270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6" y="260"/>
                  </a:lnTo>
                  <a:lnTo>
                    <a:pt x="190" y="248"/>
                  </a:lnTo>
                  <a:lnTo>
                    <a:pt x="192" y="236"/>
                  </a:lnTo>
                  <a:lnTo>
                    <a:pt x="192" y="224"/>
                  </a:lnTo>
                  <a:lnTo>
                    <a:pt x="192" y="224"/>
                  </a:lnTo>
                  <a:lnTo>
                    <a:pt x="190" y="204"/>
                  </a:lnTo>
                  <a:lnTo>
                    <a:pt x="184" y="186"/>
                  </a:lnTo>
                  <a:lnTo>
                    <a:pt x="176" y="168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72" y="148"/>
                  </a:lnTo>
                  <a:lnTo>
                    <a:pt x="180" y="140"/>
                  </a:lnTo>
                  <a:lnTo>
                    <a:pt x="184" y="130"/>
                  </a:lnTo>
                  <a:lnTo>
                    <a:pt x="186" y="120"/>
                  </a:lnTo>
                  <a:lnTo>
                    <a:pt x="186" y="120"/>
                  </a:lnTo>
                  <a:lnTo>
                    <a:pt x="196" y="130"/>
                  </a:lnTo>
                  <a:lnTo>
                    <a:pt x="206" y="142"/>
                  </a:lnTo>
                  <a:lnTo>
                    <a:pt x="214" y="154"/>
                  </a:lnTo>
                  <a:lnTo>
                    <a:pt x="220" y="166"/>
                  </a:lnTo>
                  <a:lnTo>
                    <a:pt x="226" y="180"/>
                  </a:lnTo>
                  <a:lnTo>
                    <a:pt x="230" y="194"/>
                  </a:lnTo>
                  <a:lnTo>
                    <a:pt x="232" y="208"/>
                  </a:lnTo>
                  <a:lnTo>
                    <a:pt x="232" y="224"/>
                  </a:lnTo>
                  <a:lnTo>
                    <a:pt x="232" y="224"/>
                  </a:lnTo>
                  <a:close/>
                  <a:moveTo>
                    <a:pt x="188" y="310"/>
                  </a:moveTo>
                  <a:lnTo>
                    <a:pt x="188" y="310"/>
                  </a:lnTo>
                  <a:lnTo>
                    <a:pt x="194" y="310"/>
                  </a:lnTo>
                  <a:lnTo>
                    <a:pt x="200" y="306"/>
                  </a:lnTo>
                  <a:lnTo>
                    <a:pt x="202" y="302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202" y="290"/>
                  </a:lnTo>
                  <a:lnTo>
                    <a:pt x="200" y="284"/>
                  </a:lnTo>
                  <a:lnTo>
                    <a:pt x="194" y="282"/>
                  </a:lnTo>
                  <a:lnTo>
                    <a:pt x="188" y="280"/>
                  </a:lnTo>
                  <a:lnTo>
                    <a:pt x="188" y="280"/>
                  </a:lnTo>
                  <a:lnTo>
                    <a:pt x="182" y="282"/>
                  </a:lnTo>
                  <a:lnTo>
                    <a:pt x="178" y="284"/>
                  </a:lnTo>
                  <a:lnTo>
                    <a:pt x="174" y="290"/>
                  </a:lnTo>
                  <a:lnTo>
                    <a:pt x="174" y="296"/>
                  </a:lnTo>
                  <a:lnTo>
                    <a:pt x="174" y="296"/>
                  </a:lnTo>
                  <a:lnTo>
                    <a:pt x="174" y="302"/>
                  </a:lnTo>
                  <a:lnTo>
                    <a:pt x="178" y="306"/>
                  </a:lnTo>
                  <a:lnTo>
                    <a:pt x="182" y="310"/>
                  </a:lnTo>
                  <a:lnTo>
                    <a:pt x="188" y="310"/>
                  </a:lnTo>
                  <a:lnTo>
                    <a:pt x="188" y="310"/>
                  </a:lnTo>
                  <a:close/>
                  <a:moveTo>
                    <a:pt x="148" y="98"/>
                  </a:moveTo>
                  <a:lnTo>
                    <a:pt x="148" y="98"/>
                  </a:lnTo>
                  <a:lnTo>
                    <a:pt x="140" y="98"/>
                  </a:lnTo>
                  <a:lnTo>
                    <a:pt x="132" y="104"/>
                  </a:lnTo>
                  <a:lnTo>
                    <a:pt x="128" y="11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8" y="128"/>
                  </a:lnTo>
                  <a:lnTo>
                    <a:pt x="132" y="134"/>
                  </a:lnTo>
                  <a:lnTo>
                    <a:pt x="140" y="140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56" y="140"/>
                  </a:lnTo>
                  <a:lnTo>
                    <a:pt x="164" y="134"/>
                  </a:lnTo>
                  <a:lnTo>
                    <a:pt x="168" y="128"/>
                  </a:lnTo>
                  <a:lnTo>
                    <a:pt x="170" y="120"/>
                  </a:lnTo>
                  <a:lnTo>
                    <a:pt x="170" y="120"/>
                  </a:lnTo>
                  <a:lnTo>
                    <a:pt x="168" y="110"/>
                  </a:lnTo>
                  <a:lnTo>
                    <a:pt x="164" y="104"/>
                  </a:lnTo>
                  <a:lnTo>
                    <a:pt x="156" y="98"/>
                  </a:lnTo>
                  <a:lnTo>
                    <a:pt x="148" y="98"/>
                  </a:lnTo>
                  <a:lnTo>
                    <a:pt x="148" y="98"/>
                  </a:lnTo>
                  <a:close/>
                  <a:moveTo>
                    <a:pt x="228" y="322"/>
                  </a:moveTo>
                  <a:lnTo>
                    <a:pt x="192" y="322"/>
                  </a:lnTo>
                  <a:lnTo>
                    <a:pt x="192" y="322"/>
                  </a:lnTo>
                  <a:lnTo>
                    <a:pt x="188" y="322"/>
                  </a:lnTo>
                  <a:lnTo>
                    <a:pt x="188" y="322"/>
                  </a:lnTo>
                  <a:lnTo>
                    <a:pt x="178" y="320"/>
                  </a:lnTo>
                  <a:lnTo>
                    <a:pt x="170" y="314"/>
                  </a:lnTo>
                  <a:lnTo>
                    <a:pt x="164" y="306"/>
                  </a:lnTo>
                  <a:lnTo>
                    <a:pt x="162" y="296"/>
                  </a:lnTo>
                  <a:lnTo>
                    <a:pt x="162" y="296"/>
                  </a:lnTo>
                  <a:lnTo>
                    <a:pt x="150" y="306"/>
                  </a:lnTo>
                  <a:lnTo>
                    <a:pt x="136" y="314"/>
                  </a:lnTo>
                  <a:lnTo>
                    <a:pt x="122" y="318"/>
                  </a:lnTo>
                  <a:lnTo>
                    <a:pt x="106" y="322"/>
                  </a:lnTo>
                  <a:lnTo>
                    <a:pt x="10" y="322"/>
                  </a:lnTo>
                  <a:lnTo>
                    <a:pt x="10" y="322"/>
                  </a:lnTo>
                  <a:lnTo>
                    <a:pt x="6" y="322"/>
                  </a:lnTo>
                  <a:lnTo>
                    <a:pt x="2" y="326"/>
                  </a:lnTo>
                  <a:lnTo>
                    <a:pt x="0" y="328"/>
                  </a:lnTo>
                  <a:lnTo>
                    <a:pt x="0" y="332"/>
                  </a:lnTo>
                  <a:lnTo>
                    <a:pt x="0" y="356"/>
                  </a:lnTo>
                  <a:lnTo>
                    <a:pt x="0" y="356"/>
                  </a:lnTo>
                  <a:lnTo>
                    <a:pt x="0" y="360"/>
                  </a:lnTo>
                  <a:lnTo>
                    <a:pt x="2" y="362"/>
                  </a:lnTo>
                  <a:lnTo>
                    <a:pt x="6" y="366"/>
                  </a:lnTo>
                  <a:lnTo>
                    <a:pt x="10" y="366"/>
                  </a:lnTo>
                  <a:lnTo>
                    <a:pt x="228" y="366"/>
                  </a:lnTo>
                  <a:lnTo>
                    <a:pt x="228" y="366"/>
                  </a:lnTo>
                  <a:lnTo>
                    <a:pt x="232" y="366"/>
                  </a:lnTo>
                  <a:lnTo>
                    <a:pt x="234" y="362"/>
                  </a:lnTo>
                  <a:lnTo>
                    <a:pt x="236" y="360"/>
                  </a:lnTo>
                  <a:lnTo>
                    <a:pt x="238" y="356"/>
                  </a:lnTo>
                  <a:lnTo>
                    <a:pt x="238" y="332"/>
                  </a:lnTo>
                  <a:lnTo>
                    <a:pt x="238" y="332"/>
                  </a:lnTo>
                  <a:lnTo>
                    <a:pt x="236" y="328"/>
                  </a:lnTo>
                  <a:lnTo>
                    <a:pt x="234" y="326"/>
                  </a:lnTo>
                  <a:lnTo>
                    <a:pt x="232" y="322"/>
                  </a:lnTo>
                  <a:lnTo>
                    <a:pt x="228" y="322"/>
                  </a:lnTo>
                  <a:lnTo>
                    <a:pt x="228" y="322"/>
                  </a:lnTo>
                  <a:close/>
                  <a:moveTo>
                    <a:pt x="114" y="262"/>
                  </a:moveTo>
                  <a:lnTo>
                    <a:pt x="16" y="206"/>
                  </a:lnTo>
                  <a:lnTo>
                    <a:pt x="6" y="222"/>
                  </a:lnTo>
                  <a:lnTo>
                    <a:pt x="104" y="278"/>
                  </a:lnTo>
                  <a:lnTo>
                    <a:pt x="114" y="262"/>
                  </a:lnTo>
                  <a:close/>
                  <a:moveTo>
                    <a:pt x="46" y="208"/>
                  </a:moveTo>
                  <a:lnTo>
                    <a:pt x="96" y="236"/>
                  </a:lnTo>
                  <a:lnTo>
                    <a:pt x="96" y="236"/>
                  </a:lnTo>
                  <a:lnTo>
                    <a:pt x="102" y="238"/>
                  </a:lnTo>
                  <a:lnTo>
                    <a:pt x="102" y="238"/>
                  </a:lnTo>
                  <a:lnTo>
                    <a:pt x="106" y="238"/>
                  </a:lnTo>
                  <a:lnTo>
                    <a:pt x="110" y="234"/>
                  </a:lnTo>
                  <a:lnTo>
                    <a:pt x="154" y="156"/>
                  </a:lnTo>
                  <a:lnTo>
                    <a:pt x="154" y="156"/>
                  </a:lnTo>
                  <a:lnTo>
                    <a:pt x="148" y="158"/>
                  </a:lnTo>
                  <a:lnTo>
                    <a:pt x="148" y="158"/>
                  </a:lnTo>
                  <a:lnTo>
                    <a:pt x="140" y="156"/>
                  </a:lnTo>
                  <a:lnTo>
                    <a:pt x="132" y="154"/>
                  </a:lnTo>
                  <a:lnTo>
                    <a:pt x="126" y="150"/>
                  </a:lnTo>
                  <a:lnTo>
                    <a:pt x="120" y="146"/>
                  </a:lnTo>
                  <a:lnTo>
                    <a:pt x="116" y="140"/>
                  </a:lnTo>
                  <a:lnTo>
                    <a:pt x="112" y="134"/>
                  </a:lnTo>
                  <a:lnTo>
                    <a:pt x="110" y="126"/>
                  </a:lnTo>
                  <a:lnTo>
                    <a:pt x="110" y="120"/>
                  </a:lnTo>
                  <a:lnTo>
                    <a:pt x="110" y="120"/>
                  </a:lnTo>
                  <a:lnTo>
                    <a:pt x="110" y="112"/>
                  </a:lnTo>
                  <a:lnTo>
                    <a:pt x="112" y="104"/>
                  </a:lnTo>
                  <a:lnTo>
                    <a:pt x="116" y="98"/>
                  </a:lnTo>
                  <a:lnTo>
                    <a:pt x="120" y="92"/>
                  </a:lnTo>
                  <a:lnTo>
                    <a:pt x="126" y="88"/>
                  </a:lnTo>
                  <a:lnTo>
                    <a:pt x="132" y="84"/>
                  </a:lnTo>
                  <a:lnTo>
                    <a:pt x="140" y="82"/>
                  </a:lnTo>
                  <a:lnTo>
                    <a:pt x="148" y="82"/>
                  </a:lnTo>
                  <a:lnTo>
                    <a:pt x="148" y="82"/>
                  </a:lnTo>
                  <a:lnTo>
                    <a:pt x="160" y="84"/>
                  </a:lnTo>
                  <a:lnTo>
                    <a:pt x="170" y="88"/>
                  </a:lnTo>
                  <a:lnTo>
                    <a:pt x="178" y="96"/>
                  </a:lnTo>
                  <a:lnTo>
                    <a:pt x="184" y="106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2" y="76"/>
                  </a:lnTo>
                  <a:lnTo>
                    <a:pt x="200" y="72"/>
                  </a:lnTo>
                  <a:lnTo>
                    <a:pt x="200" y="72"/>
                  </a:lnTo>
                  <a:lnTo>
                    <a:pt x="200" y="68"/>
                  </a:lnTo>
                  <a:lnTo>
                    <a:pt x="196" y="66"/>
                  </a:lnTo>
                  <a:lnTo>
                    <a:pt x="184" y="58"/>
                  </a:lnTo>
                  <a:lnTo>
                    <a:pt x="196" y="40"/>
                  </a:lnTo>
                  <a:lnTo>
                    <a:pt x="206" y="46"/>
                  </a:lnTo>
                  <a:lnTo>
                    <a:pt x="216" y="30"/>
                  </a:lnTo>
                  <a:lnTo>
                    <a:pt x="166" y="0"/>
                  </a:lnTo>
                  <a:lnTo>
                    <a:pt x="156" y="16"/>
                  </a:lnTo>
                  <a:lnTo>
                    <a:pt x="168" y="24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2" y="34"/>
                  </a:lnTo>
                  <a:lnTo>
                    <a:pt x="138" y="34"/>
                  </a:lnTo>
                  <a:lnTo>
                    <a:pt x="134" y="36"/>
                  </a:lnTo>
                  <a:lnTo>
                    <a:pt x="132" y="40"/>
                  </a:lnTo>
                  <a:lnTo>
                    <a:pt x="42" y="194"/>
                  </a:lnTo>
                  <a:lnTo>
                    <a:pt x="42" y="194"/>
                  </a:lnTo>
                  <a:lnTo>
                    <a:pt x="40" y="198"/>
                  </a:lnTo>
                  <a:lnTo>
                    <a:pt x="42" y="202"/>
                  </a:lnTo>
                  <a:lnTo>
                    <a:pt x="42" y="202"/>
                  </a:lnTo>
                  <a:lnTo>
                    <a:pt x="42" y="204"/>
                  </a:lnTo>
                  <a:lnTo>
                    <a:pt x="46" y="208"/>
                  </a:lnTo>
                  <a:lnTo>
                    <a:pt x="46" y="20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4" name="Gruppe 3"/>
          <p:cNvGrpSpPr/>
          <p:nvPr/>
        </p:nvGrpSpPr>
        <p:grpSpPr>
          <a:xfrm>
            <a:off x="15515808" y="7691194"/>
            <a:ext cx="1080000" cy="1080000"/>
            <a:chOff x="15477775" y="6318000"/>
            <a:chExt cx="1080000" cy="1080000"/>
          </a:xfrm>
        </p:grpSpPr>
        <p:sp>
          <p:nvSpPr>
            <p:cNvPr id="58" name="Oval 57"/>
            <p:cNvSpPr/>
            <p:nvPr/>
          </p:nvSpPr>
          <p:spPr bwMode="ltGray">
            <a:xfrm>
              <a:off x="15477775" y="631800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90" name="Freeform 4915"/>
            <p:cNvSpPr>
              <a:spLocks noEditPoints="1"/>
            </p:cNvSpPr>
            <p:nvPr/>
          </p:nvSpPr>
          <p:spPr bwMode="auto">
            <a:xfrm>
              <a:off x="15627642" y="6571169"/>
              <a:ext cx="790755" cy="680218"/>
            </a:xfrm>
            <a:custGeom>
              <a:avLst/>
              <a:gdLst>
                <a:gd name="T0" fmla="*/ 160 w 372"/>
                <a:gd name="T1" fmla="*/ 242 h 320"/>
                <a:gd name="T2" fmla="*/ 166 w 372"/>
                <a:gd name="T3" fmla="*/ 226 h 320"/>
                <a:gd name="T4" fmla="*/ 210 w 372"/>
                <a:gd name="T5" fmla="*/ 228 h 320"/>
                <a:gd name="T6" fmla="*/ 210 w 372"/>
                <a:gd name="T7" fmla="*/ 246 h 320"/>
                <a:gd name="T8" fmla="*/ 98 w 372"/>
                <a:gd name="T9" fmla="*/ 320 h 320"/>
                <a:gd name="T10" fmla="*/ 372 w 372"/>
                <a:gd name="T11" fmla="*/ 54 h 320"/>
                <a:gd name="T12" fmla="*/ 356 w 372"/>
                <a:gd name="T13" fmla="*/ 92 h 320"/>
                <a:gd name="T14" fmla="*/ 308 w 372"/>
                <a:gd name="T15" fmla="*/ 118 h 320"/>
                <a:gd name="T16" fmla="*/ 266 w 372"/>
                <a:gd name="T17" fmla="*/ 144 h 320"/>
                <a:gd name="T18" fmla="*/ 280 w 372"/>
                <a:gd name="T19" fmla="*/ 154 h 320"/>
                <a:gd name="T20" fmla="*/ 292 w 372"/>
                <a:gd name="T21" fmla="*/ 158 h 320"/>
                <a:gd name="T22" fmla="*/ 288 w 372"/>
                <a:gd name="T23" fmla="*/ 170 h 320"/>
                <a:gd name="T24" fmla="*/ 266 w 372"/>
                <a:gd name="T25" fmla="*/ 172 h 320"/>
                <a:gd name="T26" fmla="*/ 240 w 372"/>
                <a:gd name="T27" fmla="*/ 184 h 320"/>
                <a:gd name="T28" fmla="*/ 196 w 372"/>
                <a:gd name="T29" fmla="*/ 212 h 320"/>
                <a:gd name="T30" fmla="*/ 158 w 372"/>
                <a:gd name="T31" fmla="*/ 206 h 320"/>
                <a:gd name="T32" fmla="*/ 118 w 372"/>
                <a:gd name="T33" fmla="*/ 162 h 320"/>
                <a:gd name="T34" fmla="*/ 98 w 372"/>
                <a:gd name="T35" fmla="*/ 172 h 320"/>
                <a:gd name="T36" fmla="*/ 80 w 372"/>
                <a:gd name="T37" fmla="*/ 164 h 320"/>
                <a:gd name="T38" fmla="*/ 84 w 372"/>
                <a:gd name="T39" fmla="*/ 154 h 320"/>
                <a:gd name="T40" fmla="*/ 104 w 372"/>
                <a:gd name="T41" fmla="*/ 154 h 320"/>
                <a:gd name="T42" fmla="*/ 104 w 372"/>
                <a:gd name="T43" fmla="*/ 140 h 320"/>
                <a:gd name="T44" fmla="*/ 42 w 372"/>
                <a:gd name="T45" fmla="*/ 110 h 320"/>
                <a:gd name="T46" fmla="*/ 4 w 372"/>
                <a:gd name="T47" fmla="*/ 78 h 320"/>
                <a:gd name="T48" fmla="*/ 0 w 372"/>
                <a:gd name="T49" fmla="*/ 46 h 320"/>
                <a:gd name="T50" fmla="*/ 24 w 372"/>
                <a:gd name="T51" fmla="*/ 18 h 320"/>
                <a:gd name="T52" fmla="*/ 66 w 372"/>
                <a:gd name="T53" fmla="*/ 24 h 320"/>
                <a:gd name="T54" fmla="*/ 292 w 372"/>
                <a:gd name="T55" fmla="*/ 0 h 320"/>
                <a:gd name="T56" fmla="*/ 306 w 372"/>
                <a:gd name="T57" fmla="*/ 24 h 320"/>
                <a:gd name="T58" fmla="*/ 348 w 372"/>
                <a:gd name="T59" fmla="*/ 18 h 320"/>
                <a:gd name="T60" fmla="*/ 372 w 372"/>
                <a:gd name="T61" fmla="*/ 46 h 320"/>
                <a:gd name="T62" fmla="*/ 88 w 372"/>
                <a:gd name="T63" fmla="*/ 86 h 320"/>
                <a:gd name="T64" fmla="*/ 74 w 372"/>
                <a:gd name="T65" fmla="*/ 80 h 320"/>
                <a:gd name="T66" fmla="*/ 62 w 372"/>
                <a:gd name="T67" fmla="*/ 80 h 320"/>
                <a:gd name="T68" fmla="*/ 62 w 372"/>
                <a:gd name="T69" fmla="*/ 68 h 320"/>
                <a:gd name="T70" fmla="*/ 60 w 372"/>
                <a:gd name="T71" fmla="*/ 38 h 320"/>
                <a:gd name="T72" fmla="*/ 22 w 372"/>
                <a:gd name="T73" fmla="*/ 38 h 320"/>
                <a:gd name="T74" fmla="*/ 20 w 372"/>
                <a:gd name="T75" fmla="*/ 74 h 320"/>
                <a:gd name="T76" fmla="*/ 70 w 372"/>
                <a:gd name="T77" fmla="*/ 104 h 320"/>
                <a:gd name="T78" fmla="*/ 272 w 372"/>
                <a:gd name="T79" fmla="*/ 26 h 320"/>
                <a:gd name="T80" fmla="*/ 234 w 372"/>
                <a:gd name="T81" fmla="*/ 20 h 320"/>
                <a:gd name="T82" fmla="*/ 226 w 372"/>
                <a:gd name="T83" fmla="*/ 28 h 320"/>
                <a:gd name="T84" fmla="*/ 234 w 372"/>
                <a:gd name="T85" fmla="*/ 36 h 320"/>
                <a:gd name="T86" fmla="*/ 240 w 372"/>
                <a:gd name="T87" fmla="*/ 112 h 320"/>
                <a:gd name="T88" fmla="*/ 192 w 372"/>
                <a:gd name="T89" fmla="*/ 176 h 320"/>
                <a:gd name="T90" fmla="*/ 186 w 372"/>
                <a:gd name="T91" fmla="*/ 186 h 320"/>
                <a:gd name="T92" fmla="*/ 196 w 372"/>
                <a:gd name="T93" fmla="*/ 192 h 320"/>
                <a:gd name="T94" fmla="*/ 236 w 372"/>
                <a:gd name="T95" fmla="*/ 158 h 320"/>
                <a:gd name="T96" fmla="*/ 272 w 372"/>
                <a:gd name="T97" fmla="*/ 28 h 320"/>
                <a:gd name="T98" fmla="*/ 350 w 372"/>
                <a:gd name="T99" fmla="*/ 38 h 320"/>
                <a:gd name="T100" fmla="*/ 312 w 372"/>
                <a:gd name="T101" fmla="*/ 38 h 320"/>
                <a:gd name="T102" fmla="*/ 310 w 372"/>
                <a:gd name="T103" fmla="*/ 68 h 320"/>
                <a:gd name="T104" fmla="*/ 310 w 372"/>
                <a:gd name="T105" fmla="*/ 80 h 320"/>
                <a:gd name="T106" fmla="*/ 298 w 372"/>
                <a:gd name="T107" fmla="*/ 80 h 320"/>
                <a:gd name="T108" fmla="*/ 284 w 372"/>
                <a:gd name="T109" fmla="*/ 86 h 320"/>
                <a:gd name="T110" fmla="*/ 322 w 372"/>
                <a:gd name="T111" fmla="*/ 96 h 320"/>
                <a:gd name="T112" fmla="*/ 356 w 372"/>
                <a:gd name="T113" fmla="*/ 5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2" h="320">
                  <a:moveTo>
                    <a:pt x="170" y="250"/>
                  </a:moveTo>
                  <a:lnTo>
                    <a:pt x="170" y="250"/>
                  </a:lnTo>
                  <a:lnTo>
                    <a:pt x="166" y="248"/>
                  </a:lnTo>
                  <a:lnTo>
                    <a:pt x="162" y="246"/>
                  </a:lnTo>
                  <a:lnTo>
                    <a:pt x="160" y="242"/>
                  </a:lnTo>
                  <a:lnTo>
                    <a:pt x="158" y="238"/>
                  </a:lnTo>
                  <a:lnTo>
                    <a:pt x="158" y="238"/>
                  </a:lnTo>
                  <a:lnTo>
                    <a:pt x="160" y="232"/>
                  </a:lnTo>
                  <a:lnTo>
                    <a:pt x="162" y="228"/>
                  </a:lnTo>
                  <a:lnTo>
                    <a:pt x="166" y="226"/>
                  </a:lnTo>
                  <a:lnTo>
                    <a:pt x="170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6" y="226"/>
                  </a:lnTo>
                  <a:lnTo>
                    <a:pt x="210" y="228"/>
                  </a:lnTo>
                  <a:lnTo>
                    <a:pt x="212" y="232"/>
                  </a:lnTo>
                  <a:lnTo>
                    <a:pt x="214" y="238"/>
                  </a:lnTo>
                  <a:lnTo>
                    <a:pt x="214" y="238"/>
                  </a:lnTo>
                  <a:lnTo>
                    <a:pt x="212" y="242"/>
                  </a:lnTo>
                  <a:lnTo>
                    <a:pt x="210" y="246"/>
                  </a:lnTo>
                  <a:lnTo>
                    <a:pt x="206" y="248"/>
                  </a:lnTo>
                  <a:lnTo>
                    <a:pt x="202" y="250"/>
                  </a:lnTo>
                  <a:lnTo>
                    <a:pt x="170" y="250"/>
                  </a:lnTo>
                  <a:close/>
                  <a:moveTo>
                    <a:pt x="130" y="264"/>
                  </a:moveTo>
                  <a:lnTo>
                    <a:pt x="98" y="320"/>
                  </a:lnTo>
                  <a:lnTo>
                    <a:pt x="274" y="320"/>
                  </a:lnTo>
                  <a:lnTo>
                    <a:pt x="242" y="264"/>
                  </a:lnTo>
                  <a:lnTo>
                    <a:pt x="130" y="264"/>
                  </a:lnTo>
                  <a:close/>
                  <a:moveTo>
                    <a:pt x="372" y="54"/>
                  </a:moveTo>
                  <a:lnTo>
                    <a:pt x="372" y="54"/>
                  </a:lnTo>
                  <a:lnTo>
                    <a:pt x="372" y="64"/>
                  </a:lnTo>
                  <a:lnTo>
                    <a:pt x="370" y="72"/>
                  </a:lnTo>
                  <a:lnTo>
                    <a:pt x="368" y="78"/>
                  </a:lnTo>
                  <a:lnTo>
                    <a:pt x="362" y="86"/>
                  </a:lnTo>
                  <a:lnTo>
                    <a:pt x="356" y="92"/>
                  </a:lnTo>
                  <a:lnTo>
                    <a:pt x="350" y="98"/>
                  </a:lnTo>
                  <a:lnTo>
                    <a:pt x="330" y="110"/>
                  </a:lnTo>
                  <a:lnTo>
                    <a:pt x="330" y="110"/>
                  </a:lnTo>
                  <a:lnTo>
                    <a:pt x="308" y="118"/>
                  </a:lnTo>
                  <a:lnTo>
                    <a:pt x="308" y="118"/>
                  </a:lnTo>
                  <a:lnTo>
                    <a:pt x="282" y="130"/>
                  </a:lnTo>
                  <a:lnTo>
                    <a:pt x="272" y="136"/>
                  </a:lnTo>
                  <a:lnTo>
                    <a:pt x="268" y="140"/>
                  </a:lnTo>
                  <a:lnTo>
                    <a:pt x="266" y="144"/>
                  </a:lnTo>
                  <a:lnTo>
                    <a:pt x="266" y="144"/>
                  </a:lnTo>
                  <a:lnTo>
                    <a:pt x="266" y="150"/>
                  </a:lnTo>
                  <a:lnTo>
                    <a:pt x="268" y="154"/>
                  </a:lnTo>
                  <a:lnTo>
                    <a:pt x="268" y="154"/>
                  </a:lnTo>
                  <a:lnTo>
                    <a:pt x="274" y="156"/>
                  </a:lnTo>
                  <a:lnTo>
                    <a:pt x="280" y="154"/>
                  </a:lnTo>
                  <a:lnTo>
                    <a:pt x="280" y="154"/>
                  </a:lnTo>
                  <a:lnTo>
                    <a:pt x="284" y="154"/>
                  </a:lnTo>
                  <a:lnTo>
                    <a:pt x="288" y="154"/>
                  </a:lnTo>
                  <a:lnTo>
                    <a:pt x="290" y="156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2" y="162"/>
                  </a:lnTo>
                  <a:lnTo>
                    <a:pt x="292" y="164"/>
                  </a:lnTo>
                  <a:lnTo>
                    <a:pt x="290" y="168"/>
                  </a:lnTo>
                  <a:lnTo>
                    <a:pt x="288" y="170"/>
                  </a:lnTo>
                  <a:lnTo>
                    <a:pt x="288" y="170"/>
                  </a:lnTo>
                  <a:lnTo>
                    <a:pt x="282" y="172"/>
                  </a:lnTo>
                  <a:lnTo>
                    <a:pt x="274" y="172"/>
                  </a:lnTo>
                  <a:lnTo>
                    <a:pt x="274" y="172"/>
                  </a:lnTo>
                  <a:lnTo>
                    <a:pt x="266" y="172"/>
                  </a:lnTo>
                  <a:lnTo>
                    <a:pt x="258" y="166"/>
                  </a:lnTo>
                  <a:lnTo>
                    <a:pt x="258" y="166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40" y="184"/>
                  </a:lnTo>
                  <a:lnTo>
                    <a:pt x="232" y="192"/>
                  </a:lnTo>
                  <a:lnTo>
                    <a:pt x="224" y="200"/>
                  </a:lnTo>
                  <a:lnTo>
                    <a:pt x="214" y="206"/>
                  </a:lnTo>
                  <a:lnTo>
                    <a:pt x="206" y="210"/>
                  </a:lnTo>
                  <a:lnTo>
                    <a:pt x="196" y="212"/>
                  </a:lnTo>
                  <a:lnTo>
                    <a:pt x="186" y="212"/>
                  </a:lnTo>
                  <a:lnTo>
                    <a:pt x="186" y="212"/>
                  </a:lnTo>
                  <a:lnTo>
                    <a:pt x="176" y="212"/>
                  </a:lnTo>
                  <a:lnTo>
                    <a:pt x="166" y="210"/>
                  </a:lnTo>
                  <a:lnTo>
                    <a:pt x="158" y="206"/>
                  </a:lnTo>
                  <a:lnTo>
                    <a:pt x="148" y="200"/>
                  </a:lnTo>
                  <a:lnTo>
                    <a:pt x="140" y="192"/>
                  </a:lnTo>
                  <a:lnTo>
                    <a:pt x="132" y="184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6"/>
                  </a:lnTo>
                  <a:lnTo>
                    <a:pt x="114" y="166"/>
                  </a:lnTo>
                  <a:lnTo>
                    <a:pt x="106" y="172"/>
                  </a:lnTo>
                  <a:lnTo>
                    <a:pt x="98" y="172"/>
                  </a:lnTo>
                  <a:lnTo>
                    <a:pt x="98" y="172"/>
                  </a:lnTo>
                  <a:lnTo>
                    <a:pt x="90" y="172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2" y="168"/>
                  </a:lnTo>
                  <a:lnTo>
                    <a:pt x="80" y="164"/>
                  </a:lnTo>
                  <a:lnTo>
                    <a:pt x="80" y="162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2" y="156"/>
                  </a:lnTo>
                  <a:lnTo>
                    <a:pt x="84" y="154"/>
                  </a:lnTo>
                  <a:lnTo>
                    <a:pt x="88" y="154"/>
                  </a:lnTo>
                  <a:lnTo>
                    <a:pt x="92" y="154"/>
                  </a:lnTo>
                  <a:lnTo>
                    <a:pt x="92" y="154"/>
                  </a:lnTo>
                  <a:lnTo>
                    <a:pt x="98" y="156"/>
                  </a:lnTo>
                  <a:lnTo>
                    <a:pt x="104" y="154"/>
                  </a:lnTo>
                  <a:lnTo>
                    <a:pt x="104" y="154"/>
                  </a:lnTo>
                  <a:lnTo>
                    <a:pt x="106" y="150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4" y="140"/>
                  </a:lnTo>
                  <a:lnTo>
                    <a:pt x="100" y="136"/>
                  </a:lnTo>
                  <a:lnTo>
                    <a:pt x="90" y="130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22" y="98"/>
                  </a:lnTo>
                  <a:lnTo>
                    <a:pt x="16" y="92"/>
                  </a:lnTo>
                  <a:lnTo>
                    <a:pt x="10" y="86"/>
                  </a:lnTo>
                  <a:lnTo>
                    <a:pt x="4" y="78"/>
                  </a:lnTo>
                  <a:lnTo>
                    <a:pt x="2" y="72"/>
                  </a:lnTo>
                  <a:lnTo>
                    <a:pt x="0" y="6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46"/>
                  </a:lnTo>
                  <a:lnTo>
                    <a:pt x="2" y="40"/>
                  </a:lnTo>
                  <a:lnTo>
                    <a:pt x="6" y="32"/>
                  </a:lnTo>
                  <a:lnTo>
                    <a:pt x="12" y="26"/>
                  </a:lnTo>
                  <a:lnTo>
                    <a:pt x="18" y="22"/>
                  </a:lnTo>
                  <a:lnTo>
                    <a:pt x="24" y="18"/>
                  </a:lnTo>
                  <a:lnTo>
                    <a:pt x="32" y="16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54" y="18"/>
                  </a:lnTo>
                  <a:lnTo>
                    <a:pt x="66" y="24"/>
                  </a:lnTo>
                  <a:lnTo>
                    <a:pt x="76" y="32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0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90" y="44"/>
                  </a:lnTo>
                  <a:lnTo>
                    <a:pt x="290" y="44"/>
                  </a:lnTo>
                  <a:lnTo>
                    <a:pt x="296" y="32"/>
                  </a:lnTo>
                  <a:lnTo>
                    <a:pt x="306" y="24"/>
                  </a:lnTo>
                  <a:lnTo>
                    <a:pt x="318" y="18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40" y="16"/>
                  </a:lnTo>
                  <a:lnTo>
                    <a:pt x="348" y="18"/>
                  </a:lnTo>
                  <a:lnTo>
                    <a:pt x="354" y="22"/>
                  </a:lnTo>
                  <a:lnTo>
                    <a:pt x="360" y="26"/>
                  </a:lnTo>
                  <a:lnTo>
                    <a:pt x="366" y="32"/>
                  </a:lnTo>
                  <a:lnTo>
                    <a:pt x="370" y="40"/>
                  </a:lnTo>
                  <a:lnTo>
                    <a:pt x="372" y="46"/>
                  </a:lnTo>
                  <a:lnTo>
                    <a:pt x="372" y="54"/>
                  </a:lnTo>
                  <a:lnTo>
                    <a:pt x="372" y="54"/>
                  </a:lnTo>
                  <a:close/>
                  <a:moveTo>
                    <a:pt x="96" y="114"/>
                  </a:moveTo>
                  <a:lnTo>
                    <a:pt x="96" y="114"/>
                  </a:lnTo>
                  <a:lnTo>
                    <a:pt x="88" y="8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0" y="68"/>
                  </a:lnTo>
                  <a:lnTo>
                    <a:pt x="74" y="80"/>
                  </a:lnTo>
                  <a:lnTo>
                    <a:pt x="74" y="80"/>
                  </a:lnTo>
                  <a:lnTo>
                    <a:pt x="72" y="82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2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6" y="62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0" y="38"/>
                  </a:lnTo>
                  <a:lnTo>
                    <a:pt x="52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2" y="32"/>
                  </a:lnTo>
                  <a:lnTo>
                    <a:pt x="22" y="38"/>
                  </a:lnTo>
                  <a:lnTo>
                    <a:pt x="18" y="4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64"/>
                  </a:lnTo>
                  <a:lnTo>
                    <a:pt x="20" y="74"/>
                  </a:lnTo>
                  <a:lnTo>
                    <a:pt x="32" y="84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70" y="104"/>
                  </a:lnTo>
                  <a:lnTo>
                    <a:pt x="70" y="104"/>
                  </a:lnTo>
                  <a:lnTo>
                    <a:pt x="96" y="114"/>
                  </a:lnTo>
                  <a:lnTo>
                    <a:pt x="96" y="114"/>
                  </a:lnTo>
                  <a:close/>
                  <a:moveTo>
                    <a:pt x="272" y="28"/>
                  </a:moveTo>
                  <a:lnTo>
                    <a:pt x="272" y="28"/>
                  </a:lnTo>
                  <a:lnTo>
                    <a:pt x="272" y="26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68" y="20"/>
                  </a:lnTo>
                  <a:lnTo>
                    <a:pt x="264" y="20"/>
                  </a:lnTo>
                  <a:lnTo>
                    <a:pt x="234" y="20"/>
                  </a:lnTo>
                  <a:lnTo>
                    <a:pt x="234" y="20"/>
                  </a:lnTo>
                  <a:lnTo>
                    <a:pt x="230" y="20"/>
                  </a:lnTo>
                  <a:lnTo>
                    <a:pt x="228" y="22"/>
                  </a:lnTo>
                  <a:lnTo>
                    <a:pt x="226" y="24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26" y="32"/>
                  </a:lnTo>
                  <a:lnTo>
                    <a:pt x="228" y="34"/>
                  </a:lnTo>
                  <a:lnTo>
                    <a:pt x="230" y="36"/>
                  </a:lnTo>
                  <a:lnTo>
                    <a:pt x="234" y="36"/>
                  </a:lnTo>
                  <a:lnTo>
                    <a:pt x="256" y="36"/>
                  </a:lnTo>
                  <a:lnTo>
                    <a:pt x="256" y="36"/>
                  </a:lnTo>
                  <a:lnTo>
                    <a:pt x="252" y="64"/>
                  </a:lnTo>
                  <a:lnTo>
                    <a:pt x="246" y="90"/>
                  </a:lnTo>
                  <a:lnTo>
                    <a:pt x="240" y="112"/>
                  </a:lnTo>
                  <a:lnTo>
                    <a:pt x="232" y="132"/>
                  </a:lnTo>
                  <a:lnTo>
                    <a:pt x="222" y="150"/>
                  </a:lnTo>
                  <a:lnTo>
                    <a:pt x="212" y="162"/>
                  </a:lnTo>
                  <a:lnTo>
                    <a:pt x="202" y="172"/>
                  </a:lnTo>
                  <a:lnTo>
                    <a:pt x="192" y="176"/>
                  </a:lnTo>
                  <a:lnTo>
                    <a:pt x="192" y="176"/>
                  </a:lnTo>
                  <a:lnTo>
                    <a:pt x="190" y="178"/>
                  </a:lnTo>
                  <a:lnTo>
                    <a:pt x="188" y="180"/>
                  </a:lnTo>
                  <a:lnTo>
                    <a:pt x="186" y="184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90" y="190"/>
                  </a:lnTo>
                  <a:lnTo>
                    <a:pt x="194" y="192"/>
                  </a:lnTo>
                  <a:lnTo>
                    <a:pt x="194" y="192"/>
                  </a:lnTo>
                  <a:lnTo>
                    <a:pt x="196" y="192"/>
                  </a:lnTo>
                  <a:lnTo>
                    <a:pt x="196" y="192"/>
                  </a:lnTo>
                  <a:lnTo>
                    <a:pt x="204" y="190"/>
                  </a:lnTo>
                  <a:lnTo>
                    <a:pt x="210" y="186"/>
                  </a:lnTo>
                  <a:lnTo>
                    <a:pt x="224" y="174"/>
                  </a:lnTo>
                  <a:lnTo>
                    <a:pt x="236" y="158"/>
                  </a:lnTo>
                  <a:lnTo>
                    <a:pt x="248" y="138"/>
                  </a:lnTo>
                  <a:lnTo>
                    <a:pt x="256" y="114"/>
                  </a:lnTo>
                  <a:lnTo>
                    <a:pt x="264" y="88"/>
                  </a:lnTo>
                  <a:lnTo>
                    <a:pt x="270" y="58"/>
                  </a:lnTo>
                  <a:lnTo>
                    <a:pt x="272" y="28"/>
                  </a:lnTo>
                  <a:lnTo>
                    <a:pt x="272" y="28"/>
                  </a:lnTo>
                  <a:close/>
                  <a:moveTo>
                    <a:pt x="356" y="54"/>
                  </a:moveTo>
                  <a:lnTo>
                    <a:pt x="356" y="54"/>
                  </a:lnTo>
                  <a:lnTo>
                    <a:pt x="354" y="46"/>
                  </a:lnTo>
                  <a:lnTo>
                    <a:pt x="350" y="38"/>
                  </a:lnTo>
                  <a:lnTo>
                    <a:pt x="340" y="32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0" y="32"/>
                  </a:lnTo>
                  <a:lnTo>
                    <a:pt x="312" y="38"/>
                  </a:lnTo>
                  <a:lnTo>
                    <a:pt x="308" y="46"/>
                  </a:lnTo>
                  <a:lnTo>
                    <a:pt x="306" y="54"/>
                  </a:lnTo>
                  <a:lnTo>
                    <a:pt x="306" y="54"/>
                  </a:lnTo>
                  <a:lnTo>
                    <a:pt x="306" y="62"/>
                  </a:lnTo>
                  <a:lnTo>
                    <a:pt x="310" y="68"/>
                  </a:lnTo>
                  <a:lnTo>
                    <a:pt x="310" y="68"/>
                  </a:lnTo>
                  <a:lnTo>
                    <a:pt x="312" y="72"/>
                  </a:lnTo>
                  <a:lnTo>
                    <a:pt x="312" y="74"/>
                  </a:lnTo>
                  <a:lnTo>
                    <a:pt x="312" y="78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6" y="82"/>
                  </a:lnTo>
                  <a:lnTo>
                    <a:pt x="304" y="82"/>
                  </a:lnTo>
                  <a:lnTo>
                    <a:pt x="300" y="82"/>
                  </a:lnTo>
                  <a:lnTo>
                    <a:pt x="298" y="80"/>
                  </a:lnTo>
                  <a:lnTo>
                    <a:pt x="298" y="80"/>
                  </a:lnTo>
                  <a:lnTo>
                    <a:pt x="292" y="68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4" y="86"/>
                  </a:lnTo>
                  <a:lnTo>
                    <a:pt x="276" y="114"/>
                  </a:lnTo>
                  <a:lnTo>
                    <a:pt x="276" y="114"/>
                  </a:lnTo>
                  <a:lnTo>
                    <a:pt x="302" y="104"/>
                  </a:lnTo>
                  <a:lnTo>
                    <a:pt x="302" y="104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40" y="84"/>
                  </a:lnTo>
                  <a:lnTo>
                    <a:pt x="352" y="74"/>
                  </a:lnTo>
                  <a:lnTo>
                    <a:pt x="356" y="64"/>
                  </a:lnTo>
                  <a:lnTo>
                    <a:pt x="356" y="54"/>
                  </a:lnTo>
                  <a:lnTo>
                    <a:pt x="356" y="5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3" tIns="45712" rIns="91423" bIns="4571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" name="Gruppe 1"/>
          <p:cNvGrpSpPr/>
          <p:nvPr/>
        </p:nvGrpSpPr>
        <p:grpSpPr>
          <a:xfrm>
            <a:off x="7738268" y="6259233"/>
            <a:ext cx="1080000" cy="1080000"/>
            <a:chOff x="7674777" y="6321790"/>
            <a:chExt cx="1080000" cy="1080000"/>
          </a:xfrm>
        </p:grpSpPr>
        <p:sp>
          <p:nvSpPr>
            <p:cNvPr id="42" name="Oval 41"/>
            <p:cNvSpPr/>
            <p:nvPr/>
          </p:nvSpPr>
          <p:spPr bwMode="ltGray">
            <a:xfrm>
              <a:off x="7674777" y="632179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3" tIns="45712" rIns="91423" bIns="45712"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91" name="Freeform 4803"/>
            <p:cNvSpPr>
              <a:spLocks noEditPoints="1"/>
            </p:cNvSpPr>
            <p:nvPr/>
          </p:nvSpPr>
          <p:spPr bwMode="auto">
            <a:xfrm>
              <a:off x="7825527" y="6580300"/>
              <a:ext cx="772158" cy="549524"/>
            </a:xfrm>
            <a:custGeom>
              <a:avLst/>
              <a:gdLst>
                <a:gd name="T0" fmla="*/ 372 w 376"/>
                <a:gd name="T1" fmla="*/ 98 h 274"/>
                <a:gd name="T2" fmla="*/ 344 w 376"/>
                <a:gd name="T3" fmla="*/ 74 h 274"/>
                <a:gd name="T4" fmla="*/ 334 w 376"/>
                <a:gd name="T5" fmla="*/ 68 h 274"/>
                <a:gd name="T6" fmla="*/ 254 w 376"/>
                <a:gd name="T7" fmla="*/ 80 h 274"/>
                <a:gd name="T8" fmla="*/ 210 w 376"/>
                <a:gd name="T9" fmla="*/ 68 h 274"/>
                <a:gd name="T10" fmla="*/ 6 w 376"/>
                <a:gd name="T11" fmla="*/ 136 h 274"/>
                <a:gd name="T12" fmla="*/ 4 w 376"/>
                <a:gd name="T13" fmla="*/ 170 h 274"/>
                <a:gd name="T14" fmla="*/ 30 w 376"/>
                <a:gd name="T15" fmla="*/ 194 h 274"/>
                <a:gd name="T16" fmla="*/ 4 w 376"/>
                <a:gd name="T17" fmla="*/ 220 h 274"/>
                <a:gd name="T18" fmla="*/ 198 w 376"/>
                <a:gd name="T19" fmla="*/ 250 h 274"/>
                <a:gd name="T20" fmla="*/ 272 w 376"/>
                <a:gd name="T21" fmla="*/ 274 h 274"/>
                <a:gd name="T22" fmla="*/ 346 w 376"/>
                <a:gd name="T23" fmla="*/ 246 h 274"/>
                <a:gd name="T24" fmla="*/ 322 w 376"/>
                <a:gd name="T25" fmla="*/ 252 h 274"/>
                <a:gd name="T26" fmla="*/ 220 w 376"/>
                <a:gd name="T27" fmla="*/ 252 h 274"/>
                <a:gd name="T28" fmla="*/ 196 w 376"/>
                <a:gd name="T29" fmla="*/ 232 h 274"/>
                <a:gd name="T30" fmla="*/ 148 w 376"/>
                <a:gd name="T31" fmla="*/ 234 h 274"/>
                <a:gd name="T32" fmla="*/ 200 w 376"/>
                <a:gd name="T33" fmla="*/ 220 h 274"/>
                <a:gd name="T34" fmla="*/ 300 w 376"/>
                <a:gd name="T35" fmla="*/ 236 h 274"/>
                <a:gd name="T36" fmla="*/ 346 w 376"/>
                <a:gd name="T37" fmla="*/ 196 h 274"/>
                <a:gd name="T38" fmla="*/ 308 w 376"/>
                <a:gd name="T39" fmla="*/ 220 h 274"/>
                <a:gd name="T40" fmla="*/ 210 w 376"/>
                <a:gd name="T41" fmla="*/ 210 h 274"/>
                <a:gd name="T42" fmla="*/ 196 w 376"/>
                <a:gd name="T43" fmla="*/ 196 h 274"/>
                <a:gd name="T44" fmla="*/ 150 w 376"/>
                <a:gd name="T45" fmla="*/ 200 h 274"/>
                <a:gd name="T46" fmla="*/ 202 w 376"/>
                <a:gd name="T47" fmla="*/ 184 h 274"/>
                <a:gd name="T48" fmla="*/ 318 w 376"/>
                <a:gd name="T49" fmla="*/ 196 h 274"/>
                <a:gd name="T50" fmla="*/ 374 w 376"/>
                <a:gd name="T51" fmla="*/ 162 h 274"/>
                <a:gd name="T52" fmla="*/ 374 w 376"/>
                <a:gd name="T53" fmla="*/ 130 h 274"/>
                <a:gd name="T54" fmla="*/ 248 w 376"/>
                <a:gd name="T55" fmla="*/ 94 h 274"/>
                <a:gd name="T56" fmla="*/ 342 w 376"/>
                <a:gd name="T57" fmla="*/ 78 h 274"/>
                <a:gd name="T58" fmla="*/ 334 w 376"/>
                <a:gd name="T59" fmla="*/ 104 h 274"/>
                <a:gd name="T60" fmla="*/ 238 w 376"/>
                <a:gd name="T61" fmla="*/ 114 h 274"/>
                <a:gd name="T62" fmla="*/ 200 w 376"/>
                <a:gd name="T63" fmla="*/ 96 h 274"/>
                <a:gd name="T64" fmla="*/ 202 w 376"/>
                <a:gd name="T65" fmla="*/ 114 h 274"/>
                <a:gd name="T66" fmla="*/ 294 w 376"/>
                <a:gd name="T67" fmla="*/ 130 h 274"/>
                <a:gd name="T68" fmla="*/ 346 w 376"/>
                <a:gd name="T69" fmla="*/ 124 h 274"/>
                <a:gd name="T70" fmla="*/ 338 w 376"/>
                <a:gd name="T71" fmla="*/ 136 h 274"/>
                <a:gd name="T72" fmla="*/ 272 w 376"/>
                <a:gd name="T73" fmla="*/ 152 h 274"/>
                <a:gd name="T74" fmla="*/ 214 w 376"/>
                <a:gd name="T75" fmla="*/ 142 h 274"/>
                <a:gd name="T76" fmla="*/ 198 w 376"/>
                <a:gd name="T77" fmla="*/ 118 h 274"/>
                <a:gd name="T78" fmla="*/ 134 w 376"/>
                <a:gd name="T79" fmla="*/ 150 h 274"/>
                <a:gd name="T80" fmla="*/ 100 w 376"/>
                <a:gd name="T81" fmla="*/ 136 h 274"/>
                <a:gd name="T82" fmla="*/ 158 w 376"/>
                <a:gd name="T83" fmla="*/ 128 h 274"/>
                <a:gd name="T84" fmla="*/ 162 w 376"/>
                <a:gd name="T85" fmla="*/ 144 h 274"/>
                <a:gd name="T86" fmla="*/ 346 w 376"/>
                <a:gd name="T87" fmla="*/ 162 h 274"/>
                <a:gd name="T88" fmla="*/ 342 w 376"/>
                <a:gd name="T89" fmla="*/ 168 h 274"/>
                <a:gd name="T90" fmla="*/ 322 w 376"/>
                <a:gd name="T91" fmla="*/ 180 h 274"/>
                <a:gd name="T92" fmla="*/ 220 w 376"/>
                <a:gd name="T93" fmla="*/ 180 h 274"/>
                <a:gd name="T94" fmla="*/ 200 w 376"/>
                <a:gd name="T95" fmla="*/ 168 h 274"/>
                <a:gd name="T96" fmla="*/ 198 w 376"/>
                <a:gd name="T97" fmla="*/ 154 h 274"/>
                <a:gd name="T98" fmla="*/ 272 w 376"/>
                <a:gd name="T99" fmla="*/ 166 h 274"/>
                <a:gd name="T100" fmla="*/ 346 w 376"/>
                <a:gd name="T101" fmla="*/ 160 h 274"/>
                <a:gd name="T102" fmla="*/ 196 w 376"/>
                <a:gd name="T103" fmla="*/ 28 h 274"/>
                <a:gd name="T104" fmla="*/ 272 w 376"/>
                <a:gd name="T105" fmla="*/ 0 h 274"/>
                <a:gd name="T106" fmla="*/ 344 w 376"/>
                <a:gd name="T107" fmla="*/ 24 h 274"/>
                <a:gd name="T108" fmla="*/ 322 w 376"/>
                <a:gd name="T109" fmla="*/ 50 h 274"/>
                <a:gd name="T110" fmla="*/ 220 w 376"/>
                <a:gd name="T111" fmla="*/ 5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76" h="274">
                  <a:moveTo>
                    <a:pt x="376" y="126"/>
                  </a:moveTo>
                  <a:lnTo>
                    <a:pt x="376" y="126"/>
                  </a:lnTo>
                  <a:lnTo>
                    <a:pt x="374" y="122"/>
                  </a:lnTo>
                  <a:lnTo>
                    <a:pt x="370" y="120"/>
                  </a:lnTo>
                  <a:lnTo>
                    <a:pt x="346" y="110"/>
                  </a:lnTo>
                  <a:lnTo>
                    <a:pt x="372" y="98"/>
                  </a:lnTo>
                  <a:lnTo>
                    <a:pt x="372" y="98"/>
                  </a:lnTo>
                  <a:lnTo>
                    <a:pt x="376" y="96"/>
                  </a:lnTo>
                  <a:lnTo>
                    <a:pt x="376" y="92"/>
                  </a:lnTo>
                  <a:lnTo>
                    <a:pt x="376" y="92"/>
                  </a:lnTo>
                  <a:lnTo>
                    <a:pt x="376" y="86"/>
                  </a:lnTo>
                  <a:lnTo>
                    <a:pt x="372" y="84"/>
                  </a:lnTo>
                  <a:lnTo>
                    <a:pt x="344" y="74"/>
                  </a:lnTo>
                  <a:lnTo>
                    <a:pt x="344" y="74"/>
                  </a:lnTo>
                  <a:lnTo>
                    <a:pt x="346" y="70"/>
                  </a:lnTo>
                  <a:lnTo>
                    <a:pt x="346" y="66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6"/>
                  </a:lnTo>
                  <a:lnTo>
                    <a:pt x="344" y="60"/>
                  </a:lnTo>
                  <a:lnTo>
                    <a:pt x="334" y="68"/>
                  </a:lnTo>
                  <a:lnTo>
                    <a:pt x="334" y="68"/>
                  </a:lnTo>
                  <a:lnTo>
                    <a:pt x="322" y="72"/>
                  </a:lnTo>
                  <a:lnTo>
                    <a:pt x="308" y="76"/>
                  </a:lnTo>
                  <a:lnTo>
                    <a:pt x="290" y="80"/>
                  </a:lnTo>
                  <a:lnTo>
                    <a:pt x="272" y="80"/>
                  </a:lnTo>
                  <a:lnTo>
                    <a:pt x="272" y="80"/>
                  </a:lnTo>
                  <a:lnTo>
                    <a:pt x="254" y="80"/>
                  </a:lnTo>
                  <a:lnTo>
                    <a:pt x="238" y="78"/>
                  </a:lnTo>
                  <a:lnTo>
                    <a:pt x="226" y="74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0" y="68"/>
                  </a:lnTo>
                  <a:lnTo>
                    <a:pt x="210" y="68"/>
                  </a:lnTo>
                  <a:lnTo>
                    <a:pt x="200" y="60"/>
                  </a:lnTo>
                  <a:lnTo>
                    <a:pt x="198" y="56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4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2" y="138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8"/>
                  </a:lnTo>
                  <a:lnTo>
                    <a:pt x="6" y="150"/>
                  </a:lnTo>
                  <a:lnTo>
                    <a:pt x="30" y="158"/>
                  </a:lnTo>
                  <a:lnTo>
                    <a:pt x="4" y="170"/>
                  </a:lnTo>
                  <a:lnTo>
                    <a:pt x="4" y="170"/>
                  </a:lnTo>
                  <a:lnTo>
                    <a:pt x="2" y="174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30" y="194"/>
                  </a:lnTo>
                  <a:lnTo>
                    <a:pt x="4" y="206"/>
                  </a:lnTo>
                  <a:lnTo>
                    <a:pt x="4" y="206"/>
                  </a:lnTo>
                  <a:lnTo>
                    <a:pt x="0" y="208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8"/>
                  </a:lnTo>
                  <a:lnTo>
                    <a:pt x="4" y="22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0" y="270"/>
                  </a:lnTo>
                  <a:lnTo>
                    <a:pt x="150" y="270"/>
                  </a:lnTo>
                  <a:lnTo>
                    <a:pt x="154" y="270"/>
                  </a:lnTo>
                  <a:lnTo>
                    <a:pt x="198" y="250"/>
                  </a:lnTo>
                  <a:lnTo>
                    <a:pt x="198" y="250"/>
                  </a:lnTo>
                  <a:lnTo>
                    <a:pt x="200" y="254"/>
                  </a:lnTo>
                  <a:lnTo>
                    <a:pt x="206" y="258"/>
                  </a:lnTo>
                  <a:lnTo>
                    <a:pt x="212" y="264"/>
                  </a:lnTo>
                  <a:lnTo>
                    <a:pt x="222" y="266"/>
                  </a:lnTo>
                  <a:lnTo>
                    <a:pt x="244" y="272"/>
                  </a:lnTo>
                  <a:lnTo>
                    <a:pt x="272" y="274"/>
                  </a:lnTo>
                  <a:lnTo>
                    <a:pt x="272" y="274"/>
                  </a:lnTo>
                  <a:lnTo>
                    <a:pt x="300" y="272"/>
                  </a:lnTo>
                  <a:lnTo>
                    <a:pt x="314" y="270"/>
                  </a:lnTo>
                  <a:lnTo>
                    <a:pt x="324" y="266"/>
                  </a:lnTo>
                  <a:lnTo>
                    <a:pt x="334" y="262"/>
                  </a:lnTo>
                  <a:lnTo>
                    <a:pt x="340" y="256"/>
                  </a:lnTo>
                  <a:lnTo>
                    <a:pt x="344" y="252"/>
                  </a:lnTo>
                  <a:lnTo>
                    <a:pt x="346" y="246"/>
                  </a:lnTo>
                  <a:lnTo>
                    <a:pt x="346" y="230"/>
                  </a:lnTo>
                  <a:lnTo>
                    <a:pt x="346" y="230"/>
                  </a:lnTo>
                  <a:lnTo>
                    <a:pt x="346" y="236"/>
                  </a:lnTo>
                  <a:lnTo>
                    <a:pt x="344" y="240"/>
                  </a:lnTo>
                  <a:lnTo>
                    <a:pt x="334" y="246"/>
                  </a:lnTo>
                  <a:lnTo>
                    <a:pt x="334" y="246"/>
                  </a:lnTo>
                  <a:lnTo>
                    <a:pt x="322" y="252"/>
                  </a:lnTo>
                  <a:lnTo>
                    <a:pt x="308" y="256"/>
                  </a:lnTo>
                  <a:lnTo>
                    <a:pt x="290" y="258"/>
                  </a:lnTo>
                  <a:lnTo>
                    <a:pt x="272" y="260"/>
                  </a:lnTo>
                  <a:lnTo>
                    <a:pt x="272" y="260"/>
                  </a:lnTo>
                  <a:lnTo>
                    <a:pt x="252" y="258"/>
                  </a:lnTo>
                  <a:lnTo>
                    <a:pt x="236" y="256"/>
                  </a:lnTo>
                  <a:lnTo>
                    <a:pt x="220" y="252"/>
                  </a:lnTo>
                  <a:lnTo>
                    <a:pt x="210" y="246"/>
                  </a:lnTo>
                  <a:lnTo>
                    <a:pt x="210" y="246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6" y="244"/>
                  </a:lnTo>
                  <a:lnTo>
                    <a:pt x="200" y="238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6" y="230"/>
                  </a:lnTo>
                  <a:lnTo>
                    <a:pt x="196" y="232"/>
                  </a:lnTo>
                  <a:lnTo>
                    <a:pt x="150" y="254"/>
                  </a:lnTo>
                  <a:lnTo>
                    <a:pt x="28" y="212"/>
                  </a:lnTo>
                  <a:lnTo>
                    <a:pt x="52" y="200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4" y="234"/>
                  </a:lnTo>
                  <a:lnTo>
                    <a:pt x="198" y="214"/>
                  </a:lnTo>
                  <a:lnTo>
                    <a:pt x="198" y="214"/>
                  </a:lnTo>
                  <a:lnTo>
                    <a:pt x="200" y="220"/>
                  </a:lnTo>
                  <a:lnTo>
                    <a:pt x="206" y="224"/>
                  </a:lnTo>
                  <a:lnTo>
                    <a:pt x="214" y="228"/>
                  </a:lnTo>
                  <a:lnTo>
                    <a:pt x="222" y="232"/>
                  </a:lnTo>
                  <a:lnTo>
                    <a:pt x="246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300" y="236"/>
                  </a:lnTo>
                  <a:lnTo>
                    <a:pt x="314" y="234"/>
                  </a:lnTo>
                  <a:lnTo>
                    <a:pt x="324" y="230"/>
                  </a:lnTo>
                  <a:lnTo>
                    <a:pt x="334" y="226"/>
                  </a:lnTo>
                  <a:lnTo>
                    <a:pt x="340" y="220"/>
                  </a:lnTo>
                  <a:lnTo>
                    <a:pt x="344" y="216"/>
                  </a:lnTo>
                  <a:lnTo>
                    <a:pt x="346" y="210"/>
                  </a:lnTo>
                  <a:lnTo>
                    <a:pt x="346" y="196"/>
                  </a:lnTo>
                  <a:lnTo>
                    <a:pt x="346" y="196"/>
                  </a:lnTo>
                  <a:lnTo>
                    <a:pt x="346" y="200"/>
                  </a:lnTo>
                  <a:lnTo>
                    <a:pt x="344" y="204"/>
                  </a:lnTo>
                  <a:lnTo>
                    <a:pt x="334" y="210"/>
                  </a:lnTo>
                  <a:lnTo>
                    <a:pt x="334" y="210"/>
                  </a:lnTo>
                  <a:lnTo>
                    <a:pt x="322" y="216"/>
                  </a:lnTo>
                  <a:lnTo>
                    <a:pt x="308" y="220"/>
                  </a:lnTo>
                  <a:lnTo>
                    <a:pt x="290" y="222"/>
                  </a:lnTo>
                  <a:lnTo>
                    <a:pt x="272" y="224"/>
                  </a:lnTo>
                  <a:lnTo>
                    <a:pt x="272" y="224"/>
                  </a:lnTo>
                  <a:lnTo>
                    <a:pt x="252" y="222"/>
                  </a:lnTo>
                  <a:lnTo>
                    <a:pt x="236" y="220"/>
                  </a:lnTo>
                  <a:lnTo>
                    <a:pt x="220" y="216"/>
                  </a:lnTo>
                  <a:lnTo>
                    <a:pt x="210" y="210"/>
                  </a:lnTo>
                  <a:lnTo>
                    <a:pt x="210" y="210"/>
                  </a:lnTo>
                  <a:lnTo>
                    <a:pt x="208" y="210"/>
                  </a:lnTo>
                  <a:lnTo>
                    <a:pt x="208" y="210"/>
                  </a:lnTo>
                  <a:lnTo>
                    <a:pt x="200" y="204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6"/>
                  </a:lnTo>
                  <a:lnTo>
                    <a:pt x="196" y="198"/>
                  </a:lnTo>
                  <a:lnTo>
                    <a:pt x="152" y="218"/>
                  </a:lnTo>
                  <a:lnTo>
                    <a:pt x="72" y="192"/>
                  </a:lnTo>
                  <a:lnTo>
                    <a:pt x="50" y="184"/>
                  </a:lnTo>
                  <a:lnTo>
                    <a:pt x="28" y="176"/>
                  </a:lnTo>
                  <a:lnTo>
                    <a:pt x="52" y="166"/>
                  </a:lnTo>
                  <a:lnTo>
                    <a:pt x="150" y="200"/>
                  </a:lnTo>
                  <a:lnTo>
                    <a:pt x="150" y="200"/>
                  </a:lnTo>
                  <a:lnTo>
                    <a:pt x="152" y="200"/>
                  </a:lnTo>
                  <a:lnTo>
                    <a:pt x="152" y="200"/>
                  </a:lnTo>
                  <a:lnTo>
                    <a:pt x="156" y="200"/>
                  </a:lnTo>
                  <a:lnTo>
                    <a:pt x="198" y="180"/>
                  </a:lnTo>
                  <a:lnTo>
                    <a:pt x="198" y="180"/>
                  </a:lnTo>
                  <a:lnTo>
                    <a:pt x="202" y="184"/>
                  </a:lnTo>
                  <a:lnTo>
                    <a:pt x="208" y="188"/>
                  </a:lnTo>
                  <a:lnTo>
                    <a:pt x="224" y="196"/>
                  </a:lnTo>
                  <a:lnTo>
                    <a:pt x="246" y="200"/>
                  </a:lnTo>
                  <a:lnTo>
                    <a:pt x="272" y="202"/>
                  </a:lnTo>
                  <a:lnTo>
                    <a:pt x="272" y="202"/>
                  </a:lnTo>
                  <a:lnTo>
                    <a:pt x="296" y="200"/>
                  </a:lnTo>
                  <a:lnTo>
                    <a:pt x="318" y="196"/>
                  </a:lnTo>
                  <a:lnTo>
                    <a:pt x="334" y="190"/>
                  </a:lnTo>
                  <a:lnTo>
                    <a:pt x="340" y="186"/>
                  </a:lnTo>
                  <a:lnTo>
                    <a:pt x="344" y="180"/>
                  </a:lnTo>
                  <a:lnTo>
                    <a:pt x="370" y="168"/>
                  </a:lnTo>
                  <a:lnTo>
                    <a:pt x="370" y="168"/>
                  </a:lnTo>
                  <a:lnTo>
                    <a:pt x="374" y="166"/>
                  </a:lnTo>
                  <a:lnTo>
                    <a:pt x="374" y="162"/>
                  </a:lnTo>
                  <a:lnTo>
                    <a:pt x="374" y="162"/>
                  </a:lnTo>
                  <a:lnTo>
                    <a:pt x="374" y="156"/>
                  </a:lnTo>
                  <a:lnTo>
                    <a:pt x="370" y="154"/>
                  </a:lnTo>
                  <a:lnTo>
                    <a:pt x="346" y="146"/>
                  </a:lnTo>
                  <a:lnTo>
                    <a:pt x="372" y="134"/>
                  </a:lnTo>
                  <a:lnTo>
                    <a:pt x="372" y="134"/>
                  </a:lnTo>
                  <a:lnTo>
                    <a:pt x="374" y="130"/>
                  </a:lnTo>
                  <a:lnTo>
                    <a:pt x="376" y="126"/>
                  </a:lnTo>
                  <a:lnTo>
                    <a:pt x="376" y="126"/>
                  </a:lnTo>
                  <a:close/>
                  <a:moveTo>
                    <a:pt x="202" y="78"/>
                  </a:moveTo>
                  <a:lnTo>
                    <a:pt x="202" y="78"/>
                  </a:lnTo>
                  <a:lnTo>
                    <a:pt x="214" y="84"/>
                  </a:lnTo>
                  <a:lnTo>
                    <a:pt x="230" y="90"/>
                  </a:lnTo>
                  <a:lnTo>
                    <a:pt x="248" y="94"/>
                  </a:lnTo>
                  <a:lnTo>
                    <a:pt x="272" y="96"/>
                  </a:lnTo>
                  <a:lnTo>
                    <a:pt x="272" y="96"/>
                  </a:lnTo>
                  <a:lnTo>
                    <a:pt x="294" y="94"/>
                  </a:lnTo>
                  <a:lnTo>
                    <a:pt x="314" y="90"/>
                  </a:lnTo>
                  <a:lnTo>
                    <a:pt x="330" y="84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346" y="82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92"/>
                  </a:lnTo>
                  <a:lnTo>
                    <a:pt x="344" y="96"/>
                  </a:lnTo>
                  <a:lnTo>
                    <a:pt x="334" y="104"/>
                  </a:lnTo>
                  <a:lnTo>
                    <a:pt x="334" y="104"/>
                  </a:lnTo>
                  <a:lnTo>
                    <a:pt x="322" y="108"/>
                  </a:lnTo>
                  <a:lnTo>
                    <a:pt x="308" y="112"/>
                  </a:lnTo>
                  <a:lnTo>
                    <a:pt x="290" y="116"/>
                  </a:lnTo>
                  <a:lnTo>
                    <a:pt x="272" y="116"/>
                  </a:lnTo>
                  <a:lnTo>
                    <a:pt x="272" y="116"/>
                  </a:lnTo>
                  <a:lnTo>
                    <a:pt x="254" y="116"/>
                  </a:lnTo>
                  <a:lnTo>
                    <a:pt x="238" y="114"/>
                  </a:lnTo>
                  <a:lnTo>
                    <a:pt x="226" y="110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4" y="106"/>
                  </a:lnTo>
                  <a:lnTo>
                    <a:pt x="210" y="104"/>
                  </a:lnTo>
                  <a:lnTo>
                    <a:pt x="210" y="104"/>
                  </a:lnTo>
                  <a:lnTo>
                    <a:pt x="200" y="96"/>
                  </a:lnTo>
                  <a:lnTo>
                    <a:pt x="198" y="92"/>
                  </a:lnTo>
                  <a:lnTo>
                    <a:pt x="196" y="88"/>
                  </a:lnTo>
                  <a:lnTo>
                    <a:pt x="196" y="88"/>
                  </a:lnTo>
                  <a:lnTo>
                    <a:pt x="198" y="82"/>
                  </a:lnTo>
                  <a:lnTo>
                    <a:pt x="202" y="78"/>
                  </a:lnTo>
                  <a:lnTo>
                    <a:pt x="202" y="78"/>
                  </a:lnTo>
                  <a:close/>
                  <a:moveTo>
                    <a:pt x="202" y="114"/>
                  </a:moveTo>
                  <a:lnTo>
                    <a:pt x="202" y="114"/>
                  </a:lnTo>
                  <a:lnTo>
                    <a:pt x="214" y="120"/>
                  </a:lnTo>
                  <a:lnTo>
                    <a:pt x="230" y="126"/>
                  </a:lnTo>
                  <a:lnTo>
                    <a:pt x="248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94" y="130"/>
                  </a:lnTo>
                  <a:lnTo>
                    <a:pt x="314" y="126"/>
                  </a:lnTo>
                  <a:lnTo>
                    <a:pt x="330" y="120"/>
                  </a:lnTo>
                  <a:lnTo>
                    <a:pt x="342" y="114"/>
                  </a:lnTo>
                  <a:lnTo>
                    <a:pt x="342" y="114"/>
                  </a:lnTo>
                  <a:lnTo>
                    <a:pt x="346" y="118"/>
                  </a:lnTo>
                  <a:lnTo>
                    <a:pt x="346" y="124"/>
                  </a:lnTo>
                  <a:lnTo>
                    <a:pt x="346" y="124"/>
                  </a:lnTo>
                  <a:lnTo>
                    <a:pt x="346" y="128"/>
                  </a:lnTo>
                  <a:lnTo>
                    <a:pt x="346" y="128"/>
                  </a:lnTo>
                  <a:lnTo>
                    <a:pt x="342" y="132"/>
                  </a:lnTo>
                  <a:lnTo>
                    <a:pt x="342" y="132"/>
                  </a:lnTo>
                  <a:lnTo>
                    <a:pt x="340" y="134"/>
                  </a:lnTo>
                  <a:lnTo>
                    <a:pt x="340" y="134"/>
                  </a:lnTo>
                  <a:lnTo>
                    <a:pt x="338" y="136"/>
                  </a:lnTo>
                  <a:lnTo>
                    <a:pt x="338" y="136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2" y="144"/>
                  </a:lnTo>
                  <a:lnTo>
                    <a:pt x="308" y="148"/>
                  </a:lnTo>
                  <a:lnTo>
                    <a:pt x="290" y="150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54" y="152"/>
                  </a:lnTo>
                  <a:lnTo>
                    <a:pt x="238" y="148"/>
                  </a:lnTo>
                  <a:lnTo>
                    <a:pt x="226" y="146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0" y="140"/>
                  </a:lnTo>
                  <a:lnTo>
                    <a:pt x="210" y="140"/>
                  </a:lnTo>
                  <a:lnTo>
                    <a:pt x="200" y="132"/>
                  </a:lnTo>
                  <a:lnTo>
                    <a:pt x="198" y="128"/>
                  </a:lnTo>
                  <a:lnTo>
                    <a:pt x="196" y="124"/>
                  </a:lnTo>
                  <a:lnTo>
                    <a:pt x="196" y="124"/>
                  </a:lnTo>
                  <a:lnTo>
                    <a:pt x="198" y="118"/>
                  </a:lnTo>
                  <a:lnTo>
                    <a:pt x="202" y="114"/>
                  </a:lnTo>
                  <a:lnTo>
                    <a:pt x="202" y="114"/>
                  </a:lnTo>
                  <a:close/>
                  <a:moveTo>
                    <a:pt x="162" y="144"/>
                  </a:moveTo>
                  <a:lnTo>
                    <a:pt x="162" y="144"/>
                  </a:lnTo>
                  <a:lnTo>
                    <a:pt x="150" y="150"/>
                  </a:lnTo>
                  <a:lnTo>
                    <a:pt x="134" y="150"/>
                  </a:lnTo>
                  <a:lnTo>
                    <a:pt x="134" y="150"/>
                  </a:lnTo>
                  <a:lnTo>
                    <a:pt x="116" y="150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0" y="142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2" y="132"/>
                  </a:lnTo>
                  <a:lnTo>
                    <a:pt x="110" y="128"/>
                  </a:lnTo>
                  <a:lnTo>
                    <a:pt x="120" y="126"/>
                  </a:lnTo>
                  <a:lnTo>
                    <a:pt x="134" y="124"/>
                  </a:lnTo>
                  <a:lnTo>
                    <a:pt x="134" y="124"/>
                  </a:lnTo>
                  <a:lnTo>
                    <a:pt x="148" y="126"/>
                  </a:lnTo>
                  <a:lnTo>
                    <a:pt x="158" y="128"/>
                  </a:lnTo>
                  <a:lnTo>
                    <a:pt x="166" y="132"/>
                  </a:lnTo>
                  <a:lnTo>
                    <a:pt x="168" y="136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6" y="142"/>
                  </a:lnTo>
                  <a:lnTo>
                    <a:pt x="162" y="144"/>
                  </a:lnTo>
                  <a:lnTo>
                    <a:pt x="162" y="144"/>
                  </a:lnTo>
                  <a:close/>
                  <a:moveTo>
                    <a:pt x="346" y="160"/>
                  </a:moveTo>
                  <a:lnTo>
                    <a:pt x="346" y="160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6" y="162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4" y="166"/>
                  </a:lnTo>
                  <a:lnTo>
                    <a:pt x="342" y="168"/>
                  </a:lnTo>
                  <a:lnTo>
                    <a:pt x="342" y="168"/>
                  </a:lnTo>
                  <a:lnTo>
                    <a:pt x="340" y="170"/>
                  </a:lnTo>
                  <a:lnTo>
                    <a:pt x="340" y="170"/>
                  </a:lnTo>
                  <a:lnTo>
                    <a:pt x="338" y="172"/>
                  </a:lnTo>
                  <a:lnTo>
                    <a:pt x="338" y="172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22" y="180"/>
                  </a:lnTo>
                  <a:lnTo>
                    <a:pt x="308" y="184"/>
                  </a:lnTo>
                  <a:lnTo>
                    <a:pt x="290" y="186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52" y="186"/>
                  </a:lnTo>
                  <a:lnTo>
                    <a:pt x="236" y="184"/>
                  </a:lnTo>
                  <a:lnTo>
                    <a:pt x="220" y="180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8" y="154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14" y="156"/>
                  </a:lnTo>
                  <a:lnTo>
                    <a:pt x="230" y="162"/>
                  </a:lnTo>
                  <a:lnTo>
                    <a:pt x="248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94" y="166"/>
                  </a:lnTo>
                  <a:lnTo>
                    <a:pt x="314" y="162"/>
                  </a:lnTo>
                  <a:lnTo>
                    <a:pt x="330" y="156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6" y="154"/>
                  </a:lnTo>
                  <a:lnTo>
                    <a:pt x="346" y="160"/>
                  </a:lnTo>
                  <a:lnTo>
                    <a:pt x="346" y="160"/>
                  </a:lnTo>
                  <a:close/>
                  <a:moveTo>
                    <a:pt x="346" y="128"/>
                  </a:moveTo>
                  <a:lnTo>
                    <a:pt x="346" y="128"/>
                  </a:lnTo>
                  <a:lnTo>
                    <a:pt x="348" y="128"/>
                  </a:lnTo>
                  <a:lnTo>
                    <a:pt x="346" y="128"/>
                  </a:lnTo>
                  <a:close/>
                  <a:moveTo>
                    <a:pt x="196" y="28"/>
                  </a:moveTo>
                  <a:lnTo>
                    <a:pt x="196" y="28"/>
                  </a:lnTo>
                  <a:lnTo>
                    <a:pt x="198" y="24"/>
                  </a:lnTo>
                  <a:lnTo>
                    <a:pt x="202" y="18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30" y="6"/>
                  </a:lnTo>
                  <a:lnTo>
                    <a:pt x="242" y="2"/>
                  </a:lnTo>
                  <a:lnTo>
                    <a:pt x="272" y="0"/>
                  </a:lnTo>
                  <a:lnTo>
                    <a:pt x="272" y="0"/>
                  </a:lnTo>
                  <a:lnTo>
                    <a:pt x="300" y="2"/>
                  </a:lnTo>
                  <a:lnTo>
                    <a:pt x="314" y="6"/>
                  </a:lnTo>
                  <a:lnTo>
                    <a:pt x="324" y="8"/>
                  </a:lnTo>
                  <a:lnTo>
                    <a:pt x="334" y="14"/>
                  </a:lnTo>
                  <a:lnTo>
                    <a:pt x="340" y="18"/>
                  </a:lnTo>
                  <a:lnTo>
                    <a:pt x="344" y="24"/>
                  </a:lnTo>
                  <a:lnTo>
                    <a:pt x="346" y="28"/>
                  </a:lnTo>
                  <a:lnTo>
                    <a:pt x="346" y="28"/>
                  </a:lnTo>
                  <a:lnTo>
                    <a:pt x="346" y="34"/>
                  </a:lnTo>
                  <a:lnTo>
                    <a:pt x="344" y="38"/>
                  </a:lnTo>
                  <a:lnTo>
                    <a:pt x="334" y="44"/>
                  </a:lnTo>
                  <a:lnTo>
                    <a:pt x="334" y="44"/>
                  </a:lnTo>
                  <a:lnTo>
                    <a:pt x="322" y="50"/>
                  </a:lnTo>
                  <a:lnTo>
                    <a:pt x="308" y="54"/>
                  </a:lnTo>
                  <a:lnTo>
                    <a:pt x="290" y="56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52" y="56"/>
                  </a:lnTo>
                  <a:lnTo>
                    <a:pt x="236" y="54"/>
                  </a:lnTo>
                  <a:lnTo>
                    <a:pt x="220" y="50"/>
                  </a:lnTo>
                  <a:lnTo>
                    <a:pt x="210" y="44"/>
                  </a:lnTo>
                  <a:lnTo>
                    <a:pt x="210" y="44"/>
                  </a:lnTo>
                  <a:lnTo>
                    <a:pt x="200" y="38"/>
                  </a:lnTo>
                  <a:lnTo>
                    <a:pt x="198" y="34"/>
                  </a:lnTo>
                  <a:lnTo>
                    <a:pt x="196" y="28"/>
                  </a:lnTo>
                  <a:lnTo>
                    <a:pt x="196" y="2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23" tIns="45712" rIns="91423" bIns="45712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2" name="Freeform 91"/>
          <p:cNvSpPr/>
          <p:nvPr/>
        </p:nvSpPr>
        <p:spPr>
          <a:xfrm>
            <a:off x="16606443" y="7693361"/>
            <a:ext cx="4690024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l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dre datakvalitet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0014897" y="10372144"/>
            <a:ext cx="1080000" cy="1080000"/>
            <a:chOff x="9839311" y="10274560"/>
            <a:chExt cx="1080000" cy="1080000"/>
          </a:xfrm>
        </p:grpSpPr>
        <p:sp>
          <p:nvSpPr>
            <p:cNvPr id="64" name="Oval 63"/>
            <p:cNvSpPr/>
            <p:nvPr/>
          </p:nvSpPr>
          <p:spPr bwMode="ltGray">
            <a:xfrm>
              <a:off x="9839311" y="1027456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pic>
          <p:nvPicPr>
            <p:cNvPr id="96" name="Picture 6" descr="http://clipartbarn.com/wp-content/uploads/2016/11/Puzzle-piece-clipart-hostted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5778" y="10508904"/>
              <a:ext cx="882265" cy="604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13178741" y="10410062"/>
            <a:ext cx="1080000" cy="1080000"/>
            <a:chOff x="13178740" y="10410062"/>
            <a:chExt cx="1080000" cy="1080000"/>
          </a:xfrm>
        </p:grpSpPr>
        <p:sp>
          <p:nvSpPr>
            <p:cNvPr id="65" name="Oval 64"/>
            <p:cNvSpPr/>
            <p:nvPr/>
          </p:nvSpPr>
          <p:spPr bwMode="ltGray">
            <a:xfrm>
              <a:off x="13178740" y="10410062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98" name="Freeform 4958"/>
            <p:cNvSpPr>
              <a:spLocks noEditPoints="1"/>
            </p:cNvSpPr>
            <p:nvPr/>
          </p:nvSpPr>
          <p:spPr bwMode="auto">
            <a:xfrm>
              <a:off x="13413715" y="10618970"/>
              <a:ext cx="706471" cy="728576"/>
            </a:xfrm>
            <a:custGeom>
              <a:avLst/>
              <a:gdLst>
                <a:gd name="T0" fmla="*/ 294 w 414"/>
                <a:gd name="T1" fmla="*/ 176 h 404"/>
                <a:gd name="T2" fmla="*/ 272 w 414"/>
                <a:gd name="T3" fmla="*/ 200 h 404"/>
                <a:gd name="T4" fmla="*/ 272 w 414"/>
                <a:gd name="T5" fmla="*/ 220 h 404"/>
                <a:gd name="T6" fmla="*/ 294 w 414"/>
                <a:gd name="T7" fmla="*/ 244 h 404"/>
                <a:gd name="T8" fmla="*/ 286 w 414"/>
                <a:gd name="T9" fmla="*/ 316 h 404"/>
                <a:gd name="T10" fmla="*/ 244 w 414"/>
                <a:gd name="T11" fmla="*/ 338 h 404"/>
                <a:gd name="T12" fmla="*/ 212 w 414"/>
                <a:gd name="T13" fmla="*/ 316 h 404"/>
                <a:gd name="T14" fmla="*/ 170 w 414"/>
                <a:gd name="T15" fmla="*/ 332 h 404"/>
                <a:gd name="T16" fmla="*/ 112 w 414"/>
                <a:gd name="T17" fmla="*/ 378 h 404"/>
                <a:gd name="T18" fmla="*/ 128 w 414"/>
                <a:gd name="T19" fmla="*/ 390 h 404"/>
                <a:gd name="T20" fmla="*/ 174 w 414"/>
                <a:gd name="T21" fmla="*/ 372 h 404"/>
                <a:gd name="T22" fmla="*/ 212 w 414"/>
                <a:gd name="T23" fmla="*/ 382 h 404"/>
                <a:gd name="T24" fmla="*/ 244 w 414"/>
                <a:gd name="T25" fmla="*/ 358 h 404"/>
                <a:gd name="T26" fmla="*/ 302 w 414"/>
                <a:gd name="T27" fmla="*/ 328 h 404"/>
                <a:gd name="T28" fmla="*/ 314 w 414"/>
                <a:gd name="T29" fmla="*/ 288 h 404"/>
                <a:gd name="T30" fmla="*/ 336 w 414"/>
                <a:gd name="T31" fmla="*/ 228 h 404"/>
                <a:gd name="T32" fmla="*/ 414 w 414"/>
                <a:gd name="T33" fmla="*/ 210 h 404"/>
                <a:gd name="T34" fmla="*/ 330 w 414"/>
                <a:gd name="T35" fmla="*/ 184 h 404"/>
                <a:gd name="T36" fmla="*/ 200 w 414"/>
                <a:gd name="T37" fmla="*/ 364 h 404"/>
                <a:gd name="T38" fmla="*/ 186 w 414"/>
                <a:gd name="T39" fmla="*/ 348 h 404"/>
                <a:gd name="T40" fmla="*/ 200 w 414"/>
                <a:gd name="T41" fmla="*/ 334 h 404"/>
                <a:gd name="T42" fmla="*/ 216 w 414"/>
                <a:gd name="T43" fmla="*/ 348 h 404"/>
                <a:gd name="T44" fmla="*/ 200 w 414"/>
                <a:gd name="T45" fmla="*/ 364 h 404"/>
                <a:gd name="T46" fmla="*/ 334 w 414"/>
                <a:gd name="T47" fmla="*/ 138 h 404"/>
                <a:gd name="T48" fmla="*/ 16 w 414"/>
                <a:gd name="T49" fmla="*/ 292 h 404"/>
                <a:gd name="T50" fmla="*/ 46 w 414"/>
                <a:gd name="T51" fmla="*/ 240 h 404"/>
                <a:gd name="T52" fmla="*/ 80 w 414"/>
                <a:gd name="T53" fmla="*/ 240 h 404"/>
                <a:gd name="T54" fmla="*/ 120 w 414"/>
                <a:gd name="T55" fmla="*/ 238 h 404"/>
                <a:gd name="T56" fmla="*/ 168 w 414"/>
                <a:gd name="T57" fmla="*/ 220 h 404"/>
                <a:gd name="T58" fmla="*/ 136 w 414"/>
                <a:gd name="T59" fmla="*/ 200 h 404"/>
                <a:gd name="T60" fmla="*/ 120 w 414"/>
                <a:gd name="T61" fmla="*/ 182 h 404"/>
                <a:gd name="T62" fmla="*/ 86 w 414"/>
                <a:gd name="T63" fmla="*/ 176 h 404"/>
                <a:gd name="T64" fmla="*/ 62 w 414"/>
                <a:gd name="T65" fmla="*/ 206 h 404"/>
                <a:gd name="T66" fmla="*/ 16 w 414"/>
                <a:gd name="T67" fmla="*/ 242 h 404"/>
                <a:gd name="T68" fmla="*/ 6 w 414"/>
                <a:gd name="T69" fmla="*/ 292 h 404"/>
                <a:gd name="T70" fmla="*/ 104 w 414"/>
                <a:gd name="T71" fmla="*/ 196 h 404"/>
                <a:gd name="T72" fmla="*/ 112 w 414"/>
                <a:gd name="T73" fmla="*/ 216 h 404"/>
                <a:gd name="T74" fmla="*/ 92 w 414"/>
                <a:gd name="T75" fmla="*/ 224 h 404"/>
                <a:gd name="T76" fmla="*/ 84 w 414"/>
                <a:gd name="T77" fmla="*/ 204 h 404"/>
                <a:gd name="T78" fmla="*/ 108 w 414"/>
                <a:gd name="T79" fmla="*/ 306 h 404"/>
                <a:gd name="T80" fmla="*/ 124 w 414"/>
                <a:gd name="T81" fmla="*/ 284 h 404"/>
                <a:gd name="T82" fmla="*/ 184 w 414"/>
                <a:gd name="T83" fmla="*/ 234 h 404"/>
                <a:gd name="T84" fmla="*/ 212 w 414"/>
                <a:gd name="T85" fmla="*/ 202 h 404"/>
                <a:gd name="T86" fmla="*/ 180 w 414"/>
                <a:gd name="T87" fmla="*/ 276 h 404"/>
                <a:gd name="T88" fmla="*/ 108 w 414"/>
                <a:gd name="T89" fmla="*/ 306 h 404"/>
                <a:gd name="T90" fmla="*/ 212 w 414"/>
                <a:gd name="T91" fmla="*/ 68 h 404"/>
                <a:gd name="T92" fmla="*/ 236 w 414"/>
                <a:gd name="T93" fmla="*/ 34 h 404"/>
                <a:gd name="T94" fmla="*/ 222 w 414"/>
                <a:gd name="T95" fmla="*/ 6 h 404"/>
                <a:gd name="T96" fmla="*/ 194 w 414"/>
                <a:gd name="T97" fmla="*/ 0 h 404"/>
                <a:gd name="T98" fmla="*/ 168 w 414"/>
                <a:gd name="T99" fmla="*/ 22 h 404"/>
                <a:gd name="T100" fmla="*/ 174 w 414"/>
                <a:gd name="T101" fmla="*/ 56 h 404"/>
                <a:gd name="T102" fmla="*/ 202 w 414"/>
                <a:gd name="T103" fmla="*/ 20 h 404"/>
                <a:gd name="T104" fmla="*/ 216 w 414"/>
                <a:gd name="T105" fmla="*/ 34 h 404"/>
                <a:gd name="T106" fmla="*/ 202 w 414"/>
                <a:gd name="T107" fmla="*/ 50 h 404"/>
                <a:gd name="T108" fmla="*/ 186 w 414"/>
                <a:gd name="T109" fmla="*/ 34 h 404"/>
                <a:gd name="T110" fmla="*/ 202 w 414"/>
                <a:gd name="T111" fmla="*/ 20 h 404"/>
                <a:gd name="T112" fmla="*/ 2 w 414"/>
                <a:gd name="T113" fmla="*/ 138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4" h="404">
                  <a:moveTo>
                    <a:pt x="314" y="176"/>
                  </a:moveTo>
                  <a:lnTo>
                    <a:pt x="314" y="30"/>
                  </a:lnTo>
                  <a:lnTo>
                    <a:pt x="314" y="30"/>
                  </a:lnTo>
                  <a:lnTo>
                    <a:pt x="294" y="20"/>
                  </a:lnTo>
                  <a:lnTo>
                    <a:pt x="294" y="176"/>
                  </a:lnTo>
                  <a:lnTo>
                    <a:pt x="294" y="176"/>
                  </a:lnTo>
                  <a:lnTo>
                    <a:pt x="286" y="180"/>
                  </a:lnTo>
                  <a:lnTo>
                    <a:pt x="280" y="184"/>
                  </a:lnTo>
                  <a:lnTo>
                    <a:pt x="274" y="192"/>
                  </a:lnTo>
                  <a:lnTo>
                    <a:pt x="272" y="200"/>
                  </a:lnTo>
                  <a:lnTo>
                    <a:pt x="232" y="200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20"/>
                  </a:lnTo>
                  <a:lnTo>
                    <a:pt x="272" y="220"/>
                  </a:lnTo>
                  <a:lnTo>
                    <a:pt x="272" y="220"/>
                  </a:lnTo>
                  <a:lnTo>
                    <a:pt x="274" y="228"/>
                  </a:lnTo>
                  <a:lnTo>
                    <a:pt x="280" y="234"/>
                  </a:lnTo>
                  <a:lnTo>
                    <a:pt x="286" y="240"/>
                  </a:lnTo>
                  <a:lnTo>
                    <a:pt x="294" y="244"/>
                  </a:lnTo>
                  <a:lnTo>
                    <a:pt x="294" y="288"/>
                  </a:lnTo>
                  <a:lnTo>
                    <a:pt x="294" y="288"/>
                  </a:lnTo>
                  <a:lnTo>
                    <a:pt x="294" y="298"/>
                  </a:lnTo>
                  <a:lnTo>
                    <a:pt x="290" y="308"/>
                  </a:lnTo>
                  <a:lnTo>
                    <a:pt x="286" y="316"/>
                  </a:lnTo>
                  <a:lnTo>
                    <a:pt x="280" y="324"/>
                  </a:lnTo>
                  <a:lnTo>
                    <a:pt x="272" y="330"/>
                  </a:lnTo>
                  <a:lnTo>
                    <a:pt x="264" y="334"/>
                  </a:lnTo>
                  <a:lnTo>
                    <a:pt x="254" y="338"/>
                  </a:lnTo>
                  <a:lnTo>
                    <a:pt x="244" y="338"/>
                  </a:lnTo>
                  <a:lnTo>
                    <a:pt x="234" y="338"/>
                  </a:lnTo>
                  <a:lnTo>
                    <a:pt x="234" y="338"/>
                  </a:lnTo>
                  <a:lnTo>
                    <a:pt x="230" y="328"/>
                  </a:lnTo>
                  <a:lnTo>
                    <a:pt x="222" y="320"/>
                  </a:lnTo>
                  <a:lnTo>
                    <a:pt x="212" y="316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188" y="316"/>
                  </a:lnTo>
                  <a:lnTo>
                    <a:pt x="178" y="322"/>
                  </a:lnTo>
                  <a:lnTo>
                    <a:pt x="170" y="33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46" y="350"/>
                  </a:lnTo>
                  <a:lnTo>
                    <a:pt x="128" y="362"/>
                  </a:lnTo>
                  <a:lnTo>
                    <a:pt x="112" y="378"/>
                  </a:lnTo>
                  <a:lnTo>
                    <a:pt x="100" y="396"/>
                  </a:lnTo>
                  <a:lnTo>
                    <a:pt x="100" y="396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28" y="390"/>
                  </a:lnTo>
                  <a:lnTo>
                    <a:pt x="140" y="378"/>
                  </a:lnTo>
                  <a:lnTo>
                    <a:pt x="152" y="370"/>
                  </a:lnTo>
                  <a:lnTo>
                    <a:pt x="168" y="362"/>
                  </a:lnTo>
                  <a:lnTo>
                    <a:pt x="168" y="362"/>
                  </a:lnTo>
                  <a:lnTo>
                    <a:pt x="174" y="372"/>
                  </a:lnTo>
                  <a:lnTo>
                    <a:pt x="182" y="378"/>
                  </a:lnTo>
                  <a:lnTo>
                    <a:pt x="190" y="382"/>
                  </a:lnTo>
                  <a:lnTo>
                    <a:pt x="200" y="384"/>
                  </a:lnTo>
                  <a:lnTo>
                    <a:pt x="200" y="384"/>
                  </a:lnTo>
                  <a:lnTo>
                    <a:pt x="212" y="382"/>
                  </a:lnTo>
                  <a:lnTo>
                    <a:pt x="222" y="378"/>
                  </a:lnTo>
                  <a:lnTo>
                    <a:pt x="230" y="370"/>
                  </a:lnTo>
                  <a:lnTo>
                    <a:pt x="234" y="358"/>
                  </a:lnTo>
                  <a:lnTo>
                    <a:pt x="244" y="358"/>
                  </a:lnTo>
                  <a:lnTo>
                    <a:pt x="244" y="358"/>
                  </a:lnTo>
                  <a:lnTo>
                    <a:pt x="258" y="358"/>
                  </a:lnTo>
                  <a:lnTo>
                    <a:pt x="272" y="354"/>
                  </a:lnTo>
                  <a:lnTo>
                    <a:pt x="284" y="346"/>
                  </a:lnTo>
                  <a:lnTo>
                    <a:pt x="294" y="338"/>
                  </a:lnTo>
                  <a:lnTo>
                    <a:pt x="302" y="328"/>
                  </a:lnTo>
                  <a:lnTo>
                    <a:pt x="310" y="316"/>
                  </a:lnTo>
                  <a:lnTo>
                    <a:pt x="314" y="302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88"/>
                  </a:lnTo>
                  <a:lnTo>
                    <a:pt x="314" y="244"/>
                  </a:lnTo>
                  <a:lnTo>
                    <a:pt x="314" y="244"/>
                  </a:lnTo>
                  <a:lnTo>
                    <a:pt x="324" y="240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38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0"/>
                  </a:lnTo>
                  <a:lnTo>
                    <a:pt x="414" y="210"/>
                  </a:lnTo>
                  <a:lnTo>
                    <a:pt x="414" y="200"/>
                  </a:lnTo>
                  <a:lnTo>
                    <a:pt x="338" y="200"/>
                  </a:lnTo>
                  <a:lnTo>
                    <a:pt x="338" y="200"/>
                  </a:lnTo>
                  <a:lnTo>
                    <a:pt x="336" y="192"/>
                  </a:lnTo>
                  <a:lnTo>
                    <a:pt x="330" y="184"/>
                  </a:lnTo>
                  <a:lnTo>
                    <a:pt x="324" y="180"/>
                  </a:lnTo>
                  <a:lnTo>
                    <a:pt x="314" y="176"/>
                  </a:lnTo>
                  <a:lnTo>
                    <a:pt x="314" y="176"/>
                  </a:lnTo>
                  <a:close/>
                  <a:moveTo>
                    <a:pt x="200" y="364"/>
                  </a:moveTo>
                  <a:lnTo>
                    <a:pt x="200" y="364"/>
                  </a:lnTo>
                  <a:lnTo>
                    <a:pt x="194" y="36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6" y="348"/>
                  </a:lnTo>
                  <a:lnTo>
                    <a:pt x="186" y="348"/>
                  </a:lnTo>
                  <a:lnTo>
                    <a:pt x="186" y="342"/>
                  </a:lnTo>
                  <a:lnTo>
                    <a:pt x="190" y="338"/>
                  </a:lnTo>
                  <a:lnTo>
                    <a:pt x="194" y="334"/>
                  </a:lnTo>
                  <a:lnTo>
                    <a:pt x="200" y="334"/>
                  </a:lnTo>
                  <a:lnTo>
                    <a:pt x="200" y="334"/>
                  </a:lnTo>
                  <a:lnTo>
                    <a:pt x="206" y="334"/>
                  </a:lnTo>
                  <a:lnTo>
                    <a:pt x="212" y="338"/>
                  </a:lnTo>
                  <a:lnTo>
                    <a:pt x="216" y="342"/>
                  </a:lnTo>
                  <a:lnTo>
                    <a:pt x="216" y="348"/>
                  </a:lnTo>
                  <a:lnTo>
                    <a:pt x="216" y="348"/>
                  </a:lnTo>
                  <a:lnTo>
                    <a:pt x="216" y="354"/>
                  </a:lnTo>
                  <a:lnTo>
                    <a:pt x="212" y="360"/>
                  </a:lnTo>
                  <a:lnTo>
                    <a:pt x="206" y="364"/>
                  </a:lnTo>
                  <a:lnTo>
                    <a:pt x="200" y="364"/>
                  </a:lnTo>
                  <a:lnTo>
                    <a:pt x="200" y="364"/>
                  </a:lnTo>
                  <a:close/>
                  <a:moveTo>
                    <a:pt x="334" y="118"/>
                  </a:moveTo>
                  <a:lnTo>
                    <a:pt x="394" y="118"/>
                  </a:lnTo>
                  <a:lnTo>
                    <a:pt x="394" y="118"/>
                  </a:lnTo>
                  <a:lnTo>
                    <a:pt x="402" y="138"/>
                  </a:lnTo>
                  <a:lnTo>
                    <a:pt x="334" y="138"/>
                  </a:lnTo>
                  <a:lnTo>
                    <a:pt x="334" y="118"/>
                  </a:lnTo>
                  <a:close/>
                  <a:moveTo>
                    <a:pt x="16" y="310"/>
                  </a:moveTo>
                  <a:lnTo>
                    <a:pt x="16" y="304"/>
                  </a:lnTo>
                  <a:lnTo>
                    <a:pt x="16" y="304"/>
                  </a:lnTo>
                  <a:lnTo>
                    <a:pt x="16" y="292"/>
                  </a:lnTo>
                  <a:lnTo>
                    <a:pt x="20" y="278"/>
                  </a:lnTo>
                  <a:lnTo>
                    <a:pt x="24" y="268"/>
                  </a:lnTo>
                  <a:lnTo>
                    <a:pt x="30" y="256"/>
                  </a:lnTo>
                  <a:lnTo>
                    <a:pt x="38" y="248"/>
                  </a:lnTo>
                  <a:lnTo>
                    <a:pt x="46" y="240"/>
                  </a:lnTo>
                  <a:lnTo>
                    <a:pt x="56" y="232"/>
                  </a:lnTo>
                  <a:lnTo>
                    <a:pt x="66" y="226"/>
                  </a:lnTo>
                  <a:lnTo>
                    <a:pt x="66" y="226"/>
                  </a:lnTo>
                  <a:lnTo>
                    <a:pt x="72" y="234"/>
                  </a:lnTo>
                  <a:lnTo>
                    <a:pt x="80" y="240"/>
                  </a:lnTo>
                  <a:lnTo>
                    <a:pt x="88" y="244"/>
                  </a:lnTo>
                  <a:lnTo>
                    <a:pt x="98" y="246"/>
                  </a:lnTo>
                  <a:lnTo>
                    <a:pt x="98" y="246"/>
                  </a:lnTo>
                  <a:lnTo>
                    <a:pt x="110" y="244"/>
                  </a:lnTo>
                  <a:lnTo>
                    <a:pt x="120" y="238"/>
                  </a:lnTo>
                  <a:lnTo>
                    <a:pt x="128" y="23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70" y="212"/>
                  </a:lnTo>
                  <a:lnTo>
                    <a:pt x="172" y="202"/>
                  </a:lnTo>
                  <a:lnTo>
                    <a:pt x="172" y="200"/>
                  </a:lnTo>
                  <a:lnTo>
                    <a:pt x="136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28" y="190"/>
                  </a:lnTo>
                  <a:lnTo>
                    <a:pt x="120" y="182"/>
                  </a:lnTo>
                  <a:lnTo>
                    <a:pt x="110" y="176"/>
                  </a:lnTo>
                  <a:lnTo>
                    <a:pt x="98" y="174"/>
                  </a:lnTo>
                  <a:lnTo>
                    <a:pt x="98" y="174"/>
                  </a:lnTo>
                  <a:lnTo>
                    <a:pt x="92" y="176"/>
                  </a:lnTo>
                  <a:lnTo>
                    <a:pt x="86" y="176"/>
                  </a:lnTo>
                  <a:lnTo>
                    <a:pt x="74" y="184"/>
                  </a:lnTo>
                  <a:lnTo>
                    <a:pt x="66" y="194"/>
                  </a:lnTo>
                  <a:lnTo>
                    <a:pt x="64" y="200"/>
                  </a:lnTo>
                  <a:lnTo>
                    <a:pt x="62" y="206"/>
                  </a:lnTo>
                  <a:lnTo>
                    <a:pt x="62" y="206"/>
                  </a:lnTo>
                  <a:lnTo>
                    <a:pt x="52" y="212"/>
                  </a:lnTo>
                  <a:lnTo>
                    <a:pt x="42" y="218"/>
                  </a:lnTo>
                  <a:lnTo>
                    <a:pt x="32" y="224"/>
                  </a:lnTo>
                  <a:lnTo>
                    <a:pt x="24" y="232"/>
                  </a:lnTo>
                  <a:lnTo>
                    <a:pt x="16" y="242"/>
                  </a:lnTo>
                  <a:lnTo>
                    <a:pt x="10" y="252"/>
                  </a:lnTo>
                  <a:lnTo>
                    <a:pt x="4" y="262"/>
                  </a:lnTo>
                  <a:lnTo>
                    <a:pt x="0" y="274"/>
                  </a:lnTo>
                  <a:lnTo>
                    <a:pt x="0" y="274"/>
                  </a:lnTo>
                  <a:lnTo>
                    <a:pt x="6" y="292"/>
                  </a:lnTo>
                  <a:lnTo>
                    <a:pt x="16" y="310"/>
                  </a:lnTo>
                  <a:lnTo>
                    <a:pt x="16" y="310"/>
                  </a:lnTo>
                  <a:close/>
                  <a:moveTo>
                    <a:pt x="98" y="194"/>
                  </a:moveTo>
                  <a:lnTo>
                    <a:pt x="98" y="194"/>
                  </a:lnTo>
                  <a:lnTo>
                    <a:pt x="104" y="196"/>
                  </a:lnTo>
                  <a:lnTo>
                    <a:pt x="110" y="198"/>
                  </a:lnTo>
                  <a:lnTo>
                    <a:pt x="112" y="204"/>
                  </a:lnTo>
                  <a:lnTo>
                    <a:pt x="114" y="210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0" y="220"/>
                  </a:lnTo>
                  <a:lnTo>
                    <a:pt x="104" y="224"/>
                  </a:lnTo>
                  <a:lnTo>
                    <a:pt x="98" y="226"/>
                  </a:lnTo>
                  <a:lnTo>
                    <a:pt x="98" y="226"/>
                  </a:lnTo>
                  <a:lnTo>
                    <a:pt x="92" y="224"/>
                  </a:lnTo>
                  <a:lnTo>
                    <a:pt x="88" y="220"/>
                  </a:lnTo>
                  <a:lnTo>
                    <a:pt x="84" y="216"/>
                  </a:lnTo>
                  <a:lnTo>
                    <a:pt x="82" y="210"/>
                  </a:lnTo>
                  <a:lnTo>
                    <a:pt x="82" y="210"/>
                  </a:lnTo>
                  <a:lnTo>
                    <a:pt x="84" y="204"/>
                  </a:lnTo>
                  <a:lnTo>
                    <a:pt x="88" y="198"/>
                  </a:lnTo>
                  <a:lnTo>
                    <a:pt x="92" y="196"/>
                  </a:lnTo>
                  <a:lnTo>
                    <a:pt x="98" y="194"/>
                  </a:lnTo>
                  <a:lnTo>
                    <a:pt x="98" y="194"/>
                  </a:lnTo>
                  <a:close/>
                  <a:moveTo>
                    <a:pt x="108" y="306"/>
                  </a:moveTo>
                  <a:lnTo>
                    <a:pt x="36" y="306"/>
                  </a:lnTo>
                  <a:lnTo>
                    <a:pt x="36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24" y="284"/>
                  </a:lnTo>
                  <a:lnTo>
                    <a:pt x="140" y="280"/>
                  </a:lnTo>
                  <a:lnTo>
                    <a:pt x="154" y="272"/>
                  </a:lnTo>
                  <a:lnTo>
                    <a:pt x="166" y="262"/>
                  </a:lnTo>
                  <a:lnTo>
                    <a:pt x="178" y="250"/>
                  </a:lnTo>
                  <a:lnTo>
                    <a:pt x="184" y="234"/>
                  </a:lnTo>
                  <a:lnTo>
                    <a:pt x="190" y="220"/>
                  </a:lnTo>
                  <a:lnTo>
                    <a:pt x="192" y="202"/>
                  </a:lnTo>
                  <a:lnTo>
                    <a:pt x="192" y="158"/>
                  </a:lnTo>
                  <a:lnTo>
                    <a:pt x="212" y="158"/>
                  </a:lnTo>
                  <a:lnTo>
                    <a:pt x="212" y="202"/>
                  </a:lnTo>
                  <a:lnTo>
                    <a:pt x="212" y="202"/>
                  </a:lnTo>
                  <a:lnTo>
                    <a:pt x="210" y="224"/>
                  </a:lnTo>
                  <a:lnTo>
                    <a:pt x="204" y="242"/>
                  </a:lnTo>
                  <a:lnTo>
                    <a:pt x="194" y="260"/>
                  </a:lnTo>
                  <a:lnTo>
                    <a:pt x="180" y="276"/>
                  </a:lnTo>
                  <a:lnTo>
                    <a:pt x="166" y="288"/>
                  </a:lnTo>
                  <a:lnTo>
                    <a:pt x="148" y="298"/>
                  </a:lnTo>
                  <a:lnTo>
                    <a:pt x="128" y="304"/>
                  </a:lnTo>
                  <a:lnTo>
                    <a:pt x="108" y="306"/>
                  </a:lnTo>
                  <a:lnTo>
                    <a:pt x="108" y="306"/>
                  </a:lnTo>
                  <a:close/>
                  <a:moveTo>
                    <a:pt x="192" y="68"/>
                  </a:moveTo>
                  <a:lnTo>
                    <a:pt x="192" y="98"/>
                  </a:lnTo>
                  <a:lnTo>
                    <a:pt x="212" y="98"/>
                  </a:lnTo>
                  <a:lnTo>
                    <a:pt x="212" y="68"/>
                  </a:lnTo>
                  <a:lnTo>
                    <a:pt x="212" y="68"/>
                  </a:lnTo>
                  <a:lnTo>
                    <a:pt x="222" y="64"/>
                  </a:lnTo>
                  <a:lnTo>
                    <a:pt x="230" y="56"/>
                  </a:lnTo>
                  <a:lnTo>
                    <a:pt x="236" y="4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28"/>
                  </a:lnTo>
                  <a:lnTo>
                    <a:pt x="234" y="22"/>
                  </a:lnTo>
                  <a:lnTo>
                    <a:pt x="230" y="16"/>
                  </a:lnTo>
                  <a:lnTo>
                    <a:pt x="226" y="10"/>
                  </a:lnTo>
                  <a:lnTo>
                    <a:pt x="222" y="6"/>
                  </a:lnTo>
                  <a:lnTo>
                    <a:pt x="216" y="2"/>
                  </a:lnTo>
                  <a:lnTo>
                    <a:pt x="208" y="0"/>
                  </a:lnTo>
                  <a:lnTo>
                    <a:pt x="202" y="0"/>
                  </a:lnTo>
                  <a:lnTo>
                    <a:pt x="202" y="0"/>
                  </a:lnTo>
                  <a:lnTo>
                    <a:pt x="194" y="0"/>
                  </a:lnTo>
                  <a:lnTo>
                    <a:pt x="188" y="2"/>
                  </a:lnTo>
                  <a:lnTo>
                    <a:pt x="182" y="6"/>
                  </a:lnTo>
                  <a:lnTo>
                    <a:pt x="176" y="10"/>
                  </a:lnTo>
                  <a:lnTo>
                    <a:pt x="172" y="16"/>
                  </a:lnTo>
                  <a:lnTo>
                    <a:pt x="168" y="22"/>
                  </a:lnTo>
                  <a:lnTo>
                    <a:pt x="166" y="28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82" y="64"/>
                  </a:lnTo>
                  <a:lnTo>
                    <a:pt x="192" y="68"/>
                  </a:lnTo>
                  <a:lnTo>
                    <a:pt x="192" y="68"/>
                  </a:lnTo>
                  <a:close/>
                  <a:moveTo>
                    <a:pt x="202" y="20"/>
                  </a:moveTo>
                  <a:lnTo>
                    <a:pt x="202" y="20"/>
                  </a:lnTo>
                  <a:lnTo>
                    <a:pt x="208" y="20"/>
                  </a:lnTo>
                  <a:lnTo>
                    <a:pt x="212" y="24"/>
                  </a:lnTo>
                  <a:lnTo>
                    <a:pt x="216" y="28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40"/>
                  </a:lnTo>
                  <a:lnTo>
                    <a:pt x="212" y="46"/>
                  </a:lnTo>
                  <a:lnTo>
                    <a:pt x="208" y="50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196" y="50"/>
                  </a:lnTo>
                  <a:lnTo>
                    <a:pt x="190" y="46"/>
                  </a:lnTo>
                  <a:lnTo>
                    <a:pt x="188" y="40"/>
                  </a:lnTo>
                  <a:lnTo>
                    <a:pt x="186" y="34"/>
                  </a:lnTo>
                  <a:lnTo>
                    <a:pt x="186" y="34"/>
                  </a:lnTo>
                  <a:lnTo>
                    <a:pt x="188" y="28"/>
                  </a:lnTo>
                  <a:lnTo>
                    <a:pt x="190" y="24"/>
                  </a:lnTo>
                  <a:lnTo>
                    <a:pt x="196" y="20"/>
                  </a:lnTo>
                  <a:lnTo>
                    <a:pt x="202" y="20"/>
                  </a:lnTo>
                  <a:lnTo>
                    <a:pt x="202" y="20"/>
                  </a:lnTo>
                  <a:close/>
                  <a:moveTo>
                    <a:pt x="10" y="118"/>
                  </a:moveTo>
                  <a:lnTo>
                    <a:pt x="274" y="118"/>
                  </a:lnTo>
                  <a:lnTo>
                    <a:pt x="274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10" y="118"/>
                  </a:lnTo>
                  <a:lnTo>
                    <a:pt x="10" y="118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562164" y="9269366"/>
            <a:ext cx="1080000" cy="1080000"/>
            <a:chOff x="8514031" y="9611321"/>
            <a:chExt cx="1080000" cy="1080000"/>
          </a:xfrm>
        </p:grpSpPr>
        <p:sp>
          <p:nvSpPr>
            <p:cNvPr id="60" name="Oval 59"/>
            <p:cNvSpPr/>
            <p:nvPr/>
          </p:nvSpPr>
          <p:spPr bwMode="ltGray">
            <a:xfrm>
              <a:off x="8514031" y="9611321"/>
              <a:ext cx="1080000" cy="1080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0" b="0" i="0" u="none" strike="noStrike" kern="1200" cap="none" spc="0" normalizeH="0" baseline="0" noProof="0" dirty="0" err="1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endParaRPr>
            </a:p>
          </p:txBody>
        </p:sp>
        <p:sp>
          <p:nvSpPr>
            <p:cNvPr id="100" name="Freeform 4949"/>
            <p:cNvSpPr>
              <a:spLocks noEditPoints="1"/>
            </p:cNvSpPr>
            <p:nvPr/>
          </p:nvSpPr>
          <p:spPr bwMode="auto">
            <a:xfrm>
              <a:off x="8770135" y="9829839"/>
              <a:ext cx="579741" cy="614877"/>
            </a:xfrm>
            <a:custGeom>
              <a:avLst/>
              <a:gdLst>
                <a:gd name="T0" fmla="*/ 128 w 330"/>
                <a:gd name="T1" fmla="*/ 144 h 350"/>
                <a:gd name="T2" fmla="*/ 116 w 330"/>
                <a:gd name="T3" fmla="*/ 138 h 350"/>
                <a:gd name="T4" fmla="*/ 126 w 330"/>
                <a:gd name="T5" fmla="*/ 90 h 350"/>
                <a:gd name="T6" fmla="*/ 188 w 330"/>
                <a:gd name="T7" fmla="*/ 52 h 350"/>
                <a:gd name="T8" fmla="*/ 210 w 330"/>
                <a:gd name="T9" fmla="*/ 14 h 350"/>
                <a:gd name="T10" fmla="*/ 250 w 330"/>
                <a:gd name="T11" fmla="*/ 0 h 350"/>
                <a:gd name="T12" fmla="*/ 260 w 330"/>
                <a:gd name="T13" fmla="*/ 10 h 350"/>
                <a:gd name="T14" fmla="*/ 250 w 330"/>
                <a:gd name="T15" fmla="*/ 20 h 350"/>
                <a:gd name="T16" fmla="*/ 214 w 330"/>
                <a:gd name="T17" fmla="*/ 38 h 350"/>
                <a:gd name="T18" fmla="*/ 206 w 330"/>
                <a:gd name="T19" fmla="*/ 66 h 350"/>
                <a:gd name="T20" fmla="*/ 198 w 330"/>
                <a:gd name="T21" fmla="*/ 72 h 350"/>
                <a:gd name="T22" fmla="*/ 172 w 330"/>
                <a:gd name="T23" fmla="*/ 76 h 350"/>
                <a:gd name="T24" fmla="*/ 136 w 330"/>
                <a:gd name="T25" fmla="*/ 122 h 350"/>
                <a:gd name="T26" fmla="*/ 124 w 330"/>
                <a:gd name="T27" fmla="*/ 6 h 350"/>
                <a:gd name="T28" fmla="*/ 100 w 330"/>
                <a:gd name="T29" fmla="*/ 0 h 350"/>
                <a:gd name="T30" fmla="*/ 46 w 330"/>
                <a:gd name="T31" fmla="*/ 44 h 350"/>
                <a:gd name="T32" fmla="*/ 44 w 330"/>
                <a:gd name="T33" fmla="*/ 80 h 350"/>
                <a:gd name="T34" fmla="*/ 58 w 330"/>
                <a:gd name="T35" fmla="*/ 80 h 350"/>
                <a:gd name="T36" fmla="*/ 64 w 330"/>
                <a:gd name="T37" fmla="*/ 52 h 350"/>
                <a:gd name="T38" fmla="*/ 104 w 330"/>
                <a:gd name="T39" fmla="*/ 20 h 350"/>
                <a:gd name="T40" fmla="*/ 124 w 330"/>
                <a:gd name="T41" fmla="*/ 14 h 350"/>
                <a:gd name="T42" fmla="*/ 246 w 330"/>
                <a:gd name="T43" fmla="*/ 34 h 350"/>
                <a:gd name="T44" fmla="*/ 238 w 330"/>
                <a:gd name="T45" fmla="*/ 54 h 350"/>
                <a:gd name="T46" fmla="*/ 208 w 330"/>
                <a:gd name="T47" fmla="*/ 92 h 350"/>
                <a:gd name="T48" fmla="*/ 180 w 330"/>
                <a:gd name="T49" fmla="*/ 98 h 350"/>
                <a:gd name="T50" fmla="*/ 172 w 330"/>
                <a:gd name="T51" fmla="*/ 118 h 350"/>
                <a:gd name="T52" fmla="*/ 150 w 330"/>
                <a:gd name="T53" fmla="*/ 128 h 350"/>
                <a:gd name="T54" fmla="*/ 150 w 330"/>
                <a:gd name="T55" fmla="*/ 142 h 350"/>
                <a:gd name="T56" fmla="*/ 182 w 330"/>
                <a:gd name="T57" fmla="*/ 136 h 350"/>
                <a:gd name="T58" fmla="*/ 222 w 330"/>
                <a:gd name="T59" fmla="*/ 106 h 350"/>
                <a:gd name="T60" fmla="*/ 258 w 330"/>
                <a:gd name="T61" fmla="*/ 56 h 350"/>
                <a:gd name="T62" fmla="*/ 254 w 330"/>
                <a:gd name="T63" fmla="*/ 34 h 350"/>
                <a:gd name="T64" fmla="*/ 158 w 330"/>
                <a:gd name="T65" fmla="*/ 6 h 350"/>
                <a:gd name="T66" fmla="*/ 144 w 330"/>
                <a:gd name="T67" fmla="*/ 0 h 350"/>
                <a:gd name="T68" fmla="*/ 138 w 330"/>
                <a:gd name="T69" fmla="*/ 16 h 350"/>
                <a:gd name="T70" fmla="*/ 124 w 330"/>
                <a:gd name="T71" fmla="*/ 36 h 350"/>
                <a:gd name="T72" fmla="*/ 106 w 330"/>
                <a:gd name="T73" fmla="*/ 42 h 350"/>
                <a:gd name="T74" fmla="*/ 96 w 330"/>
                <a:gd name="T75" fmla="*/ 52 h 350"/>
                <a:gd name="T76" fmla="*/ 106 w 330"/>
                <a:gd name="T77" fmla="*/ 62 h 350"/>
                <a:gd name="T78" fmla="*/ 136 w 330"/>
                <a:gd name="T79" fmla="*/ 52 h 350"/>
                <a:gd name="T80" fmla="*/ 158 w 330"/>
                <a:gd name="T81" fmla="*/ 20 h 350"/>
                <a:gd name="T82" fmla="*/ 242 w 330"/>
                <a:gd name="T83" fmla="*/ 258 h 350"/>
                <a:gd name="T84" fmla="*/ 128 w 330"/>
                <a:gd name="T85" fmla="*/ 252 h 350"/>
                <a:gd name="T86" fmla="*/ 138 w 330"/>
                <a:gd name="T87" fmla="*/ 164 h 350"/>
                <a:gd name="T88" fmla="*/ 114 w 330"/>
                <a:gd name="T89" fmla="*/ 162 h 350"/>
                <a:gd name="T90" fmla="*/ 82 w 330"/>
                <a:gd name="T91" fmla="*/ 258 h 350"/>
                <a:gd name="T92" fmla="*/ 60 w 330"/>
                <a:gd name="T93" fmla="*/ 102 h 350"/>
                <a:gd name="T94" fmla="*/ 38 w 330"/>
                <a:gd name="T95" fmla="*/ 104 h 350"/>
                <a:gd name="T96" fmla="*/ 10 w 330"/>
                <a:gd name="T97" fmla="*/ 258 h 350"/>
                <a:gd name="T98" fmla="*/ 0 w 330"/>
                <a:gd name="T99" fmla="*/ 340 h 350"/>
                <a:gd name="T100" fmla="*/ 10 w 330"/>
                <a:gd name="T101" fmla="*/ 350 h 350"/>
                <a:gd name="T102" fmla="*/ 330 w 330"/>
                <a:gd name="T103" fmla="*/ 344 h 350"/>
                <a:gd name="T104" fmla="*/ 330 w 330"/>
                <a:gd name="T105" fmla="*/ 268 h 350"/>
                <a:gd name="T106" fmla="*/ 76 w 330"/>
                <a:gd name="T107" fmla="*/ 314 h 350"/>
                <a:gd name="T108" fmla="*/ 154 w 330"/>
                <a:gd name="T109" fmla="*/ 314 h 350"/>
                <a:gd name="T110" fmla="*/ 232 w 330"/>
                <a:gd name="T111" fmla="*/ 314 h 350"/>
                <a:gd name="T112" fmla="*/ 308 w 330"/>
                <a:gd name="T113" fmla="*/ 31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50">
                  <a:moveTo>
                    <a:pt x="134" y="134"/>
                  </a:moveTo>
                  <a:lnTo>
                    <a:pt x="134" y="134"/>
                  </a:lnTo>
                  <a:lnTo>
                    <a:pt x="134" y="138"/>
                  </a:lnTo>
                  <a:lnTo>
                    <a:pt x="132" y="142"/>
                  </a:lnTo>
                  <a:lnTo>
                    <a:pt x="128" y="144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0" y="144"/>
                  </a:lnTo>
                  <a:lnTo>
                    <a:pt x="118" y="142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6" y="118"/>
                  </a:lnTo>
                  <a:lnTo>
                    <a:pt x="120" y="104"/>
                  </a:lnTo>
                  <a:lnTo>
                    <a:pt x="126" y="90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60" y="60"/>
                  </a:lnTo>
                  <a:lnTo>
                    <a:pt x="174" y="56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2" y="42"/>
                  </a:lnTo>
                  <a:lnTo>
                    <a:pt x="196" y="32"/>
                  </a:lnTo>
                  <a:lnTo>
                    <a:pt x="202" y="22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28" y="4"/>
                  </a:lnTo>
                  <a:lnTo>
                    <a:pt x="238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8" y="2"/>
                  </a:lnTo>
                  <a:lnTo>
                    <a:pt x="260" y="6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0" y="14"/>
                  </a:lnTo>
                  <a:lnTo>
                    <a:pt x="258" y="16"/>
                  </a:lnTo>
                  <a:lnTo>
                    <a:pt x="254" y="18"/>
                  </a:lnTo>
                  <a:lnTo>
                    <a:pt x="250" y="20"/>
                  </a:lnTo>
                  <a:lnTo>
                    <a:pt x="250" y="2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26" y="26"/>
                  </a:lnTo>
                  <a:lnTo>
                    <a:pt x="220" y="32"/>
                  </a:lnTo>
                  <a:lnTo>
                    <a:pt x="214" y="38"/>
                  </a:lnTo>
                  <a:lnTo>
                    <a:pt x="212" y="46"/>
                  </a:lnTo>
                  <a:lnTo>
                    <a:pt x="208" y="5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6" y="66"/>
                  </a:lnTo>
                  <a:lnTo>
                    <a:pt x="204" y="68"/>
                  </a:lnTo>
                  <a:lnTo>
                    <a:pt x="202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84" y="72"/>
                  </a:lnTo>
                  <a:lnTo>
                    <a:pt x="172" y="76"/>
                  </a:lnTo>
                  <a:lnTo>
                    <a:pt x="162" y="82"/>
                  </a:lnTo>
                  <a:lnTo>
                    <a:pt x="152" y="90"/>
                  </a:lnTo>
                  <a:lnTo>
                    <a:pt x="146" y="100"/>
                  </a:lnTo>
                  <a:lnTo>
                    <a:pt x="140" y="110"/>
                  </a:lnTo>
                  <a:lnTo>
                    <a:pt x="136" y="122"/>
                  </a:lnTo>
                  <a:lnTo>
                    <a:pt x="134" y="134"/>
                  </a:lnTo>
                  <a:lnTo>
                    <a:pt x="134" y="134"/>
                  </a:lnTo>
                  <a:close/>
                  <a:moveTo>
                    <a:pt x="124" y="10"/>
                  </a:moveTo>
                  <a:lnTo>
                    <a:pt x="124" y="10"/>
                  </a:lnTo>
                  <a:lnTo>
                    <a:pt x="124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00" y="0"/>
                  </a:lnTo>
                  <a:lnTo>
                    <a:pt x="86" y="6"/>
                  </a:lnTo>
                  <a:lnTo>
                    <a:pt x="72" y="12"/>
                  </a:lnTo>
                  <a:lnTo>
                    <a:pt x="62" y="20"/>
                  </a:lnTo>
                  <a:lnTo>
                    <a:pt x="52" y="32"/>
                  </a:lnTo>
                  <a:lnTo>
                    <a:pt x="46" y="44"/>
                  </a:lnTo>
                  <a:lnTo>
                    <a:pt x="42" y="58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44" y="80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2"/>
                  </a:lnTo>
                  <a:lnTo>
                    <a:pt x="58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62"/>
                  </a:lnTo>
                  <a:lnTo>
                    <a:pt x="64" y="52"/>
                  </a:lnTo>
                  <a:lnTo>
                    <a:pt x="70" y="44"/>
                  </a:lnTo>
                  <a:lnTo>
                    <a:pt x="76" y="36"/>
                  </a:lnTo>
                  <a:lnTo>
                    <a:pt x="84" y="28"/>
                  </a:lnTo>
                  <a:lnTo>
                    <a:pt x="94" y="24"/>
                  </a:lnTo>
                  <a:lnTo>
                    <a:pt x="10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8" y="18"/>
                  </a:lnTo>
                  <a:lnTo>
                    <a:pt x="122" y="16"/>
                  </a:lnTo>
                  <a:lnTo>
                    <a:pt x="124" y="14"/>
                  </a:lnTo>
                  <a:lnTo>
                    <a:pt x="124" y="10"/>
                  </a:lnTo>
                  <a:lnTo>
                    <a:pt x="124" y="10"/>
                  </a:lnTo>
                  <a:close/>
                  <a:moveTo>
                    <a:pt x="250" y="32"/>
                  </a:moveTo>
                  <a:lnTo>
                    <a:pt x="250" y="32"/>
                  </a:lnTo>
                  <a:lnTo>
                    <a:pt x="246" y="34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40" y="42"/>
                  </a:lnTo>
                  <a:lnTo>
                    <a:pt x="240" y="42"/>
                  </a:lnTo>
                  <a:lnTo>
                    <a:pt x="238" y="54"/>
                  </a:lnTo>
                  <a:lnTo>
                    <a:pt x="236" y="62"/>
                  </a:lnTo>
                  <a:lnTo>
                    <a:pt x="230" y="72"/>
                  </a:lnTo>
                  <a:lnTo>
                    <a:pt x="224" y="80"/>
                  </a:lnTo>
                  <a:lnTo>
                    <a:pt x="216" y="86"/>
                  </a:lnTo>
                  <a:lnTo>
                    <a:pt x="208" y="92"/>
                  </a:lnTo>
                  <a:lnTo>
                    <a:pt x="19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8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6" y="112"/>
                  </a:lnTo>
                  <a:lnTo>
                    <a:pt x="172" y="118"/>
                  </a:lnTo>
                  <a:lnTo>
                    <a:pt x="166" y="124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4" y="126"/>
                  </a:lnTo>
                  <a:lnTo>
                    <a:pt x="150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8"/>
                  </a:lnTo>
                  <a:lnTo>
                    <a:pt x="150" y="142"/>
                  </a:lnTo>
                  <a:lnTo>
                    <a:pt x="154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70" y="142"/>
                  </a:lnTo>
                  <a:lnTo>
                    <a:pt x="182" y="136"/>
                  </a:lnTo>
                  <a:lnTo>
                    <a:pt x="190" y="126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208" y="112"/>
                  </a:lnTo>
                  <a:lnTo>
                    <a:pt x="222" y="106"/>
                  </a:lnTo>
                  <a:lnTo>
                    <a:pt x="232" y="100"/>
                  </a:lnTo>
                  <a:lnTo>
                    <a:pt x="242" y="90"/>
                  </a:lnTo>
                  <a:lnTo>
                    <a:pt x="250" y="80"/>
                  </a:lnTo>
                  <a:lnTo>
                    <a:pt x="256" y="68"/>
                  </a:lnTo>
                  <a:lnTo>
                    <a:pt x="258" y="56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38"/>
                  </a:lnTo>
                  <a:lnTo>
                    <a:pt x="258" y="36"/>
                  </a:lnTo>
                  <a:lnTo>
                    <a:pt x="254" y="34"/>
                  </a:lnTo>
                  <a:lnTo>
                    <a:pt x="250" y="32"/>
                  </a:lnTo>
                  <a:lnTo>
                    <a:pt x="250" y="32"/>
                  </a:lnTo>
                  <a:close/>
                  <a:moveTo>
                    <a:pt x="158" y="10"/>
                  </a:moveTo>
                  <a:lnTo>
                    <a:pt x="158" y="10"/>
                  </a:lnTo>
                  <a:lnTo>
                    <a:pt x="158" y="6"/>
                  </a:lnTo>
                  <a:lnTo>
                    <a:pt x="156" y="2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2" y="2"/>
                  </a:lnTo>
                  <a:lnTo>
                    <a:pt x="138" y="6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16"/>
                  </a:lnTo>
                  <a:lnTo>
                    <a:pt x="136" y="22"/>
                  </a:lnTo>
                  <a:lnTo>
                    <a:pt x="132" y="26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4" y="36"/>
                  </a:lnTo>
                  <a:lnTo>
                    <a:pt x="118" y="38"/>
                  </a:lnTo>
                  <a:lnTo>
                    <a:pt x="112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2" y="42"/>
                  </a:lnTo>
                  <a:lnTo>
                    <a:pt x="100" y="44"/>
                  </a:lnTo>
                  <a:lnTo>
                    <a:pt x="98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6"/>
                  </a:lnTo>
                  <a:lnTo>
                    <a:pt x="100" y="58"/>
                  </a:lnTo>
                  <a:lnTo>
                    <a:pt x="102" y="60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6" y="60"/>
                  </a:lnTo>
                  <a:lnTo>
                    <a:pt x="126" y="58"/>
                  </a:lnTo>
                  <a:lnTo>
                    <a:pt x="136" y="52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50" y="38"/>
                  </a:lnTo>
                  <a:lnTo>
                    <a:pt x="154" y="30"/>
                  </a:lnTo>
                  <a:lnTo>
                    <a:pt x="158" y="20"/>
                  </a:lnTo>
                  <a:lnTo>
                    <a:pt x="158" y="10"/>
                  </a:lnTo>
                  <a:lnTo>
                    <a:pt x="158" y="10"/>
                  </a:lnTo>
                  <a:close/>
                  <a:moveTo>
                    <a:pt x="330" y="268"/>
                  </a:moveTo>
                  <a:lnTo>
                    <a:pt x="330" y="190"/>
                  </a:lnTo>
                  <a:lnTo>
                    <a:pt x="242" y="258"/>
                  </a:lnTo>
                  <a:lnTo>
                    <a:pt x="242" y="190"/>
                  </a:lnTo>
                  <a:lnTo>
                    <a:pt x="154" y="258"/>
                  </a:lnTo>
                  <a:lnTo>
                    <a:pt x="148" y="258"/>
                  </a:lnTo>
                  <a:lnTo>
                    <a:pt x="122" y="258"/>
                  </a:lnTo>
                  <a:lnTo>
                    <a:pt x="128" y="252"/>
                  </a:lnTo>
                  <a:lnTo>
                    <a:pt x="146" y="240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68"/>
                  </a:lnTo>
                  <a:lnTo>
                    <a:pt x="138" y="164"/>
                  </a:lnTo>
                  <a:lnTo>
                    <a:pt x="134" y="162"/>
                  </a:lnTo>
                  <a:lnTo>
                    <a:pt x="130" y="162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2"/>
                  </a:lnTo>
                  <a:lnTo>
                    <a:pt x="112" y="164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100" y="258"/>
                  </a:lnTo>
                  <a:lnTo>
                    <a:pt x="82" y="258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8" y="104"/>
                  </a:lnTo>
                  <a:lnTo>
                    <a:pt x="36" y="106"/>
                  </a:lnTo>
                  <a:lnTo>
                    <a:pt x="34" y="110"/>
                  </a:lnTo>
                  <a:lnTo>
                    <a:pt x="18" y="258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0" y="264"/>
                  </a:lnTo>
                  <a:lnTo>
                    <a:pt x="0" y="268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0" y="344"/>
                  </a:lnTo>
                  <a:lnTo>
                    <a:pt x="2" y="348"/>
                  </a:lnTo>
                  <a:lnTo>
                    <a:pt x="6" y="350"/>
                  </a:lnTo>
                  <a:lnTo>
                    <a:pt x="1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4" y="350"/>
                  </a:lnTo>
                  <a:lnTo>
                    <a:pt x="328" y="348"/>
                  </a:lnTo>
                  <a:lnTo>
                    <a:pt x="330" y="344"/>
                  </a:lnTo>
                  <a:lnTo>
                    <a:pt x="330" y="340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close/>
                  <a:moveTo>
                    <a:pt x="76" y="314"/>
                  </a:moveTo>
                  <a:lnTo>
                    <a:pt x="22" y="314"/>
                  </a:lnTo>
                  <a:lnTo>
                    <a:pt x="22" y="288"/>
                  </a:lnTo>
                  <a:lnTo>
                    <a:pt x="76" y="288"/>
                  </a:lnTo>
                  <a:lnTo>
                    <a:pt x="76" y="314"/>
                  </a:lnTo>
                  <a:close/>
                  <a:moveTo>
                    <a:pt x="154" y="314"/>
                  </a:moveTo>
                  <a:lnTo>
                    <a:pt x="100" y="314"/>
                  </a:lnTo>
                  <a:lnTo>
                    <a:pt x="100" y="288"/>
                  </a:lnTo>
                  <a:lnTo>
                    <a:pt x="154" y="288"/>
                  </a:lnTo>
                  <a:lnTo>
                    <a:pt x="154" y="314"/>
                  </a:lnTo>
                  <a:close/>
                  <a:moveTo>
                    <a:pt x="232" y="314"/>
                  </a:moveTo>
                  <a:lnTo>
                    <a:pt x="176" y="314"/>
                  </a:lnTo>
                  <a:lnTo>
                    <a:pt x="176" y="288"/>
                  </a:lnTo>
                  <a:lnTo>
                    <a:pt x="232" y="288"/>
                  </a:lnTo>
                  <a:lnTo>
                    <a:pt x="232" y="314"/>
                  </a:lnTo>
                  <a:close/>
                  <a:moveTo>
                    <a:pt x="308" y="314"/>
                  </a:moveTo>
                  <a:lnTo>
                    <a:pt x="254" y="314"/>
                  </a:lnTo>
                  <a:lnTo>
                    <a:pt x="254" y="288"/>
                  </a:lnTo>
                  <a:lnTo>
                    <a:pt x="308" y="288"/>
                  </a:lnTo>
                  <a:lnTo>
                    <a:pt x="308" y="31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600" b="0" i="0" u="none" strike="noStrike" kern="1200" cap="none" spc="0" normalizeH="0" baseline="0" noProof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6" name="Title 2"/>
          <p:cNvSpPr txBox="1">
            <a:spLocks/>
          </p:cNvSpPr>
          <p:nvPr/>
        </p:nvSpPr>
        <p:spPr>
          <a:xfrm>
            <a:off x="246827" y="-411843"/>
            <a:ext cx="8191959" cy="1719256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1" i="0" u="none" strike="noStrike" kern="1200" cap="none" spc="0" normalizeH="0" baseline="0" noProof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Helsedataprogrammet – Mål </a:t>
            </a: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79" name="Freeform 76"/>
          <p:cNvSpPr/>
          <p:nvPr/>
        </p:nvSpPr>
        <p:spPr>
          <a:xfrm>
            <a:off x="3004072" y="4867146"/>
            <a:ext cx="5238530" cy="1080000"/>
          </a:xfrm>
          <a:custGeom>
            <a:avLst/>
            <a:gdLst>
              <a:gd name="connsiteX0" fmla="*/ 0 w 3047999"/>
              <a:gd name="connsiteY0" fmla="*/ 0 h 1828800"/>
              <a:gd name="connsiteX1" fmla="*/ 3047999 w 3047999"/>
              <a:gd name="connsiteY1" fmla="*/ 0 h 1828800"/>
              <a:gd name="connsiteX2" fmla="*/ 3047999 w 3047999"/>
              <a:gd name="connsiteY2" fmla="*/ 1828800 h 1828800"/>
              <a:gd name="connsiteX3" fmla="*/ 0 w 3047999"/>
              <a:gd name="connsiteY3" fmla="*/ 1828800 h 1828800"/>
              <a:gd name="connsiteX4" fmla="*/ 0 w 3047999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7999" h="1828800">
                <a:moveTo>
                  <a:pt x="0" y="0"/>
                </a:moveTo>
                <a:lnTo>
                  <a:pt x="3047999" y="0"/>
                </a:lnTo>
                <a:lnTo>
                  <a:pt x="3047999" y="1828800"/>
                </a:lnTo>
                <a:lnTo>
                  <a:pt x="0" y="18288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spcFirstLastPara="0" vert="horz" wrap="square" lIns="133175" tIns="133309" rIns="133309" bIns="133309" numCol="1" spcCol="1270" anchor="ctr" anchorCtr="0">
            <a:noAutofit/>
          </a:bodyPr>
          <a:lstStyle/>
          <a:p>
            <a:pPr marL="0" marR="0" lvl="0" indent="0" algn="r" defTabSz="15553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281C2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r og bedre helseforskning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1828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de </a:t>
            </a:r>
            <a:fld id="{5751DFAA-887F-4071-8EAD-E8CA316FCF06}" type="slidenum">
              <a:rPr kumimoji="0" lang="nb-NO" sz="2000" b="0" i="0" u="none" strike="noStrike" kern="1200" cap="none" spc="0" normalizeH="0" baseline="0" noProof="0" smtClean="0">
                <a:ln>
                  <a:noFill/>
                </a:ln>
                <a:solidFill>
                  <a:srgbClr val="C1C1C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18283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C1C1C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13483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7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0.xml><?xml version="1.0" encoding="utf-8"?>
<a:theme xmlns:a="http://schemas.openxmlformats.org/drawingml/2006/main" name="9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1.xml><?xml version="1.0" encoding="utf-8"?>
<a:theme xmlns:a="http://schemas.openxmlformats.org/drawingml/2006/main" name="1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2.xml><?xml version="1.0" encoding="utf-8"?>
<a:theme xmlns:a="http://schemas.openxmlformats.org/drawingml/2006/main" name="10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3.xml><?xml version="1.0" encoding="utf-8"?>
<a:theme xmlns:a="http://schemas.openxmlformats.org/drawingml/2006/main" name="1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4.xml><?xml version="1.0" encoding="utf-8"?>
<a:theme xmlns:a="http://schemas.openxmlformats.org/drawingml/2006/main" name="1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5.xml><?xml version="1.0" encoding="utf-8"?>
<a:theme xmlns:a="http://schemas.openxmlformats.org/drawingml/2006/main" name="1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6.xml><?xml version="1.0" encoding="utf-8"?>
<a:theme xmlns:a="http://schemas.openxmlformats.org/drawingml/2006/main" name="1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7.xml><?xml version="1.0" encoding="utf-8"?>
<a:theme xmlns:a="http://schemas.openxmlformats.org/drawingml/2006/main" name="19_PPTmal_DirektoratetEHelseV2-1">
  <a:themeElements>
    <a:clrScheme name="e-helse">
      <a:dk1>
        <a:srgbClr val="281C2C"/>
      </a:dk1>
      <a:lt1>
        <a:srgbClr val="FFFFFF"/>
      </a:lt1>
      <a:dk2>
        <a:srgbClr val="0169E8"/>
      </a:dk2>
      <a:lt2>
        <a:srgbClr val="EEEEEE"/>
      </a:lt2>
      <a:accent1>
        <a:srgbClr val="0069E8"/>
      </a:accent1>
      <a:accent2>
        <a:srgbClr val="281C2C"/>
      </a:accent2>
      <a:accent3>
        <a:srgbClr val="00BCD5"/>
      </a:accent3>
      <a:accent4>
        <a:srgbClr val="037993"/>
      </a:accent4>
      <a:accent5>
        <a:srgbClr val="FF6B6B"/>
      </a:accent5>
      <a:accent6>
        <a:srgbClr val="AE2CF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8.xml><?xml version="1.0" encoding="utf-8"?>
<a:theme xmlns:a="http://schemas.openxmlformats.org/drawingml/2006/main" name="20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19.xml><?xml version="1.0" encoding="utf-8"?>
<a:theme xmlns:a="http://schemas.openxmlformats.org/drawingml/2006/main" name="49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.xml><?xml version="1.0" encoding="utf-8"?>
<a:theme xmlns:a="http://schemas.openxmlformats.org/drawingml/2006/main" name="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0.xml><?xml version="1.0" encoding="utf-8"?>
<a:theme xmlns:a="http://schemas.openxmlformats.org/drawingml/2006/main" name="5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1.xml><?xml version="1.0" encoding="utf-8"?>
<a:theme xmlns:a="http://schemas.openxmlformats.org/drawingml/2006/main" name="5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2.xml><?xml version="1.0" encoding="utf-8"?>
<a:theme xmlns:a="http://schemas.openxmlformats.org/drawingml/2006/main" name="60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3.xml><?xml version="1.0" encoding="utf-8"?>
<a:theme xmlns:a="http://schemas.openxmlformats.org/drawingml/2006/main" name="6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4.xml><?xml version="1.0" encoding="utf-8"?>
<a:theme xmlns:a="http://schemas.openxmlformats.org/drawingml/2006/main" name="6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5.xml><?xml version="1.0" encoding="utf-8"?>
<a:theme xmlns:a="http://schemas.openxmlformats.org/drawingml/2006/main" name="8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6.xml><?xml version="1.0" encoding="utf-8"?>
<a:theme xmlns:a="http://schemas.openxmlformats.org/drawingml/2006/main" name="69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7.xml><?xml version="1.0" encoding="utf-8"?>
<a:theme xmlns:a="http://schemas.openxmlformats.org/drawingml/2006/main" name="2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8.xml><?xml version="1.0" encoding="utf-8"?>
<a:theme xmlns:a="http://schemas.openxmlformats.org/drawingml/2006/main" name="3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29.xml><?xml version="1.0" encoding="utf-8"?>
<a:theme xmlns:a="http://schemas.openxmlformats.org/drawingml/2006/main" name="70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.xml><?xml version="1.0" encoding="utf-8"?>
<a:theme xmlns:a="http://schemas.openxmlformats.org/drawingml/2006/main" name="2_PPTmal_DirektoratetEHelseV2-1">
  <a:themeElements>
    <a:clrScheme name="e-helse">
      <a:dk1>
        <a:srgbClr val="281C2C"/>
      </a:dk1>
      <a:lt1>
        <a:srgbClr val="FFFFFF"/>
      </a:lt1>
      <a:dk2>
        <a:srgbClr val="0169E8"/>
      </a:dk2>
      <a:lt2>
        <a:srgbClr val="EEEEEE"/>
      </a:lt2>
      <a:accent1>
        <a:srgbClr val="0069E8"/>
      </a:accent1>
      <a:accent2>
        <a:srgbClr val="281C2C"/>
      </a:accent2>
      <a:accent3>
        <a:srgbClr val="00BCD5"/>
      </a:accent3>
      <a:accent4>
        <a:srgbClr val="037993"/>
      </a:accent4>
      <a:accent5>
        <a:srgbClr val="FF6B6B"/>
      </a:accent5>
      <a:accent6>
        <a:srgbClr val="AE2CF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0.xml><?xml version="1.0" encoding="utf-8"?>
<a:theme xmlns:a="http://schemas.openxmlformats.org/drawingml/2006/main" name="4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1.xml><?xml version="1.0" encoding="utf-8"?>
<a:theme xmlns:a="http://schemas.openxmlformats.org/drawingml/2006/main" name="3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2.xml><?xml version="1.0" encoding="utf-8"?>
<a:theme xmlns:a="http://schemas.openxmlformats.org/drawingml/2006/main" name="1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3.xml><?xml version="1.0" encoding="utf-8"?>
<a:theme xmlns:a="http://schemas.openxmlformats.org/drawingml/2006/main" name="2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4.xml><?xml version="1.0" encoding="utf-8"?>
<a:theme xmlns:a="http://schemas.openxmlformats.org/drawingml/2006/main" name="2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5.xml><?xml version="1.0" encoding="utf-8"?>
<a:theme xmlns:a="http://schemas.openxmlformats.org/drawingml/2006/main" name="7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6.xml><?xml version="1.0" encoding="utf-8"?>
<a:theme xmlns:a="http://schemas.openxmlformats.org/drawingml/2006/main" name="4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7.xml><?xml version="1.0" encoding="utf-8"?>
<a:theme xmlns:a="http://schemas.openxmlformats.org/drawingml/2006/main" name="2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8.xml><?xml version="1.0" encoding="utf-8"?>
<a:theme xmlns:a="http://schemas.openxmlformats.org/drawingml/2006/main" name="46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39.xml><?xml version="1.0" encoding="utf-8"?>
<a:theme xmlns:a="http://schemas.openxmlformats.org/drawingml/2006/main" name="3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.xml><?xml version="1.0" encoding="utf-8"?>
<a:theme xmlns:a="http://schemas.openxmlformats.org/drawingml/2006/main" name="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0.xml><?xml version="1.0" encoding="utf-8"?>
<a:theme xmlns:a="http://schemas.openxmlformats.org/drawingml/2006/main" name="7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1.xml><?xml version="1.0" encoding="utf-8"?>
<a:theme xmlns:a="http://schemas.openxmlformats.org/drawingml/2006/main" name="8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2.xml><?xml version="1.0" encoding="utf-8"?>
<a:theme xmlns:a="http://schemas.openxmlformats.org/drawingml/2006/main" name="11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3.xml><?xml version="1.0" encoding="utf-8"?>
<a:theme xmlns:a="http://schemas.openxmlformats.org/drawingml/2006/main" name="15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4.xml><?xml version="1.0" encoding="utf-8"?>
<a:theme xmlns:a="http://schemas.openxmlformats.org/drawingml/2006/main" name="11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5.xml><?xml version="1.0" encoding="utf-8"?>
<a:theme xmlns:a="http://schemas.openxmlformats.org/drawingml/2006/main" name="116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6.xml><?xml version="1.0" encoding="utf-8"?>
<a:theme xmlns:a="http://schemas.openxmlformats.org/drawingml/2006/main" name="11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7.xml><?xml version="1.0" encoding="utf-8"?>
<a:theme xmlns:a="http://schemas.openxmlformats.org/drawingml/2006/main" name="15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8.xml><?xml version="1.0" encoding="utf-8"?>
<a:theme xmlns:a="http://schemas.openxmlformats.org/drawingml/2006/main" name="119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49.xml><?xml version="1.0" encoding="utf-8"?>
<a:theme xmlns:a="http://schemas.openxmlformats.org/drawingml/2006/main" name="7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.xml><?xml version="1.0" encoding="utf-8"?>
<a:theme xmlns:a="http://schemas.openxmlformats.org/drawingml/2006/main" name="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0.xml><?xml version="1.0" encoding="utf-8"?>
<a:theme xmlns:a="http://schemas.openxmlformats.org/drawingml/2006/main" name="15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1.xml><?xml version="1.0" encoding="utf-8"?>
<a:theme xmlns:a="http://schemas.openxmlformats.org/drawingml/2006/main" name="15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2.xml><?xml version="1.0" encoding="utf-8"?>
<a:theme xmlns:a="http://schemas.openxmlformats.org/drawingml/2006/main" name="7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3.xml><?xml version="1.0" encoding="utf-8"?>
<a:theme xmlns:a="http://schemas.openxmlformats.org/drawingml/2006/main" name="15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4.xml><?xml version="1.0" encoding="utf-8"?>
<a:theme xmlns:a="http://schemas.openxmlformats.org/drawingml/2006/main" name="72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5.xml><?xml version="1.0" encoding="utf-8"?>
<a:theme xmlns:a="http://schemas.openxmlformats.org/drawingml/2006/main" name="73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6.xml><?xml version="1.0" encoding="utf-8"?>
<a:theme xmlns:a="http://schemas.openxmlformats.org/drawingml/2006/main" name="15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7.xml><?xml version="1.0" encoding="utf-8"?>
<a:theme xmlns:a="http://schemas.openxmlformats.org/drawingml/2006/main" name="16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8.xml><?xml version="1.0" encoding="utf-8"?>
<a:theme xmlns:a="http://schemas.openxmlformats.org/drawingml/2006/main" name="160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59.xml><?xml version="1.0" encoding="utf-8"?>
<a:theme xmlns:a="http://schemas.openxmlformats.org/drawingml/2006/main" name="26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.xml><?xml version="1.0" encoding="utf-8"?>
<a:theme xmlns:a="http://schemas.openxmlformats.org/drawingml/2006/main" name="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0.xml><?xml version="1.0" encoding="utf-8"?>
<a:theme xmlns:a="http://schemas.openxmlformats.org/drawingml/2006/main" name="80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1.xml><?xml version="1.0" encoding="utf-8"?>
<a:theme xmlns:a="http://schemas.openxmlformats.org/drawingml/2006/main" name="17_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62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3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4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5.xml><?xml version="1.0" encoding="utf-8"?>
<a:theme xmlns:a="http://schemas.openxmlformats.org/drawingml/2006/main" name="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6.xml><?xml version="1.0" encoding="utf-8"?>
<a:theme xmlns:a="http://schemas.openxmlformats.org/drawingml/2006/main" name="1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7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8.xml><?xml version="1.0" encoding="utf-8"?>
<a:theme xmlns:a="http://schemas.openxmlformats.org/drawingml/2006/main" name="164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69.xml><?xml version="1.0" encoding="utf-8"?>
<a:theme xmlns:a="http://schemas.openxmlformats.org/drawingml/2006/main" name="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7.xml><?xml version="1.0" encoding="utf-8"?>
<a:theme xmlns:a="http://schemas.openxmlformats.org/drawingml/2006/main" name="6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70.xml><?xml version="1.0" encoding="utf-8"?>
<a:theme xmlns:a="http://schemas.openxmlformats.org/drawingml/2006/main" name="18_PPTmal_Direktoratet_EhelseV1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71.xml><?xml version="1.0" encoding="utf-8"?>
<a:theme xmlns:a="http://schemas.openxmlformats.org/drawingml/2006/main" name="15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7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ppt/theme/theme9.xml><?xml version="1.0" encoding="utf-8"?>
<a:theme xmlns:a="http://schemas.openxmlformats.org/drawingml/2006/main" name="8_PPTmal_DirektoratetEHelseV2-1">
  <a:themeElements>
    <a:clrScheme name="Dir E-Helse">
      <a:dk1>
        <a:srgbClr val="281C2C"/>
      </a:dk1>
      <a:lt1>
        <a:sysClr val="window" lastClr="FFFFFF"/>
      </a:lt1>
      <a:dk2>
        <a:srgbClr val="0169E8"/>
      </a:dk2>
      <a:lt2>
        <a:srgbClr val="EEEEEE"/>
      </a:lt2>
      <a:accent1>
        <a:srgbClr val="0169E8"/>
      </a:accent1>
      <a:accent2>
        <a:srgbClr val="F783FF"/>
      </a:accent2>
      <a:accent3>
        <a:srgbClr val="027993"/>
      </a:accent3>
      <a:accent4>
        <a:srgbClr val="AD38FD"/>
      </a:accent4>
      <a:accent5>
        <a:srgbClr val="00BBD4"/>
      </a:accent5>
      <a:accent6>
        <a:srgbClr val="3AFB9E"/>
      </a:accent6>
      <a:hlink>
        <a:srgbClr val="0169E8"/>
      </a:hlink>
      <a:folHlink>
        <a:srgbClr val="AD38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rgbClr val="0169E8"/>
        </a:solidFill>
      </a:spPr>
      <a:bodyPr vert="horz" wrap="square" lIns="546100" tIns="546100" rIns="546100" bIns="546100" rtlCol="0">
        <a:spAutoFit/>
      </a:bodyPr>
      <a:lstStyle>
        <a:defPPr>
          <a:spcAft>
            <a:spcPts val="1000"/>
          </a:spcAft>
          <a:defRPr sz="4200" b="1" dirty="0" smtClean="0">
            <a:solidFill>
              <a:srgbClr val="FFFFFF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mal_DirektoratetEHelseV2.potx" id="{26015252-C40F-4176-8E39-8B9B388FAABB}" vid="{4D7361C0-BDF5-403E-A667-3508B846B5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632DD3F613576419F301F6FDDD2F18E" ma:contentTypeVersion="0" ma:contentTypeDescription="Opprett et nytt dokument." ma:contentTypeScope="" ma:versionID="f09120ebbe237cc7c22f7505ff7dca4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e2500873ed525c1cf306a41cba81ed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5766BB-5551-455F-8BD1-309FFA415F31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721A0CC6-48F2-4252-9FAB-0831D75019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B289BC5-6D82-4854-9617-32F4250835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mal_DirektoratetEHelseV2-1</Template>
  <TotalTime>65103</TotalTime>
  <Words>1742</Words>
  <Application>Microsoft Office PowerPoint</Application>
  <PresentationFormat>Custom</PresentationFormat>
  <Paragraphs>547</Paragraphs>
  <Slides>29</Slides>
  <Notes>23</Notes>
  <HiddenSlides>2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107" baseType="lpstr">
      <vt:lpstr>Arial</vt:lpstr>
      <vt:lpstr>Calibri</vt:lpstr>
      <vt:lpstr>Georgia</vt:lpstr>
      <vt:lpstr>Times New Roman</vt:lpstr>
      <vt:lpstr>Verdana</vt:lpstr>
      <vt:lpstr>Wingdings 2</vt:lpstr>
      <vt:lpstr>PPTmal_DirektoratetEHelseV2-1</vt:lpstr>
      <vt:lpstr>1_PPTmal_DirektoratetEHelseV2-1</vt:lpstr>
      <vt:lpstr>2_PPTmal_DirektoratetEHelseV2-1</vt:lpstr>
      <vt:lpstr>3_PPTmal_DirektoratetEHelseV2-1</vt:lpstr>
      <vt:lpstr>4_PPTmal_DirektoratetEHelseV2-1</vt:lpstr>
      <vt:lpstr>5_PPTmal_DirektoratetEHelseV2-1</vt:lpstr>
      <vt:lpstr>6_PPTmal_DirektoratetEHelseV2-1</vt:lpstr>
      <vt:lpstr>7_PPTmal_DirektoratetEHelseV2-1</vt:lpstr>
      <vt:lpstr>8_PPTmal_DirektoratetEHelseV2-1</vt:lpstr>
      <vt:lpstr>9_PPTmal_DirektoratetEHelseV2-1</vt:lpstr>
      <vt:lpstr>13_PPTmal_DirektoratetEHelseV2-1</vt:lpstr>
      <vt:lpstr>10_PPTmal_DirektoratetEHelseV2-1</vt:lpstr>
      <vt:lpstr>14_PPTmal_DirektoratetEHelseV2-1</vt:lpstr>
      <vt:lpstr>11_PPTmal_DirektoratetEHelseV2-1</vt:lpstr>
      <vt:lpstr>12_PPTmal_DirektoratetEHelseV2-1</vt:lpstr>
      <vt:lpstr>18_PPTmal_DirektoratetEHelseV2-1</vt:lpstr>
      <vt:lpstr>19_PPTmal_DirektoratetEHelseV2-1</vt:lpstr>
      <vt:lpstr>20_PPTmal_DirektoratetEHelseV2-1</vt:lpstr>
      <vt:lpstr>49_PPTmal_DirektoratetEHelseV2-1</vt:lpstr>
      <vt:lpstr>53_PPTmal_DirektoratetEHelseV2-1</vt:lpstr>
      <vt:lpstr>54_PPTmal_DirektoratetEHelseV2-1</vt:lpstr>
      <vt:lpstr>60_PPTmal_DirektoratetEHelseV2-1</vt:lpstr>
      <vt:lpstr>65_PPTmal_DirektoratetEHelseV2-1</vt:lpstr>
      <vt:lpstr>68_PPTmal_DirektoratetEHelseV2-1</vt:lpstr>
      <vt:lpstr>84_PPTmal_DirektoratetEHelseV2-1</vt:lpstr>
      <vt:lpstr>69_PPTmal_DirektoratetEHelseV2-1</vt:lpstr>
      <vt:lpstr>21_PPTmal_DirektoratetEHelseV2-1</vt:lpstr>
      <vt:lpstr>38_PPTmal_DirektoratetEHelseV2-1</vt:lpstr>
      <vt:lpstr>70_PPTmal_DirektoratetEHelseV2-1</vt:lpstr>
      <vt:lpstr>44_PPTmal_DirektoratetEHelseV2-1</vt:lpstr>
      <vt:lpstr>32_PPTmal_DirektoratetEHelseV2-1</vt:lpstr>
      <vt:lpstr>17_PPTmal_DirektoratetEHelseV2-1</vt:lpstr>
      <vt:lpstr>22_PPTmal_DirektoratetEHelseV2-1</vt:lpstr>
      <vt:lpstr>23_PPTmal_DirektoratetEHelseV2-1</vt:lpstr>
      <vt:lpstr>71_PPTmal_DirektoratetEHelseV2-1</vt:lpstr>
      <vt:lpstr>45_PPTmal_DirektoratetEHelseV2-1</vt:lpstr>
      <vt:lpstr>24_PPTmal_DirektoratetEHelseV2-1</vt:lpstr>
      <vt:lpstr>46_PPTmal_DirektoratetEHelseV2-1</vt:lpstr>
      <vt:lpstr>31_PPTmal_DirektoratetEHelseV2-1</vt:lpstr>
      <vt:lpstr>74_PPTmal_DirektoratetEHelseV2-1</vt:lpstr>
      <vt:lpstr>88_PPTmal_DirektoratetEHelseV2-1</vt:lpstr>
      <vt:lpstr>113_PPTmal_DirektoratetEHelseV2-1</vt:lpstr>
      <vt:lpstr>151_PPTmal_DirektoratetEHelseV2-1</vt:lpstr>
      <vt:lpstr>118_PPTmal_DirektoratetEHelseV2-1</vt:lpstr>
      <vt:lpstr>116_PPTmal_DirektoratetEHelseV2-1</vt:lpstr>
      <vt:lpstr>117_PPTmal_DirektoratetEHelseV2-1</vt:lpstr>
      <vt:lpstr>158_PPTmal_DirektoratetEHelseV2-1</vt:lpstr>
      <vt:lpstr>119_PPTmal_DirektoratetEHelseV2-1</vt:lpstr>
      <vt:lpstr>75_PPTmal_DirektoratetEHelseV2-1</vt:lpstr>
      <vt:lpstr>151_PPTmal_DirektoratetEHelseV2-1</vt:lpstr>
      <vt:lpstr>151_PPTmal_DirektoratetEHelseV2-1</vt:lpstr>
      <vt:lpstr>72_PPTmal_DirektoratetEHelseV2-1</vt:lpstr>
      <vt:lpstr>151_PPTmal_DirektoratetEHelseV2-1</vt:lpstr>
      <vt:lpstr>72_PPTmal_DirektoratetEHelseV2-1</vt:lpstr>
      <vt:lpstr>73_PPTmal_DirektoratetEHelseV2-1</vt:lpstr>
      <vt:lpstr>151_PPTmal_DirektoratetEHelseV2-1</vt:lpstr>
      <vt:lpstr>16_PPTmal_DirektoratetEHelseV2-1</vt:lpstr>
      <vt:lpstr>160_PPTmal_DirektoratetEHelseV2-1</vt:lpstr>
      <vt:lpstr>26_PPTmal_DirektoratetEHelseV2-1</vt:lpstr>
      <vt:lpstr>80_PPTmal_DirektoratetEHelseV2-1</vt:lpstr>
      <vt:lpstr>17_PPTmal_Direktoratet_EhelseV1</vt:lpstr>
      <vt:lpstr>PPTmal_DirektoratetEHelseV2-1</vt:lpstr>
      <vt:lpstr>PPTmal_DirektoratetEHelseV2-1</vt:lpstr>
      <vt:lpstr>PPTmal_DirektoratetEHelseV2-1</vt:lpstr>
      <vt:lpstr>1_PPTmal_DirektoratetEHelseV2-1</vt:lpstr>
      <vt:lpstr>1_PPTmal_DirektoratetEHelseV2-1</vt:lpstr>
      <vt:lpstr>PPTmal_DirektoratetEHelseV2-1</vt:lpstr>
      <vt:lpstr>164_PPTmal_DirektoratetEHelseV2-1</vt:lpstr>
      <vt:lpstr>PPTmal_DirektoratetEHelseV2-1</vt:lpstr>
      <vt:lpstr>18_PPTmal_Direktoratet_EhelseV1</vt:lpstr>
      <vt:lpstr>15_PPTmal_DirektoratetEHelseV2-1</vt:lpstr>
      <vt:lpstr>think-cell Slide</vt:lpstr>
      <vt:lpstr>PowerPoint Presentation</vt:lpstr>
      <vt:lpstr>Svært lang utleveringstid for helsedata og sosioøkonomiske data</vt:lpstr>
      <vt:lpstr>PowerPoint Presentation</vt:lpstr>
      <vt:lpstr>Helsedatakilder med helseopplysninger på individnivå</vt:lpstr>
      <vt:lpstr>«Sekundærbruk» er bruk av helsedata der formålet ikke er helsebehandling</vt:lpstr>
      <vt:lpstr>Helsedataprogrammet og Helseanalyseplattformen har hovedfokus på data ut</vt:lpstr>
      <vt:lpstr>Dagens situasjon: Sentrale helseregistre</vt:lpstr>
      <vt:lpstr>Dagens situasjon: Nasjonale medisinske kvalitetsregistre</vt:lpstr>
      <vt:lpstr>PowerPoint Presentation</vt:lpstr>
      <vt:lpstr>Helsedataprogrammets resultatmål (2017-2020)</vt:lpstr>
      <vt:lpstr>Helsedataprogrammets fire prosjekter</vt:lpstr>
      <vt:lpstr>Hvorfor trenger vi en nasjonal plattform for helseanalyse?</vt:lpstr>
      <vt:lpstr>PowerPoint Presentation</vt:lpstr>
      <vt:lpstr>Det investeres betydelig i helse og helseforskning</vt:lpstr>
      <vt:lpstr>Prosessen fra alle mulige konsepter til det anbefalte konseptet har gått gjennom flere filtreringsrunder</vt:lpstr>
      <vt:lpstr>Anbefalingen oppsummert</vt:lpstr>
      <vt:lpstr>Målbilde for Helseanalyseplattformen</vt:lpstr>
      <vt:lpstr>PowerPoint Presentation</vt:lpstr>
      <vt:lpstr>Analyseøkosystemet rundt HAP er en utviklingsretning som realiseres stegvis.  Hvert steg skal ha stor egenverdi og kunne være endestasjon for initiativet.</vt:lpstr>
      <vt:lpstr>Organiseringen og finansieringskjedene til dagens registerfelt er komplekst!</vt:lpstr>
      <vt:lpstr>HDP utreder fire alternative modeller for tilgangsforvalter og forvaltningsorganisasjon for Helseanalyseplattformen</vt:lpstr>
      <vt:lpstr>Hvorfor trenger vi arkitekturstyring på registerfeltet?</vt:lpstr>
      <vt:lpstr>FAIR-prinsippene må følges om det skal være mulig å finne frem i «helsedatajungelen»</vt:lpstr>
      <vt:lpstr>Eksplorative analysetjenster</vt:lpstr>
      <vt:lpstr>I 2018 er det gjennomført seks leverandørdrevne proof of concepts</vt:lpstr>
      <vt:lpstr>Effektmålambisjoner for Helseanalyseplattformen</vt:lpstr>
      <vt:lpstr>Noen viktige utfordringer for Helseanalyseplattformen</vt:lpstr>
      <vt:lpstr>PowerPoint Presentation</vt:lpstr>
      <vt:lpstr>PowerPoint Presentation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hea Sørvig Østbye</dc:creator>
  <dc:description>template by officeconsult.no</dc:description>
  <cp:lastModifiedBy>Ingrid Sogner</cp:lastModifiedBy>
  <cp:revision>1264</cp:revision>
  <cp:lastPrinted>2017-05-21T19:36:34Z</cp:lastPrinted>
  <dcterms:created xsi:type="dcterms:W3CDTF">2017-03-13T07:39:27Z</dcterms:created>
  <dcterms:modified xsi:type="dcterms:W3CDTF">2018-11-05T13:0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officeconsult.no</vt:lpwstr>
  </property>
  <property fmtid="{D5CDD505-2E9C-101B-9397-08002B2CF9AE}" pid="3" name="ContentTypeId">
    <vt:lpwstr>0x010100F632DD3F613576419F301F6FDDD2F18E</vt:lpwstr>
  </property>
</Properties>
</file>